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5"/>
  </p:sldMasterIdLst>
  <p:notesMasterIdLst>
    <p:notesMasterId r:id="rId56"/>
  </p:notesMasterIdLst>
  <p:handoutMasterIdLst>
    <p:handoutMasterId r:id="rId57"/>
  </p:handoutMasterIdLst>
  <p:sldIdLst>
    <p:sldId id="335" r:id="rId6"/>
    <p:sldId id="456" r:id="rId7"/>
    <p:sldId id="263" r:id="rId8"/>
    <p:sldId id="467" r:id="rId9"/>
    <p:sldId id="265" r:id="rId10"/>
    <p:sldId id="468" r:id="rId11"/>
    <p:sldId id="469" r:id="rId12"/>
    <p:sldId id="470" r:id="rId13"/>
    <p:sldId id="471" r:id="rId14"/>
    <p:sldId id="409" r:id="rId15"/>
    <p:sldId id="476" r:id="rId16"/>
    <p:sldId id="472" r:id="rId17"/>
    <p:sldId id="473" r:id="rId18"/>
    <p:sldId id="474" r:id="rId19"/>
    <p:sldId id="478" r:id="rId20"/>
    <p:sldId id="508" r:id="rId21"/>
    <p:sldId id="509" r:id="rId22"/>
    <p:sldId id="510" r:id="rId23"/>
    <p:sldId id="511" r:id="rId24"/>
    <p:sldId id="512" r:id="rId25"/>
    <p:sldId id="475" r:id="rId26"/>
    <p:sldId id="477" r:id="rId27"/>
    <p:sldId id="481" r:id="rId28"/>
    <p:sldId id="482" r:id="rId29"/>
    <p:sldId id="483" r:id="rId30"/>
    <p:sldId id="484" r:id="rId31"/>
    <p:sldId id="485" r:id="rId32"/>
    <p:sldId id="486" r:id="rId33"/>
    <p:sldId id="487" r:id="rId34"/>
    <p:sldId id="488" r:id="rId35"/>
    <p:sldId id="489" r:id="rId36"/>
    <p:sldId id="490" r:id="rId37"/>
    <p:sldId id="491" r:id="rId38"/>
    <p:sldId id="492" r:id="rId39"/>
    <p:sldId id="493" r:id="rId40"/>
    <p:sldId id="494" r:id="rId41"/>
    <p:sldId id="495" r:id="rId42"/>
    <p:sldId id="496" r:id="rId43"/>
    <p:sldId id="497" r:id="rId44"/>
    <p:sldId id="498" r:id="rId45"/>
    <p:sldId id="499" r:id="rId46"/>
    <p:sldId id="500" r:id="rId47"/>
    <p:sldId id="501" r:id="rId48"/>
    <p:sldId id="502" r:id="rId49"/>
    <p:sldId id="503" r:id="rId50"/>
    <p:sldId id="504" r:id="rId51"/>
    <p:sldId id="505" r:id="rId52"/>
    <p:sldId id="506" r:id="rId53"/>
    <p:sldId id="507" r:id="rId54"/>
    <p:sldId id="453" r:id="rId55"/>
  </p:sldIdLst>
  <p:sldSz cx="12192000" cy="6858000"/>
  <p:notesSz cx="6805613" cy="99441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81332"/>
    <a:srgbClr val="C01435"/>
    <a:srgbClr val="C71736"/>
    <a:srgbClr val="007AC2"/>
    <a:srgbClr val="00A188"/>
    <a:srgbClr val="8D1D82"/>
    <a:srgbClr val="95C11F"/>
    <a:srgbClr val="EA5599"/>
    <a:srgbClr val="FFFFFF"/>
    <a:srgbClr val="32ABD0"/>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8" autoAdjust="0"/>
    <p:restoredTop sz="94638" autoAdjust="0"/>
  </p:normalViewPr>
  <p:slideViewPr>
    <p:cSldViewPr snapToGrid="0">
      <p:cViewPr varScale="1">
        <p:scale>
          <a:sx n="114" d="100"/>
          <a:sy n="114" d="100"/>
        </p:scale>
        <p:origin x="414" y="120"/>
      </p:cViewPr>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79" d="100"/>
          <a:sy n="79" d="100"/>
        </p:scale>
        <p:origin x="3955" y="91"/>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handoutMaster" Target="handoutMasters/handoutMaster1.xml"/><Relationship Id="rId61"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UAMMAR Matthieu" userId="a28de245-dc05-4206-b24f-6f403ed1344a" providerId="ADAL" clId="{97AE8C35-2375-40D4-8F09-DBC209B3CDBF}"/>
    <pc:docChg chg="undo redo custSel addSld delSld modSld sldOrd">
      <pc:chgData name="MOUAMMAR Matthieu" userId="a28de245-dc05-4206-b24f-6f403ed1344a" providerId="ADAL" clId="{97AE8C35-2375-40D4-8F09-DBC209B3CDBF}" dt="2021-03-07T15:21:41.175" v="8332"/>
      <pc:docMkLst>
        <pc:docMk/>
      </pc:docMkLst>
      <pc:sldChg chg="addSp delSp modSp mod">
        <pc:chgData name="MOUAMMAR Matthieu" userId="a28de245-dc05-4206-b24f-6f403ed1344a" providerId="ADAL" clId="{97AE8C35-2375-40D4-8F09-DBC209B3CDBF}" dt="2021-02-25T10:44:00.476" v="333" actId="478"/>
        <pc:sldMkLst>
          <pc:docMk/>
          <pc:sldMk cId="2085250777" sldId="263"/>
        </pc:sldMkLst>
        <pc:spChg chg="mod">
          <ac:chgData name="MOUAMMAR Matthieu" userId="a28de245-dc05-4206-b24f-6f403ed1344a" providerId="ADAL" clId="{97AE8C35-2375-40D4-8F09-DBC209B3CDBF}" dt="2021-02-25T10:43:55.039" v="331" actId="20577"/>
          <ac:spMkLst>
            <pc:docMk/>
            <pc:sldMk cId="2085250777" sldId="263"/>
            <ac:spMk id="3" creationId="{31DFA70B-34D4-4D7E-8D44-380743E2A699}"/>
          </ac:spMkLst>
        </pc:spChg>
        <pc:spChg chg="del">
          <ac:chgData name="MOUAMMAR Matthieu" userId="a28de245-dc05-4206-b24f-6f403ed1344a" providerId="ADAL" clId="{97AE8C35-2375-40D4-8F09-DBC209B3CDBF}" dt="2021-02-25T10:43:58.562" v="332" actId="478"/>
          <ac:spMkLst>
            <pc:docMk/>
            <pc:sldMk cId="2085250777" sldId="263"/>
            <ac:spMk id="4" creationId="{1F6BF8CE-87E8-4534-AD75-1842FA3062BC}"/>
          </ac:spMkLst>
        </pc:spChg>
        <pc:spChg chg="add del mod">
          <ac:chgData name="MOUAMMAR Matthieu" userId="a28de245-dc05-4206-b24f-6f403ed1344a" providerId="ADAL" clId="{97AE8C35-2375-40D4-8F09-DBC209B3CDBF}" dt="2021-02-25T10:44:00.476" v="333" actId="478"/>
          <ac:spMkLst>
            <pc:docMk/>
            <pc:sldMk cId="2085250777" sldId="263"/>
            <ac:spMk id="8" creationId="{F295DB79-1F6B-4846-B423-03A9C61D5F7B}"/>
          </ac:spMkLst>
        </pc:spChg>
      </pc:sldChg>
      <pc:sldChg chg="addSp delSp modSp mod">
        <pc:chgData name="MOUAMMAR Matthieu" userId="a28de245-dc05-4206-b24f-6f403ed1344a" providerId="ADAL" clId="{97AE8C35-2375-40D4-8F09-DBC209B3CDBF}" dt="2021-02-25T10:54:53.754" v="861" actId="478"/>
        <pc:sldMkLst>
          <pc:docMk/>
          <pc:sldMk cId="811065827" sldId="265"/>
        </pc:sldMkLst>
        <pc:spChg chg="mod">
          <ac:chgData name="MOUAMMAR Matthieu" userId="a28de245-dc05-4206-b24f-6f403ed1344a" providerId="ADAL" clId="{97AE8C35-2375-40D4-8F09-DBC209B3CDBF}" dt="2021-02-25T10:54:48.706" v="859" actId="20577"/>
          <ac:spMkLst>
            <pc:docMk/>
            <pc:sldMk cId="811065827" sldId="265"/>
            <ac:spMk id="3" creationId="{31DFA70B-34D4-4D7E-8D44-380743E2A699}"/>
          </ac:spMkLst>
        </pc:spChg>
        <pc:spChg chg="del">
          <ac:chgData name="MOUAMMAR Matthieu" userId="a28de245-dc05-4206-b24f-6f403ed1344a" providerId="ADAL" clId="{97AE8C35-2375-40D4-8F09-DBC209B3CDBF}" dt="2021-02-25T10:54:51.855" v="860" actId="478"/>
          <ac:spMkLst>
            <pc:docMk/>
            <pc:sldMk cId="811065827" sldId="265"/>
            <ac:spMk id="4" creationId="{1F6BF8CE-87E8-4534-AD75-1842FA3062BC}"/>
          </ac:spMkLst>
        </pc:spChg>
        <pc:spChg chg="add del mod">
          <ac:chgData name="MOUAMMAR Matthieu" userId="a28de245-dc05-4206-b24f-6f403ed1344a" providerId="ADAL" clId="{97AE8C35-2375-40D4-8F09-DBC209B3CDBF}" dt="2021-02-25T10:54:53.754" v="861" actId="478"/>
          <ac:spMkLst>
            <pc:docMk/>
            <pc:sldMk cId="811065827" sldId="265"/>
            <ac:spMk id="6" creationId="{7510072D-F098-4DD6-A2D1-B2B06BB48243}"/>
          </ac:spMkLst>
        </pc:spChg>
      </pc:sldChg>
      <pc:sldChg chg="del">
        <pc:chgData name="MOUAMMAR Matthieu" userId="a28de245-dc05-4206-b24f-6f403ed1344a" providerId="ADAL" clId="{97AE8C35-2375-40D4-8F09-DBC209B3CDBF}" dt="2021-03-06T16:55:36.480" v="7500" actId="47"/>
        <pc:sldMkLst>
          <pc:docMk/>
          <pc:sldMk cId="4014164491" sldId="301"/>
        </pc:sldMkLst>
      </pc:sldChg>
      <pc:sldChg chg="del">
        <pc:chgData name="MOUAMMAR Matthieu" userId="a28de245-dc05-4206-b24f-6f403ed1344a" providerId="ADAL" clId="{97AE8C35-2375-40D4-8F09-DBC209B3CDBF}" dt="2021-03-06T16:55:36.480" v="7500" actId="47"/>
        <pc:sldMkLst>
          <pc:docMk/>
          <pc:sldMk cId="2563589320" sldId="318"/>
        </pc:sldMkLst>
      </pc:sldChg>
      <pc:sldChg chg="modSp mod">
        <pc:chgData name="MOUAMMAR Matthieu" userId="a28de245-dc05-4206-b24f-6f403ed1344a" providerId="ADAL" clId="{97AE8C35-2375-40D4-8F09-DBC209B3CDBF}" dt="2021-02-25T09:34:33.299" v="49" actId="20577"/>
        <pc:sldMkLst>
          <pc:docMk/>
          <pc:sldMk cId="2223300186" sldId="335"/>
        </pc:sldMkLst>
        <pc:spChg chg="mod">
          <ac:chgData name="MOUAMMAR Matthieu" userId="a28de245-dc05-4206-b24f-6f403ed1344a" providerId="ADAL" clId="{97AE8C35-2375-40D4-8F09-DBC209B3CDBF}" dt="2021-02-25T09:34:24.794" v="27" actId="20577"/>
          <ac:spMkLst>
            <pc:docMk/>
            <pc:sldMk cId="2223300186" sldId="335"/>
            <ac:spMk id="2" creationId="{00000000-0000-0000-0000-000000000000}"/>
          </ac:spMkLst>
        </pc:spChg>
        <pc:spChg chg="mod">
          <ac:chgData name="MOUAMMAR Matthieu" userId="a28de245-dc05-4206-b24f-6f403ed1344a" providerId="ADAL" clId="{97AE8C35-2375-40D4-8F09-DBC209B3CDBF}" dt="2021-02-25T09:34:33.299" v="49" actId="20577"/>
          <ac:spMkLst>
            <pc:docMk/>
            <pc:sldMk cId="2223300186" sldId="335"/>
            <ac:spMk id="3" creationId="{00000000-0000-0000-0000-000000000000}"/>
          </ac:spMkLst>
        </pc:spChg>
      </pc:sldChg>
      <pc:sldChg chg="addSp delSp modSp mod">
        <pc:chgData name="MOUAMMAR Matthieu" userId="a28de245-dc05-4206-b24f-6f403ed1344a" providerId="ADAL" clId="{97AE8C35-2375-40D4-8F09-DBC209B3CDBF}" dt="2021-02-25T15:21:26.664" v="3348" actId="20577"/>
        <pc:sldMkLst>
          <pc:docMk/>
          <pc:sldMk cId="3231393755" sldId="409"/>
        </pc:sldMkLst>
        <pc:spChg chg="mod">
          <ac:chgData name="MOUAMMAR Matthieu" userId="a28de245-dc05-4206-b24f-6f403ed1344a" providerId="ADAL" clId="{97AE8C35-2375-40D4-8F09-DBC209B3CDBF}" dt="2021-02-25T15:21:26.664" v="3348" actId="20577"/>
          <ac:spMkLst>
            <pc:docMk/>
            <pc:sldMk cId="3231393755" sldId="409"/>
            <ac:spMk id="3" creationId="{31DFA70B-34D4-4D7E-8D44-380743E2A699}"/>
          </ac:spMkLst>
        </pc:spChg>
        <pc:spChg chg="del">
          <ac:chgData name="MOUAMMAR Matthieu" userId="a28de245-dc05-4206-b24f-6f403ed1344a" providerId="ADAL" clId="{97AE8C35-2375-40D4-8F09-DBC209B3CDBF}" dt="2021-02-25T14:06:40.534" v="1868" actId="478"/>
          <ac:spMkLst>
            <pc:docMk/>
            <pc:sldMk cId="3231393755" sldId="409"/>
            <ac:spMk id="4" creationId="{1F6BF8CE-87E8-4534-AD75-1842FA3062BC}"/>
          </ac:spMkLst>
        </pc:spChg>
        <pc:spChg chg="add del mod">
          <ac:chgData name="MOUAMMAR Matthieu" userId="a28de245-dc05-4206-b24f-6f403ed1344a" providerId="ADAL" clId="{97AE8C35-2375-40D4-8F09-DBC209B3CDBF}" dt="2021-02-25T14:06:41.884" v="1869" actId="478"/>
          <ac:spMkLst>
            <pc:docMk/>
            <pc:sldMk cId="3231393755" sldId="409"/>
            <ac:spMk id="6" creationId="{876B6040-768D-418C-AAD1-63E72C84C321}"/>
          </ac:spMkLst>
        </pc:spChg>
      </pc:sldChg>
      <pc:sldChg chg="del">
        <pc:chgData name="MOUAMMAR Matthieu" userId="a28de245-dc05-4206-b24f-6f403ed1344a" providerId="ADAL" clId="{97AE8C35-2375-40D4-8F09-DBC209B3CDBF}" dt="2021-03-06T16:55:36.480" v="7500" actId="47"/>
        <pc:sldMkLst>
          <pc:docMk/>
          <pc:sldMk cId="2427034614" sldId="433"/>
        </pc:sldMkLst>
      </pc:sldChg>
      <pc:sldChg chg="del">
        <pc:chgData name="MOUAMMAR Matthieu" userId="a28de245-dc05-4206-b24f-6f403ed1344a" providerId="ADAL" clId="{97AE8C35-2375-40D4-8F09-DBC209B3CDBF}" dt="2021-03-06T16:55:36.480" v="7500" actId="47"/>
        <pc:sldMkLst>
          <pc:docMk/>
          <pc:sldMk cId="2827917865" sldId="437"/>
        </pc:sldMkLst>
      </pc:sldChg>
      <pc:sldChg chg="del">
        <pc:chgData name="MOUAMMAR Matthieu" userId="a28de245-dc05-4206-b24f-6f403ed1344a" providerId="ADAL" clId="{97AE8C35-2375-40D4-8F09-DBC209B3CDBF}" dt="2021-03-06T16:55:36.480" v="7500" actId="47"/>
        <pc:sldMkLst>
          <pc:docMk/>
          <pc:sldMk cId="1796245242" sldId="439"/>
        </pc:sldMkLst>
      </pc:sldChg>
      <pc:sldChg chg="del">
        <pc:chgData name="MOUAMMAR Matthieu" userId="a28de245-dc05-4206-b24f-6f403ed1344a" providerId="ADAL" clId="{97AE8C35-2375-40D4-8F09-DBC209B3CDBF}" dt="2021-03-06T16:55:36.480" v="7500" actId="47"/>
        <pc:sldMkLst>
          <pc:docMk/>
          <pc:sldMk cId="1763508460" sldId="440"/>
        </pc:sldMkLst>
      </pc:sldChg>
      <pc:sldChg chg="del">
        <pc:chgData name="MOUAMMAR Matthieu" userId="a28de245-dc05-4206-b24f-6f403ed1344a" providerId="ADAL" clId="{97AE8C35-2375-40D4-8F09-DBC209B3CDBF}" dt="2021-03-06T16:55:36.480" v="7500" actId="47"/>
        <pc:sldMkLst>
          <pc:docMk/>
          <pc:sldMk cId="690505390" sldId="441"/>
        </pc:sldMkLst>
      </pc:sldChg>
      <pc:sldChg chg="del">
        <pc:chgData name="MOUAMMAR Matthieu" userId="a28de245-dc05-4206-b24f-6f403ed1344a" providerId="ADAL" clId="{97AE8C35-2375-40D4-8F09-DBC209B3CDBF}" dt="2021-03-06T16:55:36.480" v="7500" actId="47"/>
        <pc:sldMkLst>
          <pc:docMk/>
          <pc:sldMk cId="2147944410" sldId="442"/>
        </pc:sldMkLst>
      </pc:sldChg>
      <pc:sldChg chg="del">
        <pc:chgData name="MOUAMMAR Matthieu" userId="a28de245-dc05-4206-b24f-6f403ed1344a" providerId="ADAL" clId="{97AE8C35-2375-40D4-8F09-DBC209B3CDBF}" dt="2021-03-06T16:55:36.480" v="7500" actId="47"/>
        <pc:sldMkLst>
          <pc:docMk/>
          <pc:sldMk cId="1268406255" sldId="447"/>
        </pc:sldMkLst>
      </pc:sldChg>
      <pc:sldChg chg="del">
        <pc:chgData name="MOUAMMAR Matthieu" userId="a28de245-dc05-4206-b24f-6f403ed1344a" providerId="ADAL" clId="{97AE8C35-2375-40D4-8F09-DBC209B3CDBF}" dt="2021-02-25T09:35:54.051" v="50" actId="2696"/>
        <pc:sldMkLst>
          <pc:docMk/>
          <pc:sldMk cId="2662869704" sldId="450"/>
        </pc:sldMkLst>
      </pc:sldChg>
      <pc:sldChg chg="del">
        <pc:chgData name="MOUAMMAR Matthieu" userId="a28de245-dc05-4206-b24f-6f403ed1344a" providerId="ADAL" clId="{97AE8C35-2375-40D4-8F09-DBC209B3CDBF}" dt="2021-03-06T16:55:36.480" v="7500" actId="47"/>
        <pc:sldMkLst>
          <pc:docMk/>
          <pc:sldMk cId="2397073988" sldId="451"/>
        </pc:sldMkLst>
      </pc:sldChg>
      <pc:sldChg chg="del">
        <pc:chgData name="MOUAMMAR Matthieu" userId="a28de245-dc05-4206-b24f-6f403ed1344a" providerId="ADAL" clId="{97AE8C35-2375-40D4-8F09-DBC209B3CDBF}" dt="2021-02-25T17:14:33.688" v="4757" actId="47"/>
        <pc:sldMkLst>
          <pc:docMk/>
          <pc:sldMk cId="1802228379" sldId="454"/>
        </pc:sldMkLst>
      </pc:sldChg>
      <pc:sldChg chg="addSp delSp modSp del mod">
        <pc:chgData name="MOUAMMAR Matthieu" userId="a28de245-dc05-4206-b24f-6f403ed1344a" providerId="ADAL" clId="{97AE8C35-2375-40D4-8F09-DBC209B3CDBF}" dt="2021-02-25T17:14:33.688" v="4757" actId="47"/>
        <pc:sldMkLst>
          <pc:docMk/>
          <pc:sldMk cId="1037347984" sldId="455"/>
        </pc:sldMkLst>
        <pc:spChg chg="mod">
          <ac:chgData name="MOUAMMAR Matthieu" userId="a28de245-dc05-4206-b24f-6f403ed1344a" providerId="ADAL" clId="{97AE8C35-2375-40D4-8F09-DBC209B3CDBF}" dt="2021-02-25T10:43:38.043" v="317" actId="1076"/>
          <ac:spMkLst>
            <pc:docMk/>
            <pc:sldMk cId="1037347984" sldId="455"/>
            <ac:spMk id="4" creationId="{00000000-0000-0000-0000-000000000000}"/>
          </ac:spMkLst>
        </pc:spChg>
        <pc:spChg chg="del">
          <ac:chgData name="MOUAMMAR Matthieu" userId="a28de245-dc05-4206-b24f-6f403ed1344a" providerId="ADAL" clId="{97AE8C35-2375-40D4-8F09-DBC209B3CDBF}" dt="2021-02-25T10:41:15.781" v="121" actId="478"/>
          <ac:spMkLst>
            <pc:docMk/>
            <pc:sldMk cId="1037347984" sldId="455"/>
            <ac:spMk id="5" creationId="{00000000-0000-0000-0000-000000000000}"/>
          </ac:spMkLst>
        </pc:spChg>
        <pc:spChg chg="mod">
          <ac:chgData name="MOUAMMAR Matthieu" userId="a28de245-dc05-4206-b24f-6f403ed1344a" providerId="ADAL" clId="{97AE8C35-2375-40D4-8F09-DBC209B3CDBF}" dt="2021-02-25T15:21:09.654" v="3290" actId="20577"/>
          <ac:spMkLst>
            <pc:docMk/>
            <pc:sldMk cId="1037347984" sldId="455"/>
            <ac:spMk id="6" creationId="{00000000-0000-0000-0000-000000000000}"/>
          </ac:spMkLst>
        </pc:spChg>
        <pc:spChg chg="mod">
          <ac:chgData name="MOUAMMAR Matthieu" userId="a28de245-dc05-4206-b24f-6f403ed1344a" providerId="ADAL" clId="{97AE8C35-2375-40D4-8F09-DBC209B3CDBF}" dt="2021-02-25T15:21:19.269" v="3339" actId="20577"/>
          <ac:spMkLst>
            <pc:docMk/>
            <pc:sldMk cId="1037347984" sldId="455"/>
            <ac:spMk id="7" creationId="{00000000-0000-0000-0000-000000000000}"/>
          </ac:spMkLst>
        </pc:spChg>
        <pc:spChg chg="mod">
          <ac:chgData name="MOUAMMAR Matthieu" userId="a28de245-dc05-4206-b24f-6f403ed1344a" providerId="ADAL" clId="{97AE8C35-2375-40D4-8F09-DBC209B3CDBF}" dt="2021-02-25T10:43:18.694" v="314" actId="1076"/>
          <ac:spMkLst>
            <pc:docMk/>
            <pc:sldMk cId="1037347984" sldId="455"/>
            <ac:spMk id="8" creationId="{00000000-0000-0000-0000-000000000000}"/>
          </ac:spMkLst>
        </pc:spChg>
        <pc:spChg chg="del">
          <ac:chgData name="MOUAMMAR Matthieu" userId="a28de245-dc05-4206-b24f-6f403ed1344a" providerId="ADAL" clId="{97AE8C35-2375-40D4-8F09-DBC209B3CDBF}" dt="2021-02-25T10:43:43.123" v="318" actId="478"/>
          <ac:spMkLst>
            <pc:docMk/>
            <pc:sldMk cId="1037347984" sldId="455"/>
            <ac:spMk id="9" creationId="{00000000-0000-0000-0000-000000000000}"/>
          </ac:spMkLst>
        </pc:spChg>
        <pc:spChg chg="mod">
          <ac:chgData name="MOUAMMAR Matthieu" userId="a28de245-dc05-4206-b24f-6f403ed1344a" providerId="ADAL" clId="{97AE8C35-2375-40D4-8F09-DBC209B3CDBF}" dt="2021-02-25T10:40:18.718" v="84" actId="20577"/>
          <ac:spMkLst>
            <pc:docMk/>
            <pc:sldMk cId="1037347984" sldId="455"/>
            <ac:spMk id="11" creationId="{00000000-0000-0000-0000-000000000000}"/>
          </ac:spMkLst>
        </pc:spChg>
        <pc:spChg chg="add mod">
          <ac:chgData name="MOUAMMAR Matthieu" userId="a28de245-dc05-4206-b24f-6f403ed1344a" providerId="ADAL" clId="{97AE8C35-2375-40D4-8F09-DBC209B3CDBF}" dt="2021-02-25T10:43:33.127" v="316" actId="1076"/>
          <ac:spMkLst>
            <pc:docMk/>
            <pc:sldMk cId="1037347984" sldId="455"/>
            <ac:spMk id="13" creationId="{6DCB206C-4A87-4C3A-885C-90C12AC50D18}"/>
          </ac:spMkLst>
        </pc:spChg>
        <pc:spChg chg="add del mod">
          <ac:chgData name="MOUAMMAR Matthieu" userId="a28de245-dc05-4206-b24f-6f403ed1344a" providerId="ADAL" clId="{97AE8C35-2375-40D4-8F09-DBC209B3CDBF}" dt="2021-02-25T10:41:38.288" v="123"/>
          <ac:spMkLst>
            <pc:docMk/>
            <pc:sldMk cId="1037347984" sldId="455"/>
            <ac:spMk id="14" creationId="{13E061B1-D90A-482B-9EC4-9603E4515076}"/>
          </ac:spMkLst>
        </pc:spChg>
        <pc:spChg chg="add del mod">
          <ac:chgData name="MOUAMMAR Matthieu" userId="a28de245-dc05-4206-b24f-6f403ed1344a" providerId="ADAL" clId="{97AE8C35-2375-40D4-8F09-DBC209B3CDBF}" dt="2021-02-25T10:41:38.288" v="123"/>
          <ac:spMkLst>
            <pc:docMk/>
            <pc:sldMk cId="1037347984" sldId="455"/>
            <ac:spMk id="15" creationId="{3B41660B-B06E-4925-AEBF-4839B1884342}"/>
          </ac:spMkLst>
        </pc:spChg>
        <pc:spChg chg="add del mod">
          <ac:chgData name="MOUAMMAR Matthieu" userId="a28de245-dc05-4206-b24f-6f403ed1344a" providerId="ADAL" clId="{97AE8C35-2375-40D4-8F09-DBC209B3CDBF}" dt="2021-02-25T10:41:38.288" v="123"/>
          <ac:spMkLst>
            <pc:docMk/>
            <pc:sldMk cId="1037347984" sldId="455"/>
            <ac:spMk id="16" creationId="{997FCBE5-C5B2-4DC3-8023-D3810D7E84EC}"/>
          </ac:spMkLst>
        </pc:spChg>
        <pc:spChg chg="add del mod">
          <ac:chgData name="MOUAMMAR Matthieu" userId="a28de245-dc05-4206-b24f-6f403ed1344a" providerId="ADAL" clId="{97AE8C35-2375-40D4-8F09-DBC209B3CDBF}" dt="2021-02-25T10:41:38.288" v="123"/>
          <ac:spMkLst>
            <pc:docMk/>
            <pc:sldMk cId="1037347984" sldId="455"/>
            <ac:spMk id="17" creationId="{FE7AFF5F-E186-4126-89FC-F44F79598765}"/>
          </ac:spMkLst>
        </pc:spChg>
        <pc:spChg chg="add del mod">
          <ac:chgData name="MOUAMMAR Matthieu" userId="a28de245-dc05-4206-b24f-6f403ed1344a" providerId="ADAL" clId="{97AE8C35-2375-40D4-8F09-DBC209B3CDBF}" dt="2021-02-25T10:41:38.288" v="123"/>
          <ac:spMkLst>
            <pc:docMk/>
            <pc:sldMk cId="1037347984" sldId="455"/>
            <ac:spMk id="18" creationId="{CCFEADB0-4EF5-4808-AB84-2DCB0A954254}"/>
          </ac:spMkLst>
        </pc:spChg>
        <pc:spChg chg="add mod">
          <ac:chgData name="MOUAMMAR Matthieu" userId="a28de245-dc05-4206-b24f-6f403ed1344a" providerId="ADAL" clId="{97AE8C35-2375-40D4-8F09-DBC209B3CDBF}" dt="2021-02-25T10:41:54.768" v="127" actId="1076"/>
          <ac:spMkLst>
            <pc:docMk/>
            <pc:sldMk cId="1037347984" sldId="455"/>
            <ac:spMk id="19" creationId="{F0284A68-E633-420C-BAE2-4D2AFFB08E47}"/>
          </ac:spMkLst>
        </pc:spChg>
        <pc:spChg chg="add mod">
          <ac:chgData name="MOUAMMAR Matthieu" userId="a28de245-dc05-4206-b24f-6f403ed1344a" providerId="ADAL" clId="{97AE8C35-2375-40D4-8F09-DBC209B3CDBF}" dt="2021-02-25T10:41:54.768" v="127" actId="1076"/>
          <ac:spMkLst>
            <pc:docMk/>
            <pc:sldMk cId="1037347984" sldId="455"/>
            <ac:spMk id="20" creationId="{89B3A5CC-36A9-4EA6-BE2E-C88604AC66C9}"/>
          </ac:spMkLst>
        </pc:spChg>
        <pc:spChg chg="add mod">
          <ac:chgData name="MOUAMMAR Matthieu" userId="a28de245-dc05-4206-b24f-6f403ed1344a" providerId="ADAL" clId="{97AE8C35-2375-40D4-8F09-DBC209B3CDBF}" dt="2021-02-25T10:41:54.768" v="127" actId="1076"/>
          <ac:spMkLst>
            <pc:docMk/>
            <pc:sldMk cId="1037347984" sldId="455"/>
            <ac:spMk id="21" creationId="{B6121D79-4F0F-4A8A-903D-6DA9D55CF629}"/>
          </ac:spMkLst>
        </pc:spChg>
        <pc:spChg chg="add mod">
          <ac:chgData name="MOUAMMAR Matthieu" userId="a28de245-dc05-4206-b24f-6f403ed1344a" providerId="ADAL" clId="{97AE8C35-2375-40D4-8F09-DBC209B3CDBF}" dt="2021-02-25T10:41:54.768" v="127" actId="1076"/>
          <ac:spMkLst>
            <pc:docMk/>
            <pc:sldMk cId="1037347984" sldId="455"/>
            <ac:spMk id="22" creationId="{66F709A5-0481-40BC-8FEE-FD162E4EAB75}"/>
          </ac:spMkLst>
        </pc:spChg>
        <pc:spChg chg="add mod">
          <ac:chgData name="MOUAMMAR Matthieu" userId="a28de245-dc05-4206-b24f-6f403ed1344a" providerId="ADAL" clId="{97AE8C35-2375-40D4-8F09-DBC209B3CDBF}" dt="2021-02-25T10:41:54.768" v="127" actId="1076"/>
          <ac:spMkLst>
            <pc:docMk/>
            <pc:sldMk cId="1037347984" sldId="455"/>
            <ac:spMk id="23" creationId="{798A37CE-CBCF-47A7-AB6A-7143ACA9A245}"/>
          </ac:spMkLst>
        </pc:spChg>
        <pc:spChg chg="add del mod">
          <ac:chgData name="MOUAMMAR Matthieu" userId="a28de245-dc05-4206-b24f-6f403ed1344a" providerId="ADAL" clId="{97AE8C35-2375-40D4-8F09-DBC209B3CDBF}" dt="2021-02-25T10:43:45.885" v="319" actId="478"/>
          <ac:spMkLst>
            <pc:docMk/>
            <pc:sldMk cId="1037347984" sldId="455"/>
            <ac:spMk id="25" creationId="{AA4719A7-41E3-4A5F-A80B-B5384C1D40DB}"/>
          </ac:spMkLst>
        </pc:spChg>
      </pc:sldChg>
      <pc:sldChg chg="addSp delSp modSp add del mod">
        <pc:chgData name="MOUAMMAR Matthieu" userId="a28de245-dc05-4206-b24f-6f403ed1344a" providerId="ADAL" clId="{97AE8C35-2375-40D4-8F09-DBC209B3CDBF}" dt="2021-03-07T13:29:25.395" v="7983" actId="478"/>
        <pc:sldMkLst>
          <pc:docMk/>
          <pc:sldMk cId="132313209" sldId="456"/>
        </pc:sldMkLst>
        <pc:spChg chg="mod">
          <ac:chgData name="MOUAMMAR Matthieu" userId="a28de245-dc05-4206-b24f-6f403ed1344a" providerId="ADAL" clId="{97AE8C35-2375-40D4-8F09-DBC209B3CDBF}" dt="2021-03-07T09:44:33.450" v="7513" actId="20577"/>
          <ac:spMkLst>
            <pc:docMk/>
            <pc:sldMk cId="132313209" sldId="456"/>
            <ac:spMk id="5" creationId="{00000000-0000-0000-0000-000000000000}"/>
          </ac:spMkLst>
        </pc:spChg>
        <pc:spChg chg="mod">
          <ac:chgData name="MOUAMMAR Matthieu" userId="a28de245-dc05-4206-b24f-6f403ed1344a" providerId="ADAL" clId="{97AE8C35-2375-40D4-8F09-DBC209B3CDBF}" dt="2021-03-07T09:48:03.470" v="7563" actId="20577"/>
          <ac:spMkLst>
            <pc:docMk/>
            <pc:sldMk cId="132313209" sldId="456"/>
            <ac:spMk id="7" creationId="{00000000-0000-0000-0000-000000000000}"/>
          </ac:spMkLst>
        </pc:spChg>
        <pc:spChg chg="mod">
          <ac:chgData name="MOUAMMAR Matthieu" userId="a28de245-dc05-4206-b24f-6f403ed1344a" providerId="ADAL" clId="{97AE8C35-2375-40D4-8F09-DBC209B3CDBF}" dt="2021-03-07T13:29:06.873" v="7914" actId="20577"/>
          <ac:spMkLst>
            <pc:docMk/>
            <pc:sldMk cId="132313209" sldId="456"/>
            <ac:spMk id="9" creationId="{00000000-0000-0000-0000-000000000000}"/>
          </ac:spMkLst>
        </pc:spChg>
        <pc:spChg chg="mod">
          <ac:chgData name="MOUAMMAR Matthieu" userId="a28de245-dc05-4206-b24f-6f403ed1344a" providerId="ADAL" clId="{97AE8C35-2375-40D4-8F09-DBC209B3CDBF}" dt="2021-03-07T13:29:19.709" v="7981" actId="20577"/>
          <ac:spMkLst>
            <pc:docMk/>
            <pc:sldMk cId="132313209" sldId="456"/>
            <ac:spMk id="11" creationId="{00000000-0000-0000-0000-000000000000}"/>
          </ac:spMkLst>
        </pc:spChg>
        <pc:spChg chg="del">
          <ac:chgData name="MOUAMMAR Matthieu" userId="a28de245-dc05-4206-b24f-6f403ed1344a" providerId="ADAL" clId="{97AE8C35-2375-40D4-8F09-DBC209B3CDBF}" dt="2021-03-07T09:48:37.599" v="7651" actId="478"/>
          <ac:spMkLst>
            <pc:docMk/>
            <pc:sldMk cId="132313209" sldId="456"/>
            <ac:spMk id="12" creationId="{00000000-0000-0000-0000-000000000000}"/>
          </ac:spMkLst>
        </pc:spChg>
        <pc:spChg chg="del mod">
          <ac:chgData name="MOUAMMAR Matthieu" userId="a28de245-dc05-4206-b24f-6f403ed1344a" providerId="ADAL" clId="{97AE8C35-2375-40D4-8F09-DBC209B3CDBF}" dt="2021-03-07T13:29:23.317" v="7982" actId="478"/>
          <ac:spMkLst>
            <pc:docMk/>
            <pc:sldMk cId="132313209" sldId="456"/>
            <ac:spMk id="13" creationId="{00000000-0000-0000-0000-000000000000}"/>
          </ac:spMkLst>
        </pc:spChg>
        <pc:spChg chg="del">
          <ac:chgData name="MOUAMMAR Matthieu" userId="a28de245-dc05-4206-b24f-6f403ed1344a" providerId="ADAL" clId="{97AE8C35-2375-40D4-8F09-DBC209B3CDBF}" dt="2021-03-07T09:48:41.515" v="7653" actId="478"/>
          <ac:spMkLst>
            <pc:docMk/>
            <pc:sldMk cId="132313209" sldId="456"/>
            <ac:spMk id="14" creationId="{00000000-0000-0000-0000-000000000000}"/>
          </ac:spMkLst>
        </pc:spChg>
        <pc:spChg chg="del">
          <ac:chgData name="MOUAMMAR Matthieu" userId="a28de245-dc05-4206-b24f-6f403ed1344a" providerId="ADAL" clId="{97AE8C35-2375-40D4-8F09-DBC209B3CDBF}" dt="2021-03-07T09:48:54.151" v="7685" actId="478"/>
          <ac:spMkLst>
            <pc:docMk/>
            <pc:sldMk cId="132313209" sldId="456"/>
            <ac:spMk id="15" creationId="{00000000-0000-0000-0000-000000000000}"/>
          </ac:spMkLst>
        </pc:spChg>
        <pc:spChg chg="mod">
          <ac:chgData name="MOUAMMAR Matthieu" userId="a28de245-dc05-4206-b24f-6f403ed1344a" providerId="ADAL" clId="{97AE8C35-2375-40D4-8F09-DBC209B3CDBF}" dt="2021-03-07T09:48:06.801" v="7564" actId="20577"/>
          <ac:spMkLst>
            <pc:docMk/>
            <pc:sldMk cId="132313209" sldId="456"/>
            <ac:spMk id="16" creationId="{00000000-0000-0000-0000-000000000000}"/>
          </ac:spMkLst>
        </pc:spChg>
        <pc:spChg chg="add del mod">
          <ac:chgData name="MOUAMMAR Matthieu" userId="a28de245-dc05-4206-b24f-6f403ed1344a" providerId="ADAL" clId="{97AE8C35-2375-40D4-8F09-DBC209B3CDBF}" dt="2021-03-07T09:48:40.098" v="7652" actId="478"/>
          <ac:spMkLst>
            <pc:docMk/>
            <pc:sldMk cId="132313209" sldId="456"/>
            <ac:spMk id="18" creationId="{5FFEAB2B-266C-4F64-8856-6445A2CC8E7E}"/>
          </ac:spMkLst>
        </pc:spChg>
        <pc:spChg chg="add del mod">
          <ac:chgData name="MOUAMMAR Matthieu" userId="a28de245-dc05-4206-b24f-6f403ed1344a" providerId="ADAL" clId="{97AE8C35-2375-40D4-8F09-DBC209B3CDBF}" dt="2021-03-07T09:48:43.360" v="7654" actId="478"/>
          <ac:spMkLst>
            <pc:docMk/>
            <pc:sldMk cId="132313209" sldId="456"/>
            <ac:spMk id="20" creationId="{0D32A1D9-340A-4ECC-93C9-2261B978A048}"/>
          </ac:spMkLst>
        </pc:spChg>
        <pc:spChg chg="add del mod">
          <ac:chgData name="MOUAMMAR Matthieu" userId="a28de245-dc05-4206-b24f-6f403ed1344a" providerId="ADAL" clId="{97AE8C35-2375-40D4-8F09-DBC209B3CDBF}" dt="2021-03-07T09:48:58.828" v="7686" actId="478"/>
          <ac:spMkLst>
            <pc:docMk/>
            <pc:sldMk cId="132313209" sldId="456"/>
            <ac:spMk id="22" creationId="{DC77CCAE-900D-4636-B724-822DB01A55E0}"/>
          </ac:spMkLst>
        </pc:spChg>
        <pc:spChg chg="add del mod">
          <ac:chgData name="MOUAMMAR Matthieu" userId="a28de245-dc05-4206-b24f-6f403ed1344a" providerId="ADAL" clId="{97AE8C35-2375-40D4-8F09-DBC209B3CDBF}" dt="2021-03-07T13:29:25.395" v="7983" actId="478"/>
          <ac:spMkLst>
            <pc:docMk/>
            <pc:sldMk cId="132313209" sldId="456"/>
            <ac:spMk id="24" creationId="{3E2A50C1-B597-495B-90DB-00C680434677}"/>
          </ac:spMkLst>
        </pc:spChg>
      </pc:sldChg>
      <pc:sldChg chg="del">
        <pc:chgData name="MOUAMMAR Matthieu" userId="a28de245-dc05-4206-b24f-6f403ed1344a" providerId="ADAL" clId="{97AE8C35-2375-40D4-8F09-DBC209B3CDBF}" dt="2021-03-06T16:55:36.480" v="7500" actId="47"/>
        <pc:sldMkLst>
          <pc:docMk/>
          <pc:sldMk cId="2709735895" sldId="459"/>
        </pc:sldMkLst>
      </pc:sldChg>
      <pc:sldChg chg="del">
        <pc:chgData name="MOUAMMAR Matthieu" userId="a28de245-dc05-4206-b24f-6f403ed1344a" providerId="ADAL" clId="{97AE8C35-2375-40D4-8F09-DBC209B3CDBF}" dt="2021-03-06T16:55:36.480" v="7500" actId="47"/>
        <pc:sldMkLst>
          <pc:docMk/>
          <pc:sldMk cId="1426751529" sldId="460"/>
        </pc:sldMkLst>
      </pc:sldChg>
      <pc:sldChg chg="del">
        <pc:chgData name="MOUAMMAR Matthieu" userId="a28de245-dc05-4206-b24f-6f403ed1344a" providerId="ADAL" clId="{97AE8C35-2375-40D4-8F09-DBC209B3CDBF}" dt="2021-03-06T16:55:36.480" v="7500" actId="47"/>
        <pc:sldMkLst>
          <pc:docMk/>
          <pc:sldMk cId="3453190456" sldId="461"/>
        </pc:sldMkLst>
      </pc:sldChg>
      <pc:sldChg chg="del">
        <pc:chgData name="MOUAMMAR Matthieu" userId="a28de245-dc05-4206-b24f-6f403ed1344a" providerId="ADAL" clId="{97AE8C35-2375-40D4-8F09-DBC209B3CDBF}" dt="2021-03-06T16:55:36.480" v="7500" actId="47"/>
        <pc:sldMkLst>
          <pc:docMk/>
          <pc:sldMk cId="308825540" sldId="462"/>
        </pc:sldMkLst>
      </pc:sldChg>
      <pc:sldChg chg="del">
        <pc:chgData name="MOUAMMAR Matthieu" userId="a28de245-dc05-4206-b24f-6f403ed1344a" providerId="ADAL" clId="{97AE8C35-2375-40D4-8F09-DBC209B3CDBF}" dt="2021-03-06T16:55:36.480" v="7500" actId="47"/>
        <pc:sldMkLst>
          <pc:docMk/>
          <pc:sldMk cId="1627033050" sldId="463"/>
        </pc:sldMkLst>
      </pc:sldChg>
      <pc:sldChg chg="del">
        <pc:chgData name="MOUAMMAR Matthieu" userId="a28de245-dc05-4206-b24f-6f403ed1344a" providerId="ADAL" clId="{97AE8C35-2375-40D4-8F09-DBC209B3CDBF}" dt="2021-02-25T09:35:54.051" v="50" actId="2696"/>
        <pc:sldMkLst>
          <pc:docMk/>
          <pc:sldMk cId="3447074458" sldId="464"/>
        </pc:sldMkLst>
      </pc:sldChg>
      <pc:sldChg chg="del">
        <pc:chgData name="MOUAMMAR Matthieu" userId="a28de245-dc05-4206-b24f-6f403ed1344a" providerId="ADAL" clId="{97AE8C35-2375-40D4-8F09-DBC209B3CDBF}" dt="2021-02-25T09:35:54.051" v="50" actId="2696"/>
        <pc:sldMkLst>
          <pc:docMk/>
          <pc:sldMk cId="1638984267" sldId="465"/>
        </pc:sldMkLst>
      </pc:sldChg>
      <pc:sldChg chg="del">
        <pc:chgData name="MOUAMMAR Matthieu" userId="a28de245-dc05-4206-b24f-6f403ed1344a" providerId="ADAL" clId="{97AE8C35-2375-40D4-8F09-DBC209B3CDBF}" dt="2021-03-06T16:55:36.480" v="7500" actId="47"/>
        <pc:sldMkLst>
          <pc:docMk/>
          <pc:sldMk cId="350687036" sldId="466"/>
        </pc:sldMkLst>
      </pc:sldChg>
      <pc:sldChg chg="addSp delSp modSp add mod">
        <pc:chgData name="MOUAMMAR Matthieu" userId="a28de245-dc05-4206-b24f-6f403ed1344a" providerId="ADAL" clId="{97AE8C35-2375-40D4-8F09-DBC209B3CDBF}" dt="2021-03-07T10:21:41.543" v="7704" actId="1076"/>
        <pc:sldMkLst>
          <pc:docMk/>
          <pc:sldMk cId="1037278630" sldId="467"/>
        </pc:sldMkLst>
        <pc:spChg chg="mod">
          <ac:chgData name="MOUAMMAR Matthieu" userId="a28de245-dc05-4206-b24f-6f403ed1344a" providerId="ADAL" clId="{97AE8C35-2375-40D4-8F09-DBC209B3CDBF}" dt="2021-03-07T10:20:54.656" v="7698"/>
          <ac:spMkLst>
            <pc:docMk/>
            <pc:sldMk cId="1037278630" sldId="467"/>
            <ac:spMk id="2" creationId="{00000000-0000-0000-0000-000000000000}"/>
          </ac:spMkLst>
        </pc:spChg>
        <pc:spChg chg="mod">
          <ac:chgData name="MOUAMMAR Matthieu" userId="a28de245-dc05-4206-b24f-6f403ed1344a" providerId="ADAL" clId="{97AE8C35-2375-40D4-8F09-DBC209B3CDBF}" dt="2021-02-25T10:44:35.214" v="386" actId="20577"/>
          <ac:spMkLst>
            <pc:docMk/>
            <pc:sldMk cId="1037278630" sldId="467"/>
            <ac:spMk id="5" creationId="{00000000-0000-0000-0000-000000000000}"/>
          </ac:spMkLst>
        </pc:spChg>
        <pc:spChg chg="mod">
          <ac:chgData name="MOUAMMAR Matthieu" userId="a28de245-dc05-4206-b24f-6f403ed1344a" providerId="ADAL" clId="{97AE8C35-2375-40D4-8F09-DBC209B3CDBF}" dt="2021-02-25T10:44:24.634" v="353" actId="20577"/>
          <ac:spMkLst>
            <pc:docMk/>
            <pc:sldMk cId="1037278630" sldId="467"/>
            <ac:spMk id="6" creationId="{00000000-0000-0000-0000-000000000000}"/>
          </ac:spMkLst>
        </pc:spChg>
        <pc:spChg chg="mod">
          <ac:chgData name="MOUAMMAR Matthieu" userId="a28de245-dc05-4206-b24f-6f403ed1344a" providerId="ADAL" clId="{97AE8C35-2375-40D4-8F09-DBC209B3CDBF}" dt="2021-02-25T10:48:12.072" v="387"/>
          <ac:spMkLst>
            <pc:docMk/>
            <pc:sldMk cId="1037278630" sldId="467"/>
            <ac:spMk id="10" creationId="{DF0BA53B-F34F-4F06-A61B-63F4E3C1B43E}"/>
          </ac:spMkLst>
        </pc:spChg>
        <pc:spChg chg="mod">
          <ac:chgData name="MOUAMMAR Matthieu" userId="a28de245-dc05-4206-b24f-6f403ed1344a" providerId="ADAL" clId="{97AE8C35-2375-40D4-8F09-DBC209B3CDBF}" dt="2021-02-25T10:48:12.072" v="387"/>
          <ac:spMkLst>
            <pc:docMk/>
            <pc:sldMk cId="1037278630" sldId="467"/>
            <ac:spMk id="11" creationId="{DA9A1DDE-3173-43F7-8312-57CA9C0739DB}"/>
          </ac:spMkLst>
        </pc:spChg>
        <pc:spChg chg="mod">
          <ac:chgData name="MOUAMMAR Matthieu" userId="a28de245-dc05-4206-b24f-6f403ed1344a" providerId="ADAL" clId="{97AE8C35-2375-40D4-8F09-DBC209B3CDBF}" dt="2021-02-25T10:48:12.072" v="387"/>
          <ac:spMkLst>
            <pc:docMk/>
            <pc:sldMk cId="1037278630" sldId="467"/>
            <ac:spMk id="12" creationId="{C61EC6F2-E015-411E-8BC8-1975DD2BF21E}"/>
          </ac:spMkLst>
        </pc:spChg>
        <pc:spChg chg="mod">
          <ac:chgData name="MOUAMMAR Matthieu" userId="a28de245-dc05-4206-b24f-6f403ed1344a" providerId="ADAL" clId="{97AE8C35-2375-40D4-8F09-DBC209B3CDBF}" dt="2021-02-25T10:48:12.072" v="387"/>
          <ac:spMkLst>
            <pc:docMk/>
            <pc:sldMk cId="1037278630" sldId="467"/>
            <ac:spMk id="13" creationId="{4D0CF050-D4B3-4473-8909-1B321C95C555}"/>
          </ac:spMkLst>
        </pc:spChg>
        <pc:spChg chg="mod">
          <ac:chgData name="MOUAMMAR Matthieu" userId="a28de245-dc05-4206-b24f-6f403ed1344a" providerId="ADAL" clId="{97AE8C35-2375-40D4-8F09-DBC209B3CDBF}" dt="2021-02-25T10:48:12.072" v="387"/>
          <ac:spMkLst>
            <pc:docMk/>
            <pc:sldMk cId="1037278630" sldId="467"/>
            <ac:spMk id="14" creationId="{B924A738-9FA7-46BC-85FE-4621B3FA749D}"/>
          </ac:spMkLst>
        </pc:spChg>
        <pc:spChg chg="mod">
          <ac:chgData name="MOUAMMAR Matthieu" userId="a28de245-dc05-4206-b24f-6f403ed1344a" providerId="ADAL" clId="{97AE8C35-2375-40D4-8F09-DBC209B3CDBF}" dt="2021-02-25T10:48:12.072" v="387"/>
          <ac:spMkLst>
            <pc:docMk/>
            <pc:sldMk cId="1037278630" sldId="467"/>
            <ac:spMk id="15" creationId="{BB43EE4A-50AE-4B50-8FA1-4A6E211BFBC8}"/>
          </ac:spMkLst>
        </pc:spChg>
        <pc:spChg chg="mod">
          <ac:chgData name="MOUAMMAR Matthieu" userId="a28de245-dc05-4206-b24f-6f403ed1344a" providerId="ADAL" clId="{97AE8C35-2375-40D4-8F09-DBC209B3CDBF}" dt="2021-02-25T10:48:12.072" v="387"/>
          <ac:spMkLst>
            <pc:docMk/>
            <pc:sldMk cId="1037278630" sldId="467"/>
            <ac:spMk id="16" creationId="{7DE52223-43E3-47CC-AAD7-1E96EACB40FC}"/>
          </ac:spMkLst>
        </pc:spChg>
        <pc:spChg chg="mod">
          <ac:chgData name="MOUAMMAR Matthieu" userId="a28de245-dc05-4206-b24f-6f403ed1344a" providerId="ADAL" clId="{97AE8C35-2375-40D4-8F09-DBC209B3CDBF}" dt="2021-02-25T10:48:12.072" v="387"/>
          <ac:spMkLst>
            <pc:docMk/>
            <pc:sldMk cId="1037278630" sldId="467"/>
            <ac:spMk id="17" creationId="{EA1DC718-214B-46F0-AED0-7677A82B2319}"/>
          </ac:spMkLst>
        </pc:spChg>
        <pc:spChg chg="mod">
          <ac:chgData name="MOUAMMAR Matthieu" userId="a28de245-dc05-4206-b24f-6f403ed1344a" providerId="ADAL" clId="{97AE8C35-2375-40D4-8F09-DBC209B3CDBF}" dt="2021-02-25T10:48:12.072" v="387"/>
          <ac:spMkLst>
            <pc:docMk/>
            <pc:sldMk cId="1037278630" sldId="467"/>
            <ac:spMk id="18" creationId="{7E1C3F64-8DD2-4469-9C9C-F1D1C30002B4}"/>
          </ac:spMkLst>
        </pc:spChg>
        <pc:spChg chg="mod">
          <ac:chgData name="MOUAMMAR Matthieu" userId="a28de245-dc05-4206-b24f-6f403ed1344a" providerId="ADAL" clId="{97AE8C35-2375-40D4-8F09-DBC209B3CDBF}" dt="2021-02-25T10:48:12.072" v="387"/>
          <ac:spMkLst>
            <pc:docMk/>
            <pc:sldMk cId="1037278630" sldId="467"/>
            <ac:spMk id="19" creationId="{7B06D2E7-76EE-4F2D-A2C7-D62E8B57151E}"/>
          </ac:spMkLst>
        </pc:spChg>
        <pc:spChg chg="mod">
          <ac:chgData name="MOUAMMAR Matthieu" userId="a28de245-dc05-4206-b24f-6f403ed1344a" providerId="ADAL" clId="{97AE8C35-2375-40D4-8F09-DBC209B3CDBF}" dt="2021-02-25T10:48:12.072" v="387"/>
          <ac:spMkLst>
            <pc:docMk/>
            <pc:sldMk cId="1037278630" sldId="467"/>
            <ac:spMk id="20" creationId="{35670C8E-CBD2-4D29-8B1D-9A0652830BD9}"/>
          </ac:spMkLst>
        </pc:spChg>
        <pc:spChg chg="mod">
          <ac:chgData name="MOUAMMAR Matthieu" userId="a28de245-dc05-4206-b24f-6f403ed1344a" providerId="ADAL" clId="{97AE8C35-2375-40D4-8F09-DBC209B3CDBF}" dt="2021-02-25T10:48:12.072" v="387"/>
          <ac:spMkLst>
            <pc:docMk/>
            <pc:sldMk cId="1037278630" sldId="467"/>
            <ac:spMk id="21" creationId="{2EDF01A7-BEB5-49E2-8167-92F5FA82855B}"/>
          </ac:spMkLst>
        </pc:spChg>
        <pc:spChg chg="mod">
          <ac:chgData name="MOUAMMAR Matthieu" userId="a28de245-dc05-4206-b24f-6f403ed1344a" providerId="ADAL" clId="{97AE8C35-2375-40D4-8F09-DBC209B3CDBF}" dt="2021-02-25T10:48:12.072" v="387"/>
          <ac:spMkLst>
            <pc:docMk/>
            <pc:sldMk cId="1037278630" sldId="467"/>
            <ac:spMk id="22" creationId="{811D1DDA-8F2E-4C5D-AA64-483DB3F79D03}"/>
          </ac:spMkLst>
        </pc:spChg>
        <pc:spChg chg="mod">
          <ac:chgData name="MOUAMMAR Matthieu" userId="a28de245-dc05-4206-b24f-6f403ed1344a" providerId="ADAL" clId="{97AE8C35-2375-40D4-8F09-DBC209B3CDBF}" dt="2021-02-25T10:48:12.072" v="387"/>
          <ac:spMkLst>
            <pc:docMk/>
            <pc:sldMk cId="1037278630" sldId="467"/>
            <ac:spMk id="23" creationId="{1ADA65EC-A976-43FE-881C-68C7542D1FA7}"/>
          </ac:spMkLst>
        </pc:spChg>
        <pc:spChg chg="mod">
          <ac:chgData name="MOUAMMAR Matthieu" userId="a28de245-dc05-4206-b24f-6f403ed1344a" providerId="ADAL" clId="{97AE8C35-2375-40D4-8F09-DBC209B3CDBF}" dt="2021-02-25T10:48:12.072" v="387"/>
          <ac:spMkLst>
            <pc:docMk/>
            <pc:sldMk cId="1037278630" sldId="467"/>
            <ac:spMk id="24" creationId="{096D25A3-D30F-4F4A-A6E4-922D5C8EB46F}"/>
          </ac:spMkLst>
        </pc:spChg>
        <pc:spChg chg="mod">
          <ac:chgData name="MOUAMMAR Matthieu" userId="a28de245-dc05-4206-b24f-6f403ed1344a" providerId="ADAL" clId="{97AE8C35-2375-40D4-8F09-DBC209B3CDBF}" dt="2021-02-25T10:48:12.072" v="387"/>
          <ac:spMkLst>
            <pc:docMk/>
            <pc:sldMk cId="1037278630" sldId="467"/>
            <ac:spMk id="25" creationId="{49C506E9-D4D6-4D80-9078-1092F8AE11D7}"/>
          </ac:spMkLst>
        </pc:spChg>
        <pc:spChg chg="add del mod">
          <ac:chgData name="MOUAMMAR Matthieu" userId="a28de245-dc05-4206-b24f-6f403ed1344a" providerId="ADAL" clId="{97AE8C35-2375-40D4-8F09-DBC209B3CDBF}" dt="2021-02-25T10:50:15.500" v="461" actId="20577"/>
          <ac:spMkLst>
            <pc:docMk/>
            <pc:sldMk cId="1037278630" sldId="467"/>
            <ac:spMk id="26" creationId="{FFE88C93-E553-4D41-84C0-0E5443CD4115}"/>
          </ac:spMkLst>
        </pc:spChg>
        <pc:grpChg chg="add mod">
          <ac:chgData name="MOUAMMAR Matthieu" userId="a28de245-dc05-4206-b24f-6f403ed1344a" providerId="ADAL" clId="{97AE8C35-2375-40D4-8F09-DBC209B3CDBF}" dt="2021-02-25T10:48:17.803" v="388" actId="1076"/>
          <ac:grpSpMkLst>
            <pc:docMk/>
            <pc:sldMk cId="1037278630" sldId="467"/>
            <ac:grpSpMk id="7" creationId="{3E23DBA5-1688-487D-B7F6-64CB73551F6A}"/>
          </ac:grpSpMkLst>
        </pc:grpChg>
        <pc:grpChg chg="mod">
          <ac:chgData name="MOUAMMAR Matthieu" userId="a28de245-dc05-4206-b24f-6f403ed1344a" providerId="ADAL" clId="{97AE8C35-2375-40D4-8F09-DBC209B3CDBF}" dt="2021-02-25T10:48:12.072" v="387"/>
          <ac:grpSpMkLst>
            <pc:docMk/>
            <pc:sldMk cId="1037278630" sldId="467"/>
            <ac:grpSpMk id="9" creationId="{FEECC82D-66AD-454C-B0C2-C0FBC4802448}"/>
          </ac:grpSpMkLst>
        </pc:grpChg>
        <pc:picChg chg="mod">
          <ac:chgData name="MOUAMMAR Matthieu" userId="a28de245-dc05-4206-b24f-6f403ed1344a" providerId="ADAL" clId="{97AE8C35-2375-40D4-8F09-DBC209B3CDBF}" dt="2021-02-25T10:48:12.072" v="387"/>
          <ac:picMkLst>
            <pc:docMk/>
            <pc:sldMk cId="1037278630" sldId="467"/>
            <ac:picMk id="8" creationId="{0F6D1CAB-998E-4770-A878-A1A499762CCE}"/>
          </ac:picMkLst>
        </pc:picChg>
        <pc:picChg chg="add mod">
          <ac:chgData name="MOUAMMAR Matthieu" userId="a28de245-dc05-4206-b24f-6f403ed1344a" providerId="ADAL" clId="{97AE8C35-2375-40D4-8F09-DBC209B3CDBF}" dt="2021-03-07T10:21:41.543" v="7704" actId="1076"/>
          <ac:picMkLst>
            <pc:docMk/>
            <pc:sldMk cId="1037278630" sldId="467"/>
            <ac:picMk id="28" creationId="{4D570588-AEE6-424B-8121-BB2BF9245516}"/>
          </ac:picMkLst>
        </pc:picChg>
      </pc:sldChg>
      <pc:sldChg chg="addSp delSp modSp add mod">
        <pc:chgData name="MOUAMMAR Matthieu" userId="a28de245-dc05-4206-b24f-6f403ed1344a" providerId="ADAL" clId="{97AE8C35-2375-40D4-8F09-DBC209B3CDBF}" dt="2021-02-25T13:22:02.488" v="1810" actId="20577"/>
        <pc:sldMkLst>
          <pc:docMk/>
          <pc:sldMk cId="2886976595" sldId="468"/>
        </pc:sldMkLst>
        <pc:spChg chg="del mod">
          <ac:chgData name="MOUAMMAR Matthieu" userId="a28de245-dc05-4206-b24f-6f403ed1344a" providerId="ADAL" clId="{97AE8C35-2375-40D4-8F09-DBC209B3CDBF}" dt="2021-02-25T13:18:30.647" v="966" actId="478"/>
          <ac:spMkLst>
            <pc:docMk/>
            <pc:sldMk cId="2886976595" sldId="468"/>
            <ac:spMk id="2" creationId="{00000000-0000-0000-0000-000000000000}"/>
          </ac:spMkLst>
        </pc:spChg>
        <pc:spChg chg="mod">
          <ac:chgData name="MOUAMMAR Matthieu" userId="a28de245-dc05-4206-b24f-6f403ed1344a" providerId="ADAL" clId="{97AE8C35-2375-40D4-8F09-DBC209B3CDBF}" dt="2021-02-25T13:07:05.968" v="959" actId="20577"/>
          <ac:spMkLst>
            <pc:docMk/>
            <pc:sldMk cId="2886976595" sldId="468"/>
            <ac:spMk id="5" creationId="{00000000-0000-0000-0000-000000000000}"/>
          </ac:spMkLst>
        </pc:spChg>
        <pc:spChg chg="mod">
          <ac:chgData name="MOUAMMAR Matthieu" userId="a28de245-dc05-4206-b24f-6f403ed1344a" providerId="ADAL" clId="{97AE8C35-2375-40D4-8F09-DBC209B3CDBF}" dt="2021-02-25T13:06:48.774" v="896" actId="20577"/>
          <ac:spMkLst>
            <pc:docMk/>
            <pc:sldMk cId="2886976595" sldId="468"/>
            <ac:spMk id="6" creationId="{00000000-0000-0000-0000-000000000000}"/>
          </ac:spMkLst>
        </pc:spChg>
        <pc:spChg chg="del">
          <ac:chgData name="MOUAMMAR Matthieu" userId="a28de245-dc05-4206-b24f-6f403ed1344a" providerId="ADAL" clId="{97AE8C35-2375-40D4-8F09-DBC209B3CDBF}" dt="2021-02-25T13:14:53.558" v="960" actId="478"/>
          <ac:spMkLst>
            <pc:docMk/>
            <pc:sldMk cId="2886976595" sldId="468"/>
            <ac:spMk id="26" creationId="{FFE88C93-E553-4D41-84C0-0E5443CD4115}"/>
          </ac:spMkLst>
        </pc:spChg>
        <pc:spChg chg="add del mod">
          <ac:chgData name="MOUAMMAR Matthieu" userId="a28de245-dc05-4206-b24f-6f403ed1344a" providerId="ADAL" clId="{97AE8C35-2375-40D4-8F09-DBC209B3CDBF}" dt="2021-02-25T13:18:34.506" v="967" actId="478"/>
          <ac:spMkLst>
            <pc:docMk/>
            <pc:sldMk cId="2886976595" sldId="468"/>
            <ac:spMk id="28" creationId="{D7D67992-6D7E-4450-8C84-951F3B4089BC}"/>
          </ac:spMkLst>
        </pc:spChg>
        <pc:spChg chg="mod">
          <ac:chgData name="MOUAMMAR Matthieu" userId="a28de245-dc05-4206-b24f-6f403ed1344a" providerId="ADAL" clId="{97AE8C35-2375-40D4-8F09-DBC209B3CDBF}" dt="2021-02-25T13:18:34.827" v="968"/>
          <ac:spMkLst>
            <pc:docMk/>
            <pc:sldMk cId="2886976595" sldId="468"/>
            <ac:spMk id="31" creationId="{8E94126A-BFEF-48A6-90AC-5E900EB8F975}"/>
          </ac:spMkLst>
        </pc:spChg>
        <pc:spChg chg="del mod">
          <ac:chgData name="MOUAMMAR Matthieu" userId="a28de245-dc05-4206-b24f-6f403ed1344a" providerId="ADAL" clId="{97AE8C35-2375-40D4-8F09-DBC209B3CDBF}" dt="2021-02-25T13:20:02.413" v="1267" actId="478"/>
          <ac:spMkLst>
            <pc:docMk/>
            <pc:sldMk cId="2886976595" sldId="468"/>
            <ac:spMk id="32" creationId="{9C43A56D-8C7A-475A-A74D-305F7117AF56}"/>
          </ac:spMkLst>
        </pc:spChg>
        <pc:spChg chg="mod">
          <ac:chgData name="MOUAMMAR Matthieu" userId="a28de245-dc05-4206-b24f-6f403ed1344a" providerId="ADAL" clId="{97AE8C35-2375-40D4-8F09-DBC209B3CDBF}" dt="2021-02-25T13:20:47.008" v="1446" actId="20577"/>
          <ac:spMkLst>
            <pc:docMk/>
            <pc:sldMk cId="2886976595" sldId="468"/>
            <ac:spMk id="33" creationId="{8E48B8CC-5A12-4490-9984-9936F464081A}"/>
          </ac:spMkLst>
        </pc:spChg>
        <pc:spChg chg="mod">
          <ac:chgData name="MOUAMMAR Matthieu" userId="a28de245-dc05-4206-b24f-6f403ed1344a" providerId="ADAL" clId="{97AE8C35-2375-40D4-8F09-DBC209B3CDBF}" dt="2021-02-25T13:19:44.381" v="1194" actId="14100"/>
          <ac:spMkLst>
            <pc:docMk/>
            <pc:sldMk cId="2886976595" sldId="468"/>
            <ac:spMk id="34" creationId="{1AAA3746-BA40-44BF-9036-E6AC073AAC33}"/>
          </ac:spMkLst>
        </pc:spChg>
        <pc:spChg chg="mod">
          <ac:chgData name="MOUAMMAR Matthieu" userId="a28de245-dc05-4206-b24f-6f403ed1344a" providerId="ADAL" clId="{97AE8C35-2375-40D4-8F09-DBC209B3CDBF}" dt="2021-02-25T13:22:02.488" v="1810" actId="20577"/>
          <ac:spMkLst>
            <pc:docMk/>
            <pc:sldMk cId="2886976595" sldId="468"/>
            <ac:spMk id="35" creationId="{066F4215-2128-40BF-AC9D-CCA0D44964B6}"/>
          </ac:spMkLst>
        </pc:spChg>
        <pc:spChg chg="mod">
          <ac:chgData name="MOUAMMAR Matthieu" userId="a28de245-dc05-4206-b24f-6f403ed1344a" providerId="ADAL" clId="{97AE8C35-2375-40D4-8F09-DBC209B3CDBF}" dt="2021-02-25T13:21:31.186" v="1639" actId="20577"/>
          <ac:spMkLst>
            <pc:docMk/>
            <pc:sldMk cId="2886976595" sldId="468"/>
            <ac:spMk id="36" creationId="{F82F7A6D-26F1-4968-8FCF-09EE8F836FEF}"/>
          </ac:spMkLst>
        </pc:spChg>
        <pc:spChg chg="mod">
          <ac:chgData name="MOUAMMAR Matthieu" userId="a28de245-dc05-4206-b24f-6f403ed1344a" providerId="ADAL" clId="{97AE8C35-2375-40D4-8F09-DBC209B3CDBF}" dt="2021-02-25T13:18:34.827" v="968"/>
          <ac:spMkLst>
            <pc:docMk/>
            <pc:sldMk cId="2886976595" sldId="468"/>
            <ac:spMk id="37" creationId="{822A7D82-9141-48EB-BA07-892B7AFF942C}"/>
          </ac:spMkLst>
        </pc:spChg>
        <pc:spChg chg="mod">
          <ac:chgData name="MOUAMMAR Matthieu" userId="a28de245-dc05-4206-b24f-6f403ed1344a" providerId="ADAL" clId="{97AE8C35-2375-40D4-8F09-DBC209B3CDBF}" dt="2021-02-25T13:18:34.827" v="968"/>
          <ac:spMkLst>
            <pc:docMk/>
            <pc:sldMk cId="2886976595" sldId="468"/>
            <ac:spMk id="38" creationId="{6393DA4A-C114-412A-8C04-8F492CFFE301}"/>
          </ac:spMkLst>
        </pc:spChg>
        <pc:spChg chg="mod">
          <ac:chgData name="MOUAMMAR Matthieu" userId="a28de245-dc05-4206-b24f-6f403ed1344a" providerId="ADAL" clId="{97AE8C35-2375-40D4-8F09-DBC209B3CDBF}" dt="2021-02-25T13:18:34.827" v="968"/>
          <ac:spMkLst>
            <pc:docMk/>
            <pc:sldMk cId="2886976595" sldId="468"/>
            <ac:spMk id="39" creationId="{09B07576-2F1A-4CCC-A716-D5ECA137A527}"/>
          </ac:spMkLst>
        </pc:spChg>
        <pc:grpChg chg="del">
          <ac:chgData name="MOUAMMAR Matthieu" userId="a28de245-dc05-4206-b24f-6f403ed1344a" providerId="ADAL" clId="{97AE8C35-2375-40D4-8F09-DBC209B3CDBF}" dt="2021-02-25T13:14:53.558" v="960" actId="478"/>
          <ac:grpSpMkLst>
            <pc:docMk/>
            <pc:sldMk cId="2886976595" sldId="468"/>
            <ac:grpSpMk id="7" creationId="{3E23DBA5-1688-487D-B7F6-64CB73551F6A}"/>
          </ac:grpSpMkLst>
        </pc:grpChg>
        <pc:grpChg chg="add mod">
          <ac:chgData name="MOUAMMAR Matthieu" userId="a28de245-dc05-4206-b24f-6f403ed1344a" providerId="ADAL" clId="{97AE8C35-2375-40D4-8F09-DBC209B3CDBF}" dt="2021-02-25T13:18:41.799" v="970" actId="14100"/>
          <ac:grpSpMkLst>
            <pc:docMk/>
            <pc:sldMk cId="2886976595" sldId="468"/>
            <ac:grpSpMk id="29" creationId="{C13E2700-8178-4DD2-8FC3-568A9F41C3F4}"/>
          </ac:grpSpMkLst>
        </pc:grpChg>
        <pc:grpChg chg="mod">
          <ac:chgData name="MOUAMMAR Matthieu" userId="a28de245-dc05-4206-b24f-6f403ed1344a" providerId="ADAL" clId="{97AE8C35-2375-40D4-8F09-DBC209B3CDBF}" dt="2021-02-25T13:18:34.827" v="968"/>
          <ac:grpSpMkLst>
            <pc:docMk/>
            <pc:sldMk cId="2886976595" sldId="468"/>
            <ac:grpSpMk id="30" creationId="{5E45602D-B6F0-438B-8AA0-A77650EAFE81}"/>
          </ac:grpSpMkLst>
        </pc:grpChg>
      </pc:sldChg>
      <pc:sldChg chg="addSp delSp modSp add mod">
        <pc:chgData name="MOUAMMAR Matthieu" userId="a28de245-dc05-4206-b24f-6f403ed1344a" providerId="ADAL" clId="{97AE8C35-2375-40D4-8F09-DBC209B3CDBF}" dt="2021-02-25T13:59:52.318" v="1830"/>
        <pc:sldMkLst>
          <pc:docMk/>
          <pc:sldMk cId="3751589838" sldId="469"/>
        </pc:sldMkLst>
        <pc:spChg chg="mod">
          <ac:chgData name="MOUAMMAR Matthieu" userId="a28de245-dc05-4206-b24f-6f403ed1344a" providerId="ADAL" clId="{97AE8C35-2375-40D4-8F09-DBC209B3CDBF}" dt="2021-02-25T13:22:45.532" v="1828" actId="20577"/>
          <ac:spMkLst>
            <pc:docMk/>
            <pc:sldMk cId="3751589838" sldId="469"/>
            <ac:spMk id="5" creationId="{00000000-0000-0000-0000-000000000000}"/>
          </ac:spMkLst>
        </pc:spChg>
        <pc:spChg chg="add mod">
          <ac:chgData name="MOUAMMAR Matthieu" userId="a28de245-dc05-4206-b24f-6f403ed1344a" providerId="ADAL" clId="{97AE8C35-2375-40D4-8F09-DBC209B3CDBF}" dt="2021-02-25T13:59:52.318" v="1830"/>
          <ac:spMkLst>
            <pc:docMk/>
            <pc:sldMk cId="3751589838" sldId="469"/>
            <ac:spMk id="16" creationId="{4AFE05D5-01FC-4DDD-9A1B-16B3962866DE}"/>
          </ac:spMkLst>
        </pc:spChg>
        <pc:spChg chg="add mod">
          <ac:chgData name="MOUAMMAR Matthieu" userId="a28de245-dc05-4206-b24f-6f403ed1344a" providerId="ADAL" clId="{97AE8C35-2375-40D4-8F09-DBC209B3CDBF}" dt="2021-02-25T13:59:52.318" v="1830"/>
          <ac:spMkLst>
            <pc:docMk/>
            <pc:sldMk cId="3751589838" sldId="469"/>
            <ac:spMk id="19" creationId="{48ED75FC-8902-45F9-B201-307752614D94}"/>
          </ac:spMkLst>
        </pc:spChg>
        <pc:spChg chg="add mod">
          <ac:chgData name="MOUAMMAR Matthieu" userId="a28de245-dc05-4206-b24f-6f403ed1344a" providerId="ADAL" clId="{97AE8C35-2375-40D4-8F09-DBC209B3CDBF}" dt="2021-02-25T13:59:52.318" v="1830"/>
          <ac:spMkLst>
            <pc:docMk/>
            <pc:sldMk cId="3751589838" sldId="469"/>
            <ac:spMk id="20" creationId="{1D142959-796A-491F-8B22-217E3F0CF93F}"/>
          </ac:spMkLst>
        </pc:spChg>
        <pc:spChg chg="add mod">
          <ac:chgData name="MOUAMMAR Matthieu" userId="a28de245-dc05-4206-b24f-6f403ed1344a" providerId="ADAL" clId="{97AE8C35-2375-40D4-8F09-DBC209B3CDBF}" dt="2021-02-25T13:59:52.318" v="1830"/>
          <ac:spMkLst>
            <pc:docMk/>
            <pc:sldMk cId="3751589838" sldId="469"/>
            <ac:spMk id="21" creationId="{3F54BFB4-45D7-476F-BDF3-DE9590518289}"/>
          </ac:spMkLst>
        </pc:spChg>
        <pc:spChg chg="add mod">
          <ac:chgData name="MOUAMMAR Matthieu" userId="a28de245-dc05-4206-b24f-6f403ed1344a" providerId="ADAL" clId="{97AE8C35-2375-40D4-8F09-DBC209B3CDBF}" dt="2021-02-25T13:59:52.318" v="1830"/>
          <ac:spMkLst>
            <pc:docMk/>
            <pc:sldMk cId="3751589838" sldId="469"/>
            <ac:spMk id="22" creationId="{DF958D82-5886-437A-AEC4-32CE02981A05}"/>
          </ac:spMkLst>
        </pc:spChg>
        <pc:spChg chg="add mod">
          <ac:chgData name="MOUAMMAR Matthieu" userId="a28de245-dc05-4206-b24f-6f403ed1344a" providerId="ADAL" clId="{97AE8C35-2375-40D4-8F09-DBC209B3CDBF}" dt="2021-02-25T13:59:52.318" v="1830"/>
          <ac:spMkLst>
            <pc:docMk/>
            <pc:sldMk cId="3751589838" sldId="469"/>
            <ac:spMk id="23" creationId="{0ED575FC-F43F-4909-843A-2074F5C11FF3}"/>
          </ac:spMkLst>
        </pc:spChg>
        <pc:spChg chg="add mod">
          <ac:chgData name="MOUAMMAR Matthieu" userId="a28de245-dc05-4206-b24f-6f403ed1344a" providerId="ADAL" clId="{97AE8C35-2375-40D4-8F09-DBC209B3CDBF}" dt="2021-02-25T13:59:52.318" v="1830"/>
          <ac:spMkLst>
            <pc:docMk/>
            <pc:sldMk cId="3751589838" sldId="469"/>
            <ac:spMk id="24" creationId="{7FAB9D86-95E9-4244-A4C2-6579D7EB8861}"/>
          </ac:spMkLst>
        </pc:spChg>
        <pc:spChg chg="add mod">
          <ac:chgData name="MOUAMMAR Matthieu" userId="a28de245-dc05-4206-b24f-6f403ed1344a" providerId="ADAL" clId="{97AE8C35-2375-40D4-8F09-DBC209B3CDBF}" dt="2021-02-25T13:59:52.318" v="1830"/>
          <ac:spMkLst>
            <pc:docMk/>
            <pc:sldMk cId="3751589838" sldId="469"/>
            <ac:spMk id="25" creationId="{319DA54F-EE2E-4979-A310-76B37AEF3C50}"/>
          </ac:spMkLst>
        </pc:spChg>
        <pc:spChg chg="add mod">
          <ac:chgData name="MOUAMMAR Matthieu" userId="a28de245-dc05-4206-b24f-6f403ed1344a" providerId="ADAL" clId="{97AE8C35-2375-40D4-8F09-DBC209B3CDBF}" dt="2021-02-25T13:59:52.318" v="1830"/>
          <ac:spMkLst>
            <pc:docMk/>
            <pc:sldMk cId="3751589838" sldId="469"/>
            <ac:spMk id="26" creationId="{D1E6FD9D-F55B-4826-B4E1-EDF0447F70D3}"/>
          </ac:spMkLst>
        </pc:spChg>
        <pc:spChg chg="add mod">
          <ac:chgData name="MOUAMMAR Matthieu" userId="a28de245-dc05-4206-b24f-6f403ed1344a" providerId="ADAL" clId="{97AE8C35-2375-40D4-8F09-DBC209B3CDBF}" dt="2021-02-25T13:59:52.318" v="1830"/>
          <ac:spMkLst>
            <pc:docMk/>
            <pc:sldMk cId="3751589838" sldId="469"/>
            <ac:spMk id="27" creationId="{F3E81779-4499-4087-AD0E-2C669FB0176E}"/>
          </ac:spMkLst>
        </pc:spChg>
        <pc:spChg chg="add mod">
          <ac:chgData name="MOUAMMAR Matthieu" userId="a28de245-dc05-4206-b24f-6f403ed1344a" providerId="ADAL" clId="{97AE8C35-2375-40D4-8F09-DBC209B3CDBF}" dt="2021-02-25T13:59:52.318" v="1830"/>
          <ac:spMkLst>
            <pc:docMk/>
            <pc:sldMk cId="3751589838" sldId="469"/>
            <ac:spMk id="28" creationId="{DC598D46-49B4-4E8E-A72E-C3FBCA57AE2F}"/>
          </ac:spMkLst>
        </pc:spChg>
        <pc:spChg chg="add mod">
          <ac:chgData name="MOUAMMAR Matthieu" userId="a28de245-dc05-4206-b24f-6f403ed1344a" providerId="ADAL" clId="{97AE8C35-2375-40D4-8F09-DBC209B3CDBF}" dt="2021-02-25T13:59:52.318" v="1830"/>
          <ac:spMkLst>
            <pc:docMk/>
            <pc:sldMk cId="3751589838" sldId="469"/>
            <ac:spMk id="32" creationId="{2C3AAA7A-0F7C-4940-9F02-2EC1C6163FAB}"/>
          </ac:spMkLst>
        </pc:spChg>
        <pc:spChg chg="add mod">
          <ac:chgData name="MOUAMMAR Matthieu" userId="a28de245-dc05-4206-b24f-6f403ed1344a" providerId="ADAL" clId="{97AE8C35-2375-40D4-8F09-DBC209B3CDBF}" dt="2021-02-25T13:59:52.318" v="1830"/>
          <ac:spMkLst>
            <pc:docMk/>
            <pc:sldMk cId="3751589838" sldId="469"/>
            <ac:spMk id="40" creationId="{2C6BA390-565C-4658-9F94-E4FB09BABDB8}"/>
          </ac:spMkLst>
        </pc:spChg>
        <pc:grpChg chg="del">
          <ac:chgData name="MOUAMMAR Matthieu" userId="a28de245-dc05-4206-b24f-6f403ed1344a" providerId="ADAL" clId="{97AE8C35-2375-40D4-8F09-DBC209B3CDBF}" dt="2021-02-25T13:22:50.531" v="1829" actId="478"/>
          <ac:grpSpMkLst>
            <pc:docMk/>
            <pc:sldMk cId="3751589838" sldId="469"/>
            <ac:grpSpMk id="29" creationId="{C13E2700-8178-4DD2-8FC3-568A9F41C3F4}"/>
          </ac:grpSpMkLst>
        </pc:grpChg>
        <pc:cxnChg chg="add mod">
          <ac:chgData name="MOUAMMAR Matthieu" userId="a28de245-dc05-4206-b24f-6f403ed1344a" providerId="ADAL" clId="{97AE8C35-2375-40D4-8F09-DBC209B3CDBF}" dt="2021-02-25T13:59:52.318" v="1830"/>
          <ac:cxnSpMkLst>
            <pc:docMk/>
            <pc:sldMk cId="3751589838" sldId="469"/>
            <ac:cxnSpMk id="17" creationId="{2A4E2E8B-8C36-4D8D-9550-9CE59076A1A7}"/>
          </ac:cxnSpMkLst>
        </pc:cxnChg>
        <pc:cxnChg chg="add mod">
          <ac:chgData name="MOUAMMAR Matthieu" userId="a28de245-dc05-4206-b24f-6f403ed1344a" providerId="ADAL" clId="{97AE8C35-2375-40D4-8F09-DBC209B3CDBF}" dt="2021-02-25T13:59:52.318" v="1830"/>
          <ac:cxnSpMkLst>
            <pc:docMk/>
            <pc:sldMk cId="3751589838" sldId="469"/>
            <ac:cxnSpMk id="18" creationId="{D1C30B45-6A78-490D-9BEE-55D800BAA704}"/>
          </ac:cxnSpMkLst>
        </pc:cxnChg>
      </pc:sldChg>
      <pc:sldChg chg="addSp delSp modSp add mod">
        <pc:chgData name="MOUAMMAR Matthieu" userId="a28de245-dc05-4206-b24f-6f403ed1344a" providerId="ADAL" clId="{97AE8C35-2375-40D4-8F09-DBC209B3CDBF}" dt="2021-02-25T14:22:23.788" v="2362"/>
        <pc:sldMkLst>
          <pc:docMk/>
          <pc:sldMk cId="3391757743" sldId="470"/>
        </pc:sldMkLst>
        <pc:spChg chg="mod">
          <ac:chgData name="MOUAMMAR Matthieu" userId="a28de245-dc05-4206-b24f-6f403ed1344a" providerId="ADAL" clId="{97AE8C35-2375-40D4-8F09-DBC209B3CDBF}" dt="2021-02-25T14:13:39.913" v="2046" actId="20577"/>
          <ac:spMkLst>
            <pc:docMk/>
            <pc:sldMk cId="3391757743" sldId="470"/>
            <ac:spMk id="5" creationId="{00000000-0000-0000-0000-000000000000}"/>
          </ac:spMkLst>
        </pc:spChg>
        <pc:spChg chg="add mod">
          <ac:chgData name="MOUAMMAR Matthieu" userId="a28de245-dc05-4206-b24f-6f403ed1344a" providerId="ADAL" clId="{97AE8C35-2375-40D4-8F09-DBC209B3CDBF}" dt="2021-02-25T14:18:18.610" v="2358" actId="1076"/>
          <ac:spMkLst>
            <pc:docMk/>
            <pc:sldMk cId="3391757743" sldId="470"/>
            <ac:spMk id="10" creationId="{92711382-0DB5-4B04-ABBA-99B9A160FD23}"/>
          </ac:spMkLst>
        </pc:spChg>
        <pc:spChg chg="del">
          <ac:chgData name="MOUAMMAR Matthieu" userId="a28de245-dc05-4206-b24f-6f403ed1344a" providerId="ADAL" clId="{97AE8C35-2375-40D4-8F09-DBC209B3CDBF}" dt="2021-02-25T14:11:32.424" v="1871" actId="478"/>
          <ac:spMkLst>
            <pc:docMk/>
            <pc:sldMk cId="3391757743" sldId="470"/>
            <ac:spMk id="16" creationId="{4AFE05D5-01FC-4DDD-9A1B-16B3962866DE}"/>
          </ac:spMkLst>
        </pc:spChg>
        <pc:spChg chg="del">
          <ac:chgData name="MOUAMMAR Matthieu" userId="a28de245-dc05-4206-b24f-6f403ed1344a" providerId="ADAL" clId="{97AE8C35-2375-40D4-8F09-DBC209B3CDBF}" dt="2021-02-25T14:11:32.424" v="1871" actId="478"/>
          <ac:spMkLst>
            <pc:docMk/>
            <pc:sldMk cId="3391757743" sldId="470"/>
            <ac:spMk id="19" creationId="{48ED75FC-8902-45F9-B201-307752614D94}"/>
          </ac:spMkLst>
        </pc:spChg>
        <pc:spChg chg="del">
          <ac:chgData name="MOUAMMAR Matthieu" userId="a28de245-dc05-4206-b24f-6f403ed1344a" providerId="ADAL" clId="{97AE8C35-2375-40D4-8F09-DBC209B3CDBF}" dt="2021-02-25T14:11:35.159" v="1873" actId="478"/>
          <ac:spMkLst>
            <pc:docMk/>
            <pc:sldMk cId="3391757743" sldId="470"/>
            <ac:spMk id="20" creationId="{1D142959-796A-491F-8B22-217E3F0CF93F}"/>
          </ac:spMkLst>
        </pc:spChg>
        <pc:spChg chg="del">
          <ac:chgData name="MOUAMMAR Matthieu" userId="a28de245-dc05-4206-b24f-6f403ed1344a" providerId="ADAL" clId="{97AE8C35-2375-40D4-8F09-DBC209B3CDBF}" dt="2021-02-25T14:11:32.424" v="1871" actId="478"/>
          <ac:spMkLst>
            <pc:docMk/>
            <pc:sldMk cId="3391757743" sldId="470"/>
            <ac:spMk id="21" creationId="{3F54BFB4-45D7-476F-BDF3-DE9590518289}"/>
          </ac:spMkLst>
        </pc:spChg>
        <pc:spChg chg="del">
          <ac:chgData name="MOUAMMAR Matthieu" userId="a28de245-dc05-4206-b24f-6f403ed1344a" providerId="ADAL" clId="{97AE8C35-2375-40D4-8F09-DBC209B3CDBF}" dt="2021-02-25T14:11:32.424" v="1871" actId="478"/>
          <ac:spMkLst>
            <pc:docMk/>
            <pc:sldMk cId="3391757743" sldId="470"/>
            <ac:spMk id="22" creationId="{DF958D82-5886-437A-AEC4-32CE02981A05}"/>
          </ac:spMkLst>
        </pc:spChg>
        <pc:spChg chg="del">
          <ac:chgData name="MOUAMMAR Matthieu" userId="a28de245-dc05-4206-b24f-6f403ed1344a" providerId="ADAL" clId="{97AE8C35-2375-40D4-8F09-DBC209B3CDBF}" dt="2021-02-25T14:11:32.424" v="1871" actId="478"/>
          <ac:spMkLst>
            <pc:docMk/>
            <pc:sldMk cId="3391757743" sldId="470"/>
            <ac:spMk id="23" creationId="{0ED575FC-F43F-4909-843A-2074F5C11FF3}"/>
          </ac:spMkLst>
        </pc:spChg>
        <pc:spChg chg="del">
          <ac:chgData name="MOUAMMAR Matthieu" userId="a28de245-dc05-4206-b24f-6f403ed1344a" providerId="ADAL" clId="{97AE8C35-2375-40D4-8F09-DBC209B3CDBF}" dt="2021-02-25T14:11:32.424" v="1871" actId="478"/>
          <ac:spMkLst>
            <pc:docMk/>
            <pc:sldMk cId="3391757743" sldId="470"/>
            <ac:spMk id="24" creationId="{7FAB9D86-95E9-4244-A4C2-6579D7EB8861}"/>
          </ac:spMkLst>
        </pc:spChg>
        <pc:spChg chg="del">
          <ac:chgData name="MOUAMMAR Matthieu" userId="a28de245-dc05-4206-b24f-6f403ed1344a" providerId="ADAL" clId="{97AE8C35-2375-40D4-8F09-DBC209B3CDBF}" dt="2021-02-25T14:11:32.424" v="1871" actId="478"/>
          <ac:spMkLst>
            <pc:docMk/>
            <pc:sldMk cId="3391757743" sldId="470"/>
            <ac:spMk id="25" creationId="{319DA54F-EE2E-4979-A310-76B37AEF3C50}"/>
          </ac:spMkLst>
        </pc:spChg>
        <pc:spChg chg="del">
          <ac:chgData name="MOUAMMAR Matthieu" userId="a28de245-dc05-4206-b24f-6f403ed1344a" providerId="ADAL" clId="{97AE8C35-2375-40D4-8F09-DBC209B3CDBF}" dt="2021-02-25T14:11:32.424" v="1871" actId="478"/>
          <ac:spMkLst>
            <pc:docMk/>
            <pc:sldMk cId="3391757743" sldId="470"/>
            <ac:spMk id="26" creationId="{D1E6FD9D-F55B-4826-B4E1-EDF0447F70D3}"/>
          </ac:spMkLst>
        </pc:spChg>
        <pc:spChg chg="del">
          <ac:chgData name="MOUAMMAR Matthieu" userId="a28de245-dc05-4206-b24f-6f403ed1344a" providerId="ADAL" clId="{97AE8C35-2375-40D4-8F09-DBC209B3CDBF}" dt="2021-02-25T14:11:32.424" v="1871" actId="478"/>
          <ac:spMkLst>
            <pc:docMk/>
            <pc:sldMk cId="3391757743" sldId="470"/>
            <ac:spMk id="27" creationId="{F3E81779-4499-4087-AD0E-2C669FB0176E}"/>
          </ac:spMkLst>
        </pc:spChg>
        <pc:spChg chg="del">
          <ac:chgData name="MOUAMMAR Matthieu" userId="a28de245-dc05-4206-b24f-6f403ed1344a" providerId="ADAL" clId="{97AE8C35-2375-40D4-8F09-DBC209B3CDBF}" dt="2021-02-25T14:11:32.424" v="1871" actId="478"/>
          <ac:spMkLst>
            <pc:docMk/>
            <pc:sldMk cId="3391757743" sldId="470"/>
            <ac:spMk id="28" creationId="{DC598D46-49B4-4E8E-A72E-C3FBCA57AE2F}"/>
          </ac:spMkLst>
        </pc:spChg>
        <pc:spChg chg="del">
          <ac:chgData name="MOUAMMAR Matthieu" userId="a28de245-dc05-4206-b24f-6f403ed1344a" providerId="ADAL" clId="{97AE8C35-2375-40D4-8F09-DBC209B3CDBF}" dt="2021-02-25T14:11:32.424" v="1871" actId="478"/>
          <ac:spMkLst>
            <pc:docMk/>
            <pc:sldMk cId="3391757743" sldId="470"/>
            <ac:spMk id="32" creationId="{2C3AAA7A-0F7C-4940-9F02-2EC1C6163FAB}"/>
          </ac:spMkLst>
        </pc:spChg>
        <pc:spChg chg="del">
          <ac:chgData name="MOUAMMAR Matthieu" userId="a28de245-dc05-4206-b24f-6f403ed1344a" providerId="ADAL" clId="{97AE8C35-2375-40D4-8F09-DBC209B3CDBF}" dt="2021-02-25T14:11:32.424" v="1871" actId="478"/>
          <ac:spMkLst>
            <pc:docMk/>
            <pc:sldMk cId="3391757743" sldId="470"/>
            <ac:spMk id="40" creationId="{2C6BA390-565C-4658-9F94-E4FB09BABDB8}"/>
          </ac:spMkLst>
        </pc:spChg>
        <pc:graphicFrameChg chg="add del mod">
          <ac:chgData name="MOUAMMAR Matthieu" userId="a28de245-dc05-4206-b24f-6f403ed1344a" providerId="ADAL" clId="{97AE8C35-2375-40D4-8F09-DBC209B3CDBF}" dt="2021-02-25T14:22:23.788" v="2362"/>
          <ac:graphicFrameMkLst>
            <pc:docMk/>
            <pc:sldMk cId="3391757743" sldId="470"/>
            <ac:graphicFrameMk id="29" creationId="{D89EA039-DBF8-4755-97F5-0468C636D695}"/>
          </ac:graphicFrameMkLst>
        </pc:graphicFrameChg>
        <pc:picChg chg="add mod">
          <ac:chgData name="MOUAMMAR Matthieu" userId="a28de245-dc05-4206-b24f-6f403ed1344a" providerId="ADAL" clId="{97AE8C35-2375-40D4-8F09-DBC209B3CDBF}" dt="2021-02-25T14:17:04.439" v="2172" actId="14100"/>
          <ac:picMkLst>
            <pc:docMk/>
            <pc:sldMk cId="3391757743" sldId="470"/>
            <ac:picMk id="7" creationId="{D72C0054-B680-4D60-A9EF-7D53C053B1DE}"/>
          </ac:picMkLst>
        </pc:picChg>
        <pc:picChg chg="add del mod">
          <ac:chgData name="MOUAMMAR Matthieu" userId="a28de245-dc05-4206-b24f-6f403ed1344a" providerId="ADAL" clId="{97AE8C35-2375-40D4-8F09-DBC209B3CDBF}" dt="2021-02-25T14:18:20.148" v="2359" actId="478"/>
          <ac:picMkLst>
            <pc:docMk/>
            <pc:sldMk cId="3391757743" sldId="470"/>
            <ac:picMk id="9" creationId="{42266CEB-4C86-4D97-B18A-41C604EBBF4C}"/>
          </ac:picMkLst>
        </pc:picChg>
        <pc:picChg chg="add mod">
          <ac:chgData name="MOUAMMAR Matthieu" userId="a28de245-dc05-4206-b24f-6f403ed1344a" providerId="ADAL" clId="{97AE8C35-2375-40D4-8F09-DBC209B3CDBF}" dt="2021-02-25T14:18:26.744" v="2360" actId="1076"/>
          <ac:picMkLst>
            <pc:docMk/>
            <pc:sldMk cId="3391757743" sldId="470"/>
            <ac:picMk id="12" creationId="{6B01F841-FFFD-4664-8AF2-244575906E2A}"/>
          </ac:picMkLst>
        </pc:picChg>
        <pc:cxnChg chg="del">
          <ac:chgData name="MOUAMMAR Matthieu" userId="a28de245-dc05-4206-b24f-6f403ed1344a" providerId="ADAL" clId="{97AE8C35-2375-40D4-8F09-DBC209B3CDBF}" dt="2021-02-25T14:11:33.490" v="1872" actId="478"/>
          <ac:cxnSpMkLst>
            <pc:docMk/>
            <pc:sldMk cId="3391757743" sldId="470"/>
            <ac:cxnSpMk id="17" creationId="{2A4E2E8B-8C36-4D8D-9550-9CE59076A1A7}"/>
          </ac:cxnSpMkLst>
        </pc:cxnChg>
        <pc:cxnChg chg="del">
          <ac:chgData name="MOUAMMAR Matthieu" userId="a28de245-dc05-4206-b24f-6f403ed1344a" providerId="ADAL" clId="{97AE8C35-2375-40D4-8F09-DBC209B3CDBF}" dt="2021-02-25T14:11:32.424" v="1871" actId="478"/>
          <ac:cxnSpMkLst>
            <pc:docMk/>
            <pc:sldMk cId="3391757743" sldId="470"/>
            <ac:cxnSpMk id="18" creationId="{D1C30B45-6A78-490D-9BEE-55D800BAA704}"/>
          </ac:cxnSpMkLst>
        </pc:cxnChg>
      </pc:sldChg>
      <pc:sldChg chg="addSp delSp modSp add mod">
        <pc:chgData name="MOUAMMAR Matthieu" userId="a28de245-dc05-4206-b24f-6f403ed1344a" providerId="ADAL" clId="{97AE8C35-2375-40D4-8F09-DBC209B3CDBF}" dt="2021-02-25T14:24:02.379" v="2426" actId="20577"/>
        <pc:sldMkLst>
          <pc:docMk/>
          <pc:sldMk cId="2396192935" sldId="471"/>
        </pc:sldMkLst>
        <pc:spChg chg="mod">
          <ac:chgData name="MOUAMMAR Matthieu" userId="a28de245-dc05-4206-b24f-6f403ed1344a" providerId="ADAL" clId="{97AE8C35-2375-40D4-8F09-DBC209B3CDBF}" dt="2021-02-25T14:24:02.379" v="2426" actId="20577"/>
          <ac:spMkLst>
            <pc:docMk/>
            <pc:sldMk cId="2396192935" sldId="471"/>
            <ac:spMk id="5" creationId="{00000000-0000-0000-0000-000000000000}"/>
          </ac:spMkLst>
        </pc:spChg>
        <pc:spChg chg="del">
          <ac:chgData name="MOUAMMAR Matthieu" userId="a28de245-dc05-4206-b24f-6f403ed1344a" providerId="ADAL" clId="{97AE8C35-2375-40D4-8F09-DBC209B3CDBF}" dt="2021-02-25T14:22:39.744" v="2410" actId="478"/>
          <ac:spMkLst>
            <pc:docMk/>
            <pc:sldMk cId="2396192935" sldId="471"/>
            <ac:spMk id="10" creationId="{92711382-0DB5-4B04-ABBA-99B9A160FD23}"/>
          </ac:spMkLst>
        </pc:spChg>
        <pc:spChg chg="add del mod">
          <ac:chgData name="MOUAMMAR Matthieu" userId="a28de245-dc05-4206-b24f-6f403ed1344a" providerId="ADAL" clId="{97AE8C35-2375-40D4-8F09-DBC209B3CDBF}" dt="2021-02-25T14:23:19.660" v="2414" actId="478"/>
          <ac:spMkLst>
            <pc:docMk/>
            <pc:sldMk cId="2396192935" sldId="471"/>
            <ac:spMk id="13" creationId="{3EEB5281-371C-43F2-9DCC-EBAB846DAC1F}"/>
          </ac:spMkLst>
        </pc:spChg>
        <pc:spChg chg="add del mod">
          <ac:chgData name="MOUAMMAR Matthieu" userId="a28de245-dc05-4206-b24f-6f403ed1344a" providerId="ADAL" clId="{97AE8C35-2375-40D4-8F09-DBC209B3CDBF}" dt="2021-02-25T14:23:21.471" v="2415" actId="478"/>
          <ac:spMkLst>
            <pc:docMk/>
            <pc:sldMk cId="2396192935" sldId="471"/>
            <ac:spMk id="14" creationId="{71FFD459-98E1-4E10-A9F9-10B9556BD640}"/>
          </ac:spMkLst>
        </pc:spChg>
        <pc:spChg chg="add del mod">
          <ac:chgData name="MOUAMMAR Matthieu" userId="a28de245-dc05-4206-b24f-6f403ed1344a" providerId="ADAL" clId="{97AE8C35-2375-40D4-8F09-DBC209B3CDBF}" dt="2021-02-25T14:23:15.204" v="2413" actId="478"/>
          <ac:spMkLst>
            <pc:docMk/>
            <pc:sldMk cId="2396192935" sldId="471"/>
            <ac:spMk id="28" creationId="{4A7BE082-E9CA-4DDF-BCC7-F00ADEB3BAF8}"/>
          </ac:spMkLst>
        </pc:spChg>
        <pc:grpChg chg="add mod">
          <ac:chgData name="MOUAMMAR Matthieu" userId="a28de245-dc05-4206-b24f-6f403ed1344a" providerId="ADAL" clId="{97AE8C35-2375-40D4-8F09-DBC209B3CDBF}" dt="2021-02-25T14:23:46.800" v="2418" actId="1076"/>
          <ac:grpSpMkLst>
            <pc:docMk/>
            <pc:sldMk cId="2396192935" sldId="471"/>
            <ac:grpSpMk id="2" creationId="{F45FFDAC-1A97-4C01-8E6C-A8FA5C68D9A3}"/>
          </ac:grpSpMkLst>
        </pc:grpChg>
        <pc:graphicFrameChg chg="add mod">
          <ac:chgData name="MOUAMMAR Matthieu" userId="a28de245-dc05-4206-b24f-6f403ed1344a" providerId="ADAL" clId="{97AE8C35-2375-40D4-8F09-DBC209B3CDBF}" dt="2021-02-25T14:23:46.800" v="2418" actId="1076"/>
          <ac:graphicFrameMkLst>
            <pc:docMk/>
            <pc:sldMk cId="2396192935" sldId="471"/>
            <ac:graphicFrameMk id="15" creationId="{6F68634D-8CB0-49F0-879C-F0D79916DED8}"/>
          </ac:graphicFrameMkLst>
        </pc:graphicFrameChg>
        <pc:picChg chg="del">
          <ac:chgData name="MOUAMMAR Matthieu" userId="a28de245-dc05-4206-b24f-6f403ed1344a" providerId="ADAL" clId="{97AE8C35-2375-40D4-8F09-DBC209B3CDBF}" dt="2021-02-25T14:22:39.744" v="2410" actId="478"/>
          <ac:picMkLst>
            <pc:docMk/>
            <pc:sldMk cId="2396192935" sldId="471"/>
            <ac:picMk id="7" creationId="{D72C0054-B680-4D60-A9EF-7D53C053B1DE}"/>
          </ac:picMkLst>
        </pc:picChg>
        <pc:picChg chg="add mod">
          <ac:chgData name="MOUAMMAR Matthieu" userId="a28de245-dc05-4206-b24f-6f403ed1344a" providerId="ADAL" clId="{97AE8C35-2375-40D4-8F09-DBC209B3CDBF}" dt="2021-02-25T14:23:46.800" v="2418" actId="1076"/>
          <ac:picMkLst>
            <pc:docMk/>
            <pc:sldMk cId="2396192935" sldId="471"/>
            <ac:picMk id="9" creationId="{21E9367E-CF4B-4441-BF64-0A3EE3176ADB}"/>
          </ac:picMkLst>
        </pc:picChg>
        <pc:picChg chg="add mod">
          <ac:chgData name="MOUAMMAR Matthieu" userId="a28de245-dc05-4206-b24f-6f403ed1344a" providerId="ADAL" clId="{97AE8C35-2375-40D4-8F09-DBC209B3CDBF}" dt="2021-02-25T14:23:46.800" v="2418" actId="1076"/>
          <ac:picMkLst>
            <pc:docMk/>
            <pc:sldMk cId="2396192935" sldId="471"/>
            <ac:picMk id="11" creationId="{96A834FF-D02F-4082-A1AC-CDA854B1B0D0}"/>
          </ac:picMkLst>
        </pc:picChg>
        <pc:picChg chg="del">
          <ac:chgData name="MOUAMMAR Matthieu" userId="a28de245-dc05-4206-b24f-6f403ed1344a" providerId="ADAL" clId="{97AE8C35-2375-40D4-8F09-DBC209B3CDBF}" dt="2021-02-25T14:22:39.744" v="2410" actId="478"/>
          <ac:picMkLst>
            <pc:docMk/>
            <pc:sldMk cId="2396192935" sldId="471"/>
            <ac:picMk id="12" creationId="{6B01F841-FFFD-4664-8AF2-244575906E2A}"/>
          </ac:picMkLst>
        </pc:picChg>
        <pc:picChg chg="add mod">
          <ac:chgData name="MOUAMMAR Matthieu" userId="a28de245-dc05-4206-b24f-6f403ed1344a" providerId="ADAL" clId="{97AE8C35-2375-40D4-8F09-DBC209B3CDBF}" dt="2021-02-25T14:23:46.800" v="2418" actId="1076"/>
          <ac:picMkLst>
            <pc:docMk/>
            <pc:sldMk cId="2396192935" sldId="471"/>
            <ac:picMk id="17" creationId="{57D4E8A6-8FAE-4F44-BAB0-9BB099DF473E}"/>
          </ac:picMkLst>
        </pc:picChg>
        <pc:picChg chg="add mod">
          <ac:chgData name="MOUAMMAR Matthieu" userId="a28de245-dc05-4206-b24f-6f403ed1344a" providerId="ADAL" clId="{97AE8C35-2375-40D4-8F09-DBC209B3CDBF}" dt="2021-02-25T14:23:46.800" v="2418" actId="1076"/>
          <ac:picMkLst>
            <pc:docMk/>
            <pc:sldMk cId="2396192935" sldId="471"/>
            <ac:picMk id="19" creationId="{15C49CBA-6810-4049-B42A-554992F7A626}"/>
          </ac:picMkLst>
        </pc:picChg>
        <pc:picChg chg="add mod">
          <ac:chgData name="MOUAMMAR Matthieu" userId="a28de245-dc05-4206-b24f-6f403ed1344a" providerId="ADAL" clId="{97AE8C35-2375-40D4-8F09-DBC209B3CDBF}" dt="2021-02-25T14:23:46.800" v="2418" actId="1076"/>
          <ac:picMkLst>
            <pc:docMk/>
            <pc:sldMk cId="2396192935" sldId="471"/>
            <ac:picMk id="22" creationId="{BA638A99-F8A2-4690-81C3-F27298C053C1}"/>
          </ac:picMkLst>
        </pc:picChg>
        <pc:picChg chg="add mod">
          <ac:chgData name="MOUAMMAR Matthieu" userId="a28de245-dc05-4206-b24f-6f403ed1344a" providerId="ADAL" clId="{97AE8C35-2375-40D4-8F09-DBC209B3CDBF}" dt="2021-02-25T14:23:46.800" v="2418" actId="1076"/>
          <ac:picMkLst>
            <pc:docMk/>
            <pc:sldMk cId="2396192935" sldId="471"/>
            <ac:picMk id="24" creationId="{49375DCF-9B70-4DA0-A20A-6E6CE99E0909}"/>
          </ac:picMkLst>
        </pc:picChg>
        <pc:picChg chg="add mod">
          <ac:chgData name="MOUAMMAR Matthieu" userId="a28de245-dc05-4206-b24f-6f403ed1344a" providerId="ADAL" clId="{97AE8C35-2375-40D4-8F09-DBC209B3CDBF}" dt="2021-02-25T14:23:46.800" v="2418" actId="1076"/>
          <ac:picMkLst>
            <pc:docMk/>
            <pc:sldMk cId="2396192935" sldId="471"/>
            <ac:picMk id="25" creationId="{E5AC734A-0E3A-468D-98FB-2366C94A6F20}"/>
          </ac:picMkLst>
        </pc:picChg>
        <pc:picChg chg="add mod">
          <ac:chgData name="MOUAMMAR Matthieu" userId="a28de245-dc05-4206-b24f-6f403ed1344a" providerId="ADAL" clId="{97AE8C35-2375-40D4-8F09-DBC209B3CDBF}" dt="2021-02-25T14:23:46.800" v="2418" actId="1076"/>
          <ac:picMkLst>
            <pc:docMk/>
            <pc:sldMk cId="2396192935" sldId="471"/>
            <ac:picMk id="26" creationId="{22B86F79-1076-4CE9-9122-5DEB0DDE79E8}"/>
          </ac:picMkLst>
        </pc:picChg>
        <pc:picChg chg="add mod">
          <ac:chgData name="MOUAMMAR Matthieu" userId="a28de245-dc05-4206-b24f-6f403ed1344a" providerId="ADAL" clId="{97AE8C35-2375-40D4-8F09-DBC209B3CDBF}" dt="2021-02-25T14:23:46.800" v="2418" actId="1076"/>
          <ac:picMkLst>
            <pc:docMk/>
            <pc:sldMk cId="2396192935" sldId="471"/>
            <ac:picMk id="27" creationId="{F48BF2DB-285B-409E-AC33-7329BFC4D186}"/>
          </ac:picMkLst>
        </pc:picChg>
        <pc:picChg chg="add mod">
          <ac:chgData name="MOUAMMAR Matthieu" userId="a28de245-dc05-4206-b24f-6f403ed1344a" providerId="ADAL" clId="{97AE8C35-2375-40D4-8F09-DBC209B3CDBF}" dt="2021-02-25T14:23:46.800" v="2418" actId="1076"/>
          <ac:picMkLst>
            <pc:docMk/>
            <pc:sldMk cId="2396192935" sldId="471"/>
            <ac:picMk id="29" creationId="{8F0D72A4-09B9-4F1D-B58E-DB7B5AC6B0B7}"/>
          </ac:picMkLst>
        </pc:picChg>
        <pc:picChg chg="add mod">
          <ac:chgData name="MOUAMMAR Matthieu" userId="a28de245-dc05-4206-b24f-6f403ed1344a" providerId="ADAL" clId="{97AE8C35-2375-40D4-8F09-DBC209B3CDBF}" dt="2021-02-25T14:23:46.800" v="2418" actId="1076"/>
          <ac:picMkLst>
            <pc:docMk/>
            <pc:sldMk cId="2396192935" sldId="471"/>
            <ac:picMk id="30" creationId="{4DCCE3EC-8193-4987-AF17-537238B59776}"/>
          </ac:picMkLst>
        </pc:picChg>
        <pc:cxnChg chg="add mod">
          <ac:chgData name="MOUAMMAR Matthieu" userId="a28de245-dc05-4206-b24f-6f403ed1344a" providerId="ADAL" clId="{97AE8C35-2375-40D4-8F09-DBC209B3CDBF}" dt="2021-02-25T14:23:46.800" v="2418" actId="1076"/>
          <ac:cxnSpMkLst>
            <pc:docMk/>
            <pc:sldMk cId="2396192935" sldId="471"/>
            <ac:cxnSpMk id="16" creationId="{48F0437B-F2C6-49DA-B314-5BEDD367A097}"/>
          </ac:cxnSpMkLst>
        </pc:cxnChg>
        <pc:cxnChg chg="add mod">
          <ac:chgData name="MOUAMMAR Matthieu" userId="a28de245-dc05-4206-b24f-6f403ed1344a" providerId="ADAL" clId="{97AE8C35-2375-40D4-8F09-DBC209B3CDBF}" dt="2021-02-25T14:23:46.800" v="2418" actId="1076"/>
          <ac:cxnSpMkLst>
            <pc:docMk/>
            <pc:sldMk cId="2396192935" sldId="471"/>
            <ac:cxnSpMk id="18" creationId="{82D82A61-0596-45AC-B5B2-280BFEDDC0CC}"/>
          </ac:cxnSpMkLst>
        </pc:cxnChg>
        <pc:cxnChg chg="add mod">
          <ac:chgData name="MOUAMMAR Matthieu" userId="a28de245-dc05-4206-b24f-6f403ed1344a" providerId="ADAL" clId="{97AE8C35-2375-40D4-8F09-DBC209B3CDBF}" dt="2021-02-25T14:23:46.800" v="2418" actId="1076"/>
          <ac:cxnSpMkLst>
            <pc:docMk/>
            <pc:sldMk cId="2396192935" sldId="471"/>
            <ac:cxnSpMk id="20" creationId="{20AF1217-6DAA-442C-8139-1416369A38F7}"/>
          </ac:cxnSpMkLst>
        </pc:cxnChg>
        <pc:cxnChg chg="add mod">
          <ac:chgData name="MOUAMMAR Matthieu" userId="a28de245-dc05-4206-b24f-6f403ed1344a" providerId="ADAL" clId="{97AE8C35-2375-40D4-8F09-DBC209B3CDBF}" dt="2021-02-25T14:23:46.800" v="2418" actId="1076"/>
          <ac:cxnSpMkLst>
            <pc:docMk/>
            <pc:sldMk cId="2396192935" sldId="471"/>
            <ac:cxnSpMk id="21" creationId="{FD6E099C-FA95-48D9-9D91-D9C89FCAA8CF}"/>
          </ac:cxnSpMkLst>
        </pc:cxnChg>
        <pc:cxnChg chg="add mod">
          <ac:chgData name="MOUAMMAR Matthieu" userId="a28de245-dc05-4206-b24f-6f403ed1344a" providerId="ADAL" clId="{97AE8C35-2375-40D4-8F09-DBC209B3CDBF}" dt="2021-02-25T14:23:46.800" v="2418" actId="1076"/>
          <ac:cxnSpMkLst>
            <pc:docMk/>
            <pc:sldMk cId="2396192935" sldId="471"/>
            <ac:cxnSpMk id="23" creationId="{E0267E91-80DF-4F69-A7CA-2BF2CC893CAB}"/>
          </ac:cxnSpMkLst>
        </pc:cxnChg>
        <pc:cxnChg chg="add mod">
          <ac:chgData name="MOUAMMAR Matthieu" userId="a28de245-dc05-4206-b24f-6f403ed1344a" providerId="ADAL" clId="{97AE8C35-2375-40D4-8F09-DBC209B3CDBF}" dt="2021-02-25T14:23:46.800" v="2418" actId="1076"/>
          <ac:cxnSpMkLst>
            <pc:docMk/>
            <pc:sldMk cId="2396192935" sldId="471"/>
            <ac:cxnSpMk id="31" creationId="{FDAC2473-8B54-480E-B0C1-82EBE1340133}"/>
          </ac:cxnSpMkLst>
        </pc:cxnChg>
      </pc:sldChg>
      <pc:sldChg chg="addSp delSp modSp add mod">
        <pc:chgData name="MOUAMMAR Matthieu" userId="a28de245-dc05-4206-b24f-6f403ed1344a" providerId="ADAL" clId="{97AE8C35-2375-40D4-8F09-DBC209B3CDBF}" dt="2021-02-25T15:21:43.442" v="3358" actId="20577"/>
        <pc:sldMkLst>
          <pc:docMk/>
          <pc:sldMk cId="1292817785" sldId="472"/>
        </pc:sldMkLst>
        <pc:spChg chg="mod">
          <ac:chgData name="MOUAMMAR Matthieu" userId="a28de245-dc05-4206-b24f-6f403ed1344a" providerId="ADAL" clId="{97AE8C35-2375-40D4-8F09-DBC209B3CDBF}" dt="2021-02-25T14:24:53.976" v="2494" actId="20577"/>
          <ac:spMkLst>
            <pc:docMk/>
            <pc:sldMk cId="1292817785" sldId="472"/>
            <ac:spMk id="5" creationId="{00000000-0000-0000-0000-000000000000}"/>
          </ac:spMkLst>
        </pc:spChg>
        <pc:spChg chg="mod">
          <ac:chgData name="MOUAMMAR Matthieu" userId="a28de245-dc05-4206-b24f-6f403ed1344a" providerId="ADAL" clId="{97AE8C35-2375-40D4-8F09-DBC209B3CDBF}" dt="2021-02-25T15:21:43.442" v="3358" actId="20577"/>
          <ac:spMkLst>
            <pc:docMk/>
            <pc:sldMk cId="1292817785" sldId="472"/>
            <ac:spMk id="6" creationId="{00000000-0000-0000-0000-000000000000}"/>
          </ac:spMkLst>
        </pc:spChg>
        <pc:spChg chg="add mod">
          <ac:chgData name="MOUAMMAR Matthieu" userId="a28de245-dc05-4206-b24f-6f403ed1344a" providerId="ADAL" clId="{97AE8C35-2375-40D4-8F09-DBC209B3CDBF}" dt="2021-02-25T14:44:43.895" v="2689" actId="5793"/>
          <ac:spMkLst>
            <pc:docMk/>
            <pc:sldMk cId="1292817785" sldId="472"/>
            <ac:spMk id="33" creationId="{48F88ED5-B2C6-4B0E-AC34-5AD1226D3D51}"/>
          </ac:spMkLst>
        </pc:spChg>
        <pc:grpChg chg="del mod">
          <ac:chgData name="MOUAMMAR Matthieu" userId="a28de245-dc05-4206-b24f-6f403ed1344a" providerId="ADAL" clId="{97AE8C35-2375-40D4-8F09-DBC209B3CDBF}" dt="2021-02-25T14:24:59.033" v="2496" actId="478"/>
          <ac:grpSpMkLst>
            <pc:docMk/>
            <pc:sldMk cId="1292817785" sldId="472"/>
            <ac:grpSpMk id="2" creationId="{F45FFDAC-1A97-4C01-8E6C-A8FA5C68D9A3}"/>
          </ac:grpSpMkLst>
        </pc:grpChg>
        <pc:graphicFrameChg chg="mod">
          <ac:chgData name="MOUAMMAR Matthieu" userId="a28de245-dc05-4206-b24f-6f403ed1344a" providerId="ADAL" clId="{97AE8C35-2375-40D4-8F09-DBC209B3CDBF}" dt="2021-02-25T14:24:55.786" v="2495" actId="1076"/>
          <ac:graphicFrameMkLst>
            <pc:docMk/>
            <pc:sldMk cId="1292817785" sldId="472"/>
            <ac:graphicFrameMk id="15" creationId="{6F68634D-8CB0-49F0-879C-F0D79916DED8}"/>
          </ac:graphicFrameMkLst>
        </pc:graphicFrameChg>
        <pc:picChg chg="add mod modCrop">
          <ac:chgData name="MOUAMMAR Matthieu" userId="a28de245-dc05-4206-b24f-6f403ed1344a" providerId="ADAL" clId="{97AE8C35-2375-40D4-8F09-DBC209B3CDBF}" dt="2021-02-25T14:46:08.464" v="2697" actId="732"/>
          <ac:picMkLst>
            <pc:docMk/>
            <pc:sldMk cId="1292817785" sldId="472"/>
            <ac:picMk id="8" creationId="{DF78715E-2182-4BD5-BC91-064080DE1B3B}"/>
          </ac:picMkLst>
        </pc:picChg>
        <pc:picChg chg="mod">
          <ac:chgData name="MOUAMMAR Matthieu" userId="a28de245-dc05-4206-b24f-6f403ed1344a" providerId="ADAL" clId="{97AE8C35-2375-40D4-8F09-DBC209B3CDBF}" dt="2021-02-25T14:24:55.786" v="2495" actId="1076"/>
          <ac:picMkLst>
            <pc:docMk/>
            <pc:sldMk cId="1292817785" sldId="472"/>
            <ac:picMk id="9" creationId="{21E9367E-CF4B-4441-BF64-0A3EE3176ADB}"/>
          </ac:picMkLst>
        </pc:picChg>
        <pc:picChg chg="mod">
          <ac:chgData name="MOUAMMAR Matthieu" userId="a28de245-dc05-4206-b24f-6f403ed1344a" providerId="ADAL" clId="{97AE8C35-2375-40D4-8F09-DBC209B3CDBF}" dt="2021-02-25T14:24:55.786" v="2495" actId="1076"/>
          <ac:picMkLst>
            <pc:docMk/>
            <pc:sldMk cId="1292817785" sldId="472"/>
            <ac:picMk id="11" creationId="{96A834FF-D02F-4082-A1AC-CDA854B1B0D0}"/>
          </ac:picMkLst>
        </pc:picChg>
        <pc:picChg chg="mod">
          <ac:chgData name="MOUAMMAR Matthieu" userId="a28de245-dc05-4206-b24f-6f403ed1344a" providerId="ADAL" clId="{97AE8C35-2375-40D4-8F09-DBC209B3CDBF}" dt="2021-02-25T14:24:55.786" v="2495" actId="1076"/>
          <ac:picMkLst>
            <pc:docMk/>
            <pc:sldMk cId="1292817785" sldId="472"/>
            <ac:picMk id="17" creationId="{57D4E8A6-8FAE-4F44-BAB0-9BB099DF473E}"/>
          </ac:picMkLst>
        </pc:picChg>
        <pc:picChg chg="mod">
          <ac:chgData name="MOUAMMAR Matthieu" userId="a28de245-dc05-4206-b24f-6f403ed1344a" providerId="ADAL" clId="{97AE8C35-2375-40D4-8F09-DBC209B3CDBF}" dt="2021-02-25T14:24:55.786" v="2495" actId="1076"/>
          <ac:picMkLst>
            <pc:docMk/>
            <pc:sldMk cId="1292817785" sldId="472"/>
            <ac:picMk id="19" creationId="{15C49CBA-6810-4049-B42A-554992F7A626}"/>
          </ac:picMkLst>
        </pc:picChg>
        <pc:picChg chg="mod">
          <ac:chgData name="MOUAMMAR Matthieu" userId="a28de245-dc05-4206-b24f-6f403ed1344a" providerId="ADAL" clId="{97AE8C35-2375-40D4-8F09-DBC209B3CDBF}" dt="2021-02-25T14:24:55.786" v="2495" actId="1076"/>
          <ac:picMkLst>
            <pc:docMk/>
            <pc:sldMk cId="1292817785" sldId="472"/>
            <ac:picMk id="22" creationId="{BA638A99-F8A2-4690-81C3-F27298C053C1}"/>
          </ac:picMkLst>
        </pc:picChg>
        <pc:picChg chg="mod">
          <ac:chgData name="MOUAMMAR Matthieu" userId="a28de245-dc05-4206-b24f-6f403ed1344a" providerId="ADAL" clId="{97AE8C35-2375-40D4-8F09-DBC209B3CDBF}" dt="2021-02-25T14:24:55.786" v="2495" actId="1076"/>
          <ac:picMkLst>
            <pc:docMk/>
            <pc:sldMk cId="1292817785" sldId="472"/>
            <ac:picMk id="24" creationId="{49375DCF-9B70-4DA0-A20A-6E6CE99E0909}"/>
          </ac:picMkLst>
        </pc:picChg>
        <pc:picChg chg="mod">
          <ac:chgData name="MOUAMMAR Matthieu" userId="a28de245-dc05-4206-b24f-6f403ed1344a" providerId="ADAL" clId="{97AE8C35-2375-40D4-8F09-DBC209B3CDBF}" dt="2021-02-25T14:24:55.786" v="2495" actId="1076"/>
          <ac:picMkLst>
            <pc:docMk/>
            <pc:sldMk cId="1292817785" sldId="472"/>
            <ac:picMk id="25" creationId="{E5AC734A-0E3A-468D-98FB-2366C94A6F20}"/>
          </ac:picMkLst>
        </pc:picChg>
        <pc:picChg chg="mod">
          <ac:chgData name="MOUAMMAR Matthieu" userId="a28de245-dc05-4206-b24f-6f403ed1344a" providerId="ADAL" clId="{97AE8C35-2375-40D4-8F09-DBC209B3CDBF}" dt="2021-02-25T14:24:55.786" v="2495" actId="1076"/>
          <ac:picMkLst>
            <pc:docMk/>
            <pc:sldMk cId="1292817785" sldId="472"/>
            <ac:picMk id="26" creationId="{22B86F79-1076-4CE9-9122-5DEB0DDE79E8}"/>
          </ac:picMkLst>
        </pc:picChg>
        <pc:picChg chg="mod">
          <ac:chgData name="MOUAMMAR Matthieu" userId="a28de245-dc05-4206-b24f-6f403ed1344a" providerId="ADAL" clId="{97AE8C35-2375-40D4-8F09-DBC209B3CDBF}" dt="2021-02-25T14:24:55.786" v="2495" actId="1076"/>
          <ac:picMkLst>
            <pc:docMk/>
            <pc:sldMk cId="1292817785" sldId="472"/>
            <ac:picMk id="27" creationId="{F48BF2DB-285B-409E-AC33-7329BFC4D186}"/>
          </ac:picMkLst>
        </pc:picChg>
        <pc:picChg chg="add del mod">
          <ac:chgData name="MOUAMMAR Matthieu" userId="a28de245-dc05-4206-b24f-6f403ed1344a" providerId="ADAL" clId="{97AE8C35-2375-40D4-8F09-DBC209B3CDBF}" dt="2021-02-25T14:25:39.683" v="2501" actId="478"/>
          <ac:picMkLst>
            <pc:docMk/>
            <pc:sldMk cId="1292817785" sldId="472"/>
            <ac:picMk id="28" creationId="{6901192A-EC00-4387-9D42-8EB112783829}"/>
          </ac:picMkLst>
        </pc:picChg>
        <pc:picChg chg="mod">
          <ac:chgData name="MOUAMMAR Matthieu" userId="a28de245-dc05-4206-b24f-6f403ed1344a" providerId="ADAL" clId="{97AE8C35-2375-40D4-8F09-DBC209B3CDBF}" dt="2021-02-25T14:24:55.786" v="2495" actId="1076"/>
          <ac:picMkLst>
            <pc:docMk/>
            <pc:sldMk cId="1292817785" sldId="472"/>
            <ac:picMk id="29" creationId="{8F0D72A4-09B9-4F1D-B58E-DB7B5AC6B0B7}"/>
          </ac:picMkLst>
        </pc:picChg>
        <pc:picChg chg="mod">
          <ac:chgData name="MOUAMMAR Matthieu" userId="a28de245-dc05-4206-b24f-6f403ed1344a" providerId="ADAL" clId="{97AE8C35-2375-40D4-8F09-DBC209B3CDBF}" dt="2021-02-25T14:24:55.786" v="2495" actId="1076"/>
          <ac:picMkLst>
            <pc:docMk/>
            <pc:sldMk cId="1292817785" sldId="472"/>
            <ac:picMk id="30" creationId="{4DCCE3EC-8193-4987-AF17-537238B59776}"/>
          </ac:picMkLst>
        </pc:picChg>
        <pc:picChg chg="add del mod">
          <ac:chgData name="MOUAMMAR Matthieu" userId="a28de245-dc05-4206-b24f-6f403ed1344a" providerId="ADAL" clId="{97AE8C35-2375-40D4-8F09-DBC209B3CDBF}" dt="2021-02-25T14:25:38.458" v="2500" actId="478"/>
          <ac:picMkLst>
            <pc:docMk/>
            <pc:sldMk cId="1292817785" sldId="472"/>
            <ac:picMk id="32" creationId="{7846A2E2-2494-466F-84F0-50545616EF01}"/>
          </ac:picMkLst>
        </pc:picChg>
        <pc:picChg chg="add mod">
          <ac:chgData name="MOUAMMAR Matthieu" userId="a28de245-dc05-4206-b24f-6f403ed1344a" providerId="ADAL" clId="{97AE8C35-2375-40D4-8F09-DBC209B3CDBF}" dt="2021-02-25T14:46:00.475" v="2695" actId="1076"/>
          <ac:picMkLst>
            <pc:docMk/>
            <pc:sldMk cId="1292817785" sldId="472"/>
            <ac:picMk id="34" creationId="{D4331EE6-3F22-40CE-8C16-D86149C3401D}"/>
          </ac:picMkLst>
        </pc:picChg>
        <pc:cxnChg chg="mod">
          <ac:chgData name="MOUAMMAR Matthieu" userId="a28de245-dc05-4206-b24f-6f403ed1344a" providerId="ADAL" clId="{97AE8C35-2375-40D4-8F09-DBC209B3CDBF}" dt="2021-02-25T14:24:55.786" v="2495" actId="1076"/>
          <ac:cxnSpMkLst>
            <pc:docMk/>
            <pc:sldMk cId="1292817785" sldId="472"/>
            <ac:cxnSpMk id="16" creationId="{48F0437B-F2C6-49DA-B314-5BEDD367A097}"/>
          </ac:cxnSpMkLst>
        </pc:cxnChg>
        <pc:cxnChg chg="mod">
          <ac:chgData name="MOUAMMAR Matthieu" userId="a28de245-dc05-4206-b24f-6f403ed1344a" providerId="ADAL" clId="{97AE8C35-2375-40D4-8F09-DBC209B3CDBF}" dt="2021-02-25T14:24:55.786" v="2495" actId="1076"/>
          <ac:cxnSpMkLst>
            <pc:docMk/>
            <pc:sldMk cId="1292817785" sldId="472"/>
            <ac:cxnSpMk id="18" creationId="{82D82A61-0596-45AC-B5B2-280BFEDDC0CC}"/>
          </ac:cxnSpMkLst>
        </pc:cxnChg>
        <pc:cxnChg chg="mod">
          <ac:chgData name="MOUAMMAR Matthieu" userId="a28de245-dc05-4206-b24f-6f403ed1344a" providerId="ADAL" clId="{97AE8C35-2375-40D4-8F09-DBC209B3CDBF}" dt="2021-02-25T14:24:55.786" v="2495" actId="1076"/>
          <ac:cxnSpMkLst>
            <pc:docMk/>
            <pc:sldMk cId="1292817785" sldId="472"/>
            <ac:cxnSpMk id="20" creationId="{20AF1217-6DAA-442C-8139-1416369A38F7}"/>
          </ac:cxnSpMkLst>
        </pc:cxnChg>
        <pc:cxnChg chg="mod">
          <ac:chgData name="MOUAMMAR Matthieu" userId="a28de245-dc05-4206-b24f-6f403ed1344a" providerId="ADAL" clId="{97AE8C35-2375-40D4-8F09-DBC209B3CDBF}" dt="2021-02-25T14:24:55.786" v="2495" actId="1076"/>
          <ac:cxnSpMkLst>
            <pc:docMk/>
            <pc:sldMk cId="1292817785" sldId="472"/>
            <ac:cxnSpMk id="21" creationId="{FD6E099C-FA95-48D9-9D91-D9C89FCAA8CF}"/>
          </ac:cxnSpMkLst>
        </pc:cxnChg>
        <pc:cxnChg chg="mod">
          <ac:chgData name="MOUAMMAR Matthieu" userId="a28de245-dc05-4206-b24f-6f403ed1344a" providerId="ADAL" clId="{97AE8C35-2375-40D4-8F09-DBC209B3CDBF}" dt="2021-02-25T14:24:55.786" v="2495" actId="1076"/>
          <ac:cxnSpMkLst>
            <pc:docMk/>
            <pc:sldMk cId="1292817785" sldId="472"/>
            <ac:cxnSpMk id="23" creationId="{E0267E91-80DF-4F69-A7CA-2BF2CC893CAB}"/>
          </ac:cxnSpMkLst>
        </pc:cxnChg>
        <pc:cxnChg chg="mod">
          <ac:chgData name="MOUAMMAR Matthieu" userId="a28de245-dc05-4206-b24f-6f403ed1344a" providerId="ADAL" clId="{97AE8C35-2375-40D4-8F09-DBC209B3CDBF}" dt="2021-02-25T14:24:55.786" v="2495" actId="1076"/>
          <ac:cxnSpMkLst>
            <pc:docMk/>
            <pc:sldMk cId="1292817785" sldId="472"/>
            <ac:cxnSpMk id="31" creationId="{FDAC2473-8B54-480E-B0C1-82EBE1340133}"/>
          </ac:cxnSpMkLst>
        </pc:cxnChg>
      </pc:sldChg>
      <pc:sldChg chg="addSp delSp modSp add mod">
        <pc:chgData name="MOUAMMAR Matthieu" userId="a28de245-dc05-4206-b24f-6f403ed1344a" providerId="ADAL" clId="{97AE8C35-2375-40D4-8F09-DBC209B3CDBF}" dt="2021-02-25T15:21:52.564" v="3360" actId="20577"/>
        <pc:sldMkLst>
          <pc:docMk/>
          <pc:sldMk cId="2719757677" sldId="473"/>
        </pc:sldMkLst>
        <pc:spChg chg="mod">
          <ac:chgData name="MOUAMMAR Matthieu" userId="a28de245-dc05-4206-b24f-6f403ed1344a" providerId="ADAL" clId="{97AE8C35-2375-40D4-8F09-DBC209B3CDBF}" dt="2021-02-25T15:21:52.564" v="3360" actId="20577"/>
          <ac:spMkLst>
            <pc:docMk/>
            <pc:sldMk cId="2719757677" sldId="473"/>
            <ac:spMk id="6" creationId="{00000000-0000-0000-0000-000000000000}"/>
          </ac:spMkLst>
        </pc:spChg>
        <pc:spChg chg="mod">
          <ac:chgData name="MOUAMMAR Matthieu" userId="a28de245-dc05-4206-b24f-6f403ed1344a" providerId="ADAL" clId="{97AE8C35-2375-40D4-8F09-DBC209B3CDBF}" dt="2021-02-25T14:58:22.489" v="3167" actId="20577"/>
          <ac:spMkLst>
            <pc:docMk/>
            <pc:sldMk cId="2719757677" sldId="473"/>
            <ac:spMk id="33" creationId="{48F88ED5-B2C6-4B0E-AC34-5AD1226D3D51}"/>
          </ac:spMkLst>
        </pc:spChg>
        <pc:picChg chg="del">
          <ac:chgData name="MOUAMMAR Matthieu" userId="a28de245-dc05-4206-b24f-6f403ed1344a" providerId="ADAL" clId="{97AE8C35-2375-40D4-8F09-DBC209B3CDBF}" dt="2021-02-25T14:55:55.067" v="2699" actId="478"/>
          <ac:picMkLst>
            <pc:docMk/>
            <pc:sldMk cId="2719757677" sldId="473"/>
            <ac:picMk id="8" creationId="{DF78715E-2182-4BD5-BC91-064080DE1B3B}"/>
          </ac:picMkLst>
        </pc:picChg>
        <pc:picChg chg="del">
          <ac:chgData name="MOUAMMAR Matthieu" userId="a28de245-dc05-4206-b24f-6f403ed1344a" providerId="ADAL" clId="{97AE8C35-2375-40D4-8F09-DBC209B3CDBF}" dt="2021-02-25T14:56:08.307" v="2704" actId="478"/>
          <ac:picMkLst>
            <pc:docMk/>
            <pc:sldMk cId="2719757677" sldId="473"/>
            <ac:picMk id="34" creationId="{D4331EE6-3F22-40CE-8C16-D86149C3401D}"/>
          </ac:picMkLst>
        </pc:picChg>
        <pc:picChg chg="add mod">
          <ac:chgData name="MOUAMMAR Matthieu" userId="a28de245-dc05-4206-b24f-6f403ed1344a" providerId="ADAL" clId="{97AE8C35-2375-40D4-8F09-DBC209B3CDBF}" dt="2021-02-25T15:00:38.930" v="3168" actId="1076"/>
          <ac:picMkLst>
            <pc:docMk/>
            <pc:sldMk cId="2719757677" sldId="473"/>
            <ac:picMk id="1026" creationId="{877E19BE-EA0B-4614-9E02-DA825F09FC6D}"/>
          </ac:picMkLst>
        </pc:picChg>
      </pc:sldChg>
      <pc:sldChg chg="addSp delSp modSp add mod">
        <pc:chgData name="MOUAMMAR Matthieu" userId="a28de245-dc05-4206-b24f-6f403ed1344a" providerId="ADAL" clId="{97AE8C35-2375-40D4-8F09-DBC209B3CDBF}" dt="2021-02-25T15:21:58.192" v="3362" actId="20577"/>
        <pc:sldMkLst>
          <pc:docMk/>
          <pc:sldMk cId="1306583481" sldId="474"/>
        </pc:sldMkLst>
        <pc:spChg chg="mod">
          <ac:chgData name="MOUAMMAR Matthieu" userId="a28de245-dc05-4206-b24f-6f403ed1344a" providerId="ADAL" clId="{97AE8C35-2375-40D4-8F09-DBC209B3CDBF}" dt="2021-02-25T15:01:49.841" v="3193" actId="20577"/>
          <ac:spMkLst>
            <pc:docMk/>
            <pc:sldMk cId="1306583481" sldId="474"/>
            <ac:spMk id="5" creationId="{00000000-0000-0000-0000-000000000000}"/>
          </ac:spMkLst>
        </pc:spChg>
        <pc:spChg chg="mod">
          <ac:chgData name="MOUAMMAR Matthieu" userId="a28de245-dc05-4206-b24f-6f403ed1344a" providerId="ADAL" clId="{97AE8C35-2375-40D4-8F09-DBC209B3CDBF}" dt="2021-02-25T15:21:58.192" v="3362" actId="20577"/>
          <ac:spMkLst>
            <pc:docMk/>
            <pc:sldMk cId="1306583481" sldId="474"/>
            <ac:spMk id="6" creationId="{00000000-0000-0000-0000-000000000000}"/>
          </ac:spMkLst>
        </pc:spChg>
        <pc:spChg chg="add mod">
          <ac:chgData name="MOUAMMAR Matthieu" userId="a28de245-dc05-4206-b24f-6f403ed1344a" providerId="ADAL" clId="{97AE8C35-2375-40D4-8F09-DBC209B3CDBF}" dt="2021-02-25T15:03:01.818" v="3213" actId="313"/>
          <ac:spMkLst>
            <pc:docMk/>
            <pc:sldMk cId="1306583481" sldId="474"/>
            <ac:spMk id="7" creationId="{F7460B39-0051-432C-8587-28B99120ABB5}"/>
          </ac:spMkLst>
        </pc:spChg>
        <pc:spChg chg="del">
          <ac:chgData name="MOUAMMAR Matthieu" userId="a28de245-dc05-4206-b24f-6f403ed1344a" providerId="ADAL" clId="{97AE8C35-2375-40D4-8F09-DBC209B3CDBF}" dt="2021-02-25T15:01:52.816" v="3194" actId="478"/>
          <ac:spMkLst>
            <pc:docMk/>
            <pc:sldMk cId="1306583481" sldId="474"/>
            <ac:spMk id="33" creationId="{48F88ED5-B2C6-4B0E-AC34-5AD1226D3D51}"/>
          </ac:spMkLst>
        </pc:spChg>
        <pc:picChg chg="add mod ord">
          <ac:chgData name="MOUAMMAR Matthieu" userId="a28de245-dc05-4206-b24f-6f403ed1344a" providerId="ADAL" clId="{97AE8C35-2375-40D4-8F09-DBC209B3CDBF}" dt="2021-02-25T15:02:25.324" v="3200" actId="167"/>
          <ac:picMkLst>
            <pc:docMk/>
            <pc:sldMk cId="1306583481" sldId="474"/>
            <ac:picMk id="10" creationId="{AC72BCB7-3427-4118-8003-C521A71BF7DC}"/>
          </ac:picMkLst>
        </pc:picChg>
        <pc:picChg chg="del">
          <ac:chgData name="MOUAMMAR Matthieu" userId="a28de245-dc05-4206-b24f-6f403ed1344a" providerId="ADAL" clId="{97AE8C35-2375-40D4-8F09-DBC209B3CDBF}" dt="2021-02-25T15:02:05.378" v="3196" actId="478"/>
          <ac:picMkLst>
            <pc:docMk/>
            <pc:sldMk cId="1306583481" sldId="474"/>
            <ac:picMk id="1026" creationId="{877E19BE-EA0B-4614-9E02-DA825F09FC6D}"/>
          </ac:picMkLst>
        </pc:picChg>
      </pc:sldChg>
      <pc:sldChg chg="addSp delSp modSp add mod">
        <pc:chgData name="MOUAMMAR Matthieu" userId="a28de245-dc05-4206-b24f-6f403ed1344a" providerId="ADAL" clId="{97AE8C35-2375-40D4-8F09-DBC209B3CDBF}" dt="2021-02-25T16:00:14.198" v="4238" actId="20577"/>
        <pc:sldMkLst>
          <pc:docMk/>
          <pc:sldMk cId="2614926350" sldId="475"/>
        </pc:sldMkLst>
        <pc:spChg chg="mod">
          <ac:chgData name="MOUAMMAR Matthieu" userId="a28de245-dc05-4206-b24f-6f403ed1344a" providerId="ADAL" clId="{97AE8C35-2375-40D4-8F09-DBC209B3CDBF}" dt="2021-02-25T15:06:01.239" v="3232" actId="20577"/>
          <ac:spMkLst>
            <pc:docMk/>
            <pc:sldMk cId="2614926350" sldId="475"/>
            <ac:spMk id="5" creationId="{00000000-0000-0000-0000-000000000000}"/>
          </ac:spMkLst>
        </pc:spChg>
        <pc:spChg chg="mod">
          <ac:chgData name="MOUAMMAR Matthieu" userId="a28de245-dc05-4206-b24f-6f403ed1344a" providerId="ADAL" clId="{97AE8C35-2375-40D4-8F09-DBC209B3CDBF}" dt="2021-02-25T16:00:14.198" v="4238" actId="20577"/>
          <ac:spMkLst>
            <pc:docMk/>
            <pc:sldMk cId="2614926350" sldId="475"/>
            <ac:spMk id="6" creationId="{00000000-0000-0000-0000-000000000000}"/>
          </ac:spMkLst>
        </pc:spChg>
        <pc:spChg chg="mod">
          <ac:chgData name="MOUAMMAR Matthieu" userId="a28de245-dc05-4206-b24f-6f403ed1344a" providerId="ADAL" clId="{97AE8C35-2375-40D4-8F09-DBC209B3CDBF}" dt="2021-02-25T15:06:57.429" v="3238" actId="14100"/>
          <ac:spMkLst>
            <pc:docMk/>
            <pc:sldMk cId="2614926350" sldId="475"/>
            <ac:spMk id="7" creationId="{F7460B39-0051-432C-8587-28B99120ABB5}"/>
          </ac:spMkLst>
        </pc:spChg>
        <pc:picChg chg="add mod">
          <ac:chgData name="MOUAMMAR Matthieu" userId="a28de245-dc05-4206-b24f-6f403ed1344a" providerId="ADAL" clId="{97AE8C35-2375-40D4-8F09-DBC209B3CDBF}" dt="2021-02-25T15:06:51.209" v="3237" actId="1076"/>
          <ac:picMkLst>
            <pc:docMk/>
            <pc:sldMk cId="2614926350" sldId="475"/>
            <ac:picMk id="8" creationId="{154D400A-B2FC-499F-9A6F-8B79009CDF86}"/>
          </ac:picMkLst>
        </pc:picChg>
        <pc:picChg chg="del">
          <ac:chgData name="MOUAMMAR Matthieu" userId="a28de245-dc05-4206-b24f-6f403ed1344a" providerId="ADAL" clId="{97AE8C35-2375-40D4-8F09-DBC209B3CDBF}" dt="2021-02-25T15:06:14.313" v="3235" actId="478"/>
          <ac:picMkLst>
            <pc:docMk/>
            <pc:sldMk cId="2614926350" sldId="475"/>
            <ac:picMk id="10" creationId="{AC72BCB7-3427-4118-8003-C521A71BF7DC}"/>
          </ac:picMkLst>
        </pc:picChg>
      </pc:sldChg>
      <pc:sldChg chg="addSp delSp modSp add mod ord">
        <pc:chgData name="MOUAMMAR Matthieu" userId="a28de245-dc05-4206-b24f-6f403ed1344a" providerId="ADAL" clId="{97AE8C35-2375-40D4-8F09-DBC209B3CDBF}" dt="2021-02-25T15:26:33.958" v="3413" actId="20577"/>
        <pc:sldMkLst>
          <pc:docMk/>
          <pc:sldMk cId="329065138" sldId="476"/>
        </pc:sldMkLst>
        <pc:spChg chg="mod">
          <ac:chgData name="MOUAMMAR Matthieu" userId="a28de245-dc05-4206-b24f-6f403ed1344a" providerId="ADAL" clId="{97AE8C35-2375-40D4-8F09-DBC209B3CDBF}" dt="2021-02-25T15:22:16.242" v="3397" actId="20577"/>
          <ac:spMkLst>
            <pc:docMk/>
            <pc:sldMk cId="329065138" sldId="476"/>
            <ac:spMk id="5" creationId="{00000000-0000-0000-0000-000000000000}"/>
          </ac:spMkLst>
        </pc:spChg>
        <pc:spChg chg="mod">
          <ac:chgData name="MOUAMMAR Matthieu" userId="a28de245-dc05-4206-b24f-6f403ed1344a" providerId="ADAL" clId="{97AE8C35-2375-40D4-8F09-DBC209B3CDBF}" dt="2021-02-25T15:26:33.958" v="3413" actId="20577"/>
          <ac:spMkLst>
            <pc:docMk/>
            <pc:sldMk cId="329065138" sldId="476"/>
            <ac:spMk id="6" creationId="{00000000-0000-0000-0000-000000000000}"/>
          </ac:spMkLst>
        </pc:spChg>
        <pc:spChg chg="del">
          <ac:chgData name="MOUAMMAR Matthieu" userId="a28de245-dc05-4206-b24f-6f403ed1344a" providerId="ADAL" clId="{97AE8C35-2375-40D4-8F09-DBC209B3CDBF}" dt="2021-02-25T15:20:04.532" v="3281" actId="478"/>
          <ac:spMkLst>
            <pc:docMk/>
            <pc:sldMk cId="329065138" sldId="476"/>
            <ac:spMk id="7" creationId="{F7460B39-0051-432C-8587-28B99120ABB5}"/>
          </ac:spMkLst>
        </pc:spChg>
        <pc:spChg chg="add mod">
          <ac:chgData name="MOUAMMAR Matthieu" userId="a28de245-dc05-4206-b24f-6f403ed1344a" providerId="ADAL" clId="{97AE8C35-2375-40D4-8F09-DBC209B3CDBF}" dt="2021-02-25T15:23:17.074" v="3398"/>
          <ac:spMkLst>
            <pc:docMk/>
            <pc:sldMk cId="329065138" sldId="476"/>
            <ac:spMk id="9" creationId="{A5163B7C-1532-4687-9E66-80099CA8395C}"/>
          </ac:spMkLst>
        </pc:spChg>
        <pc:picChg chg="del">
          <ac:chgData name="MOUAMMAR Matthieu" userId="a28de245-dc05-4206-b24f-6f403ed1344a" providerId="ADAL" clId="{97AE8C35-2375-40D4-8F09-DBC209B3CDBF}" dt="2021-02-25T15:20:01.529" v="3280" actId="478"/>
          <ac:picMkLst>
            <pc:docMk/>
            <pc:sldMk cId="329065138" sldId="476"/>
            <ac:picMk id="8" creationId="{154D400A-B2FC-499F-9A6F-8B79009CDF86}"/>
          </ac:picMkLst>
        </pc:picChg>
        <pc:picChg chg="add mod">
          <ac:chgData name="MOUAMMAR Matthieu" userId="a28de245-dc05-4206-b24f-6f403ed1344a" providerId="ADAL" clId="{97AE8C35-2375-40D4-8F09-DBC209B3CDBF}" dt="2021-02-25T15:24:29.601" v="3402" actId="1076"/>
          <ac:picMkLst>
            <pc:docMk/>
            <pc:sldMk cId="329065138" sldId="476"/>
            <ac:picMk id="11" creationId="{C5C9F760-E86E-46AC-AE70-4F7D2864E14A}"/>
          </ac:picMkLst>
        </pc:picChg>
      </pc:sldChg>
      <pc:sldChg chg="modSp add mod">
        <pc:chgData name="MOUAMMAR Matthieu" userId="a28de245-dc05-4206-b24f-6f403ed1344a" providerId="ADAL" clId="{97AE8C35-2375-40D4-8F09-DBC209B3CDBF}" dt="2021-02-25T15:52:44.613" v="4237" actId="20577"/>
        <pc:sldMkLst>
          <pc:docMk/>
          <pc:sldMk cId="197358597" sldId="477"/>
        </pc:sldMkLst>
        <pc:spChg chg="mod">
          <ac:chgData name="MOUAMMAR Matthieu" userId="a28de245-dc05-4206-b24f-6f403ed1344a" providerId="ADAL" clId="{97AE8C35-2375-40D4-8F09-DBC209B3CDBF}" dt="2021-02-25T15:52:37.421" v="4196" actId="20577"/>
          <ac:spMkLst>
            <pc:docMk/>
            <pc:sldMk cId="197358597" sldId="477"/>
            <ac:spMk id="2" creationId="{41FDAF23-3952-4BE0-A904-35EE3DCB179D}"/>
          </ac:spMkLst>
        </pc:spChg>
        <pc:spChg chg="mod">
          <ac:chgData name="MOUAMMAR Matthieu" userId="a28de245-dc05-4206-b24f-6f403ed1344a" providerId="ADAL" clId="{97AE8C35-2375-40D4-8F09-DBC209B3CDBF}" dt="2021-02-25T15:52:44.613" v="4237" actId="20577"/>
          <ac:spMkLst>
            <pc:docMk/>
            <pc:sldMk cId="197358597" sldId="477"/>
            <ac:spMk id="3" creationId="{31DFA70B-34D4-4D7E-8D44-380743E2A699}"/>
          </ac:spMkLst>
        </pc:spChg>
      </pc:sldChg>
      <pc:sldChg chg="addSp delSp modSp add mod ord">
        <pc:chgData name="MOUAMMAR Matthieu" userId="a28de245-dc05-4206-b24f-6f403ed1344a" providerId="ADAL" clId="{97AE8C35-2375-40D4-8F09-DBC209B3CDBF}" dt="2021-03-07T13:55:05.408" v="7985" actId="20577"/>
        <pc:sldMkLst>
          <pc:docMk/>
          <pc:sldMk cId="2261620289" sldId="478"/>
        </pc:sldMkLst>
        <pc:spChg chg="mod">
          <ac:chgData name="MOUAMMAR Matthieu" userId="a28de245-dc05-4206-b24f-6f403ed1344a" providerId="ADAL" clId="{97AE8C35-2375-40D4-8F09-DBC209B3CDBF}" dt="2021-02-25T15:27:24.804" v="3452" actId="20577"/>
          <ac:spMkLst>
            <pc:docMk/>
            <pc:sldMk cId="2261620289" sldId="478"/>
            <ac:spMk id="5" creationId="{00000000-0000-0000-0000-000000000000}"/>
          </ac:spMkLst>
        </pc:spChg>
        <pc:spChg chg="add del mod">
          <ac:chgData name="MOUAMMAR Matthieu" userId="a28de245-dc05-4206-b24f-6f403ed1344a" providerId="ADAL" clId="{97AE8C35-2375-40D4-8F09-DBC209B3CDBF}" dt="2021-03-06T16:29:37.176" v="6077" actId="478"/>
          <ac:spMkLst>
            <pc:docMk/>
            <pc:sldMk cId="2261620289" sldId="478"/>
            <ac:spMk id="7" creationId="{C1FCCEF6-A844-4480-8CE8-05FB72517ED5}"/>
          </ac:spMkLst>
        </pc:spChg>
        <pc:spChg chg="del">
          <ac:chgData name="MOUAMMAR Matthieu" userId="a28de245-dc05-4206-b24f-6f403ed1344a" providerId="ADAL" clId="{97AE8C35-2375-40D4-8F09-DBC209B3CDBF}" dt="2021-02-25T15:28:04.204" v="3453" actId="478"/>
          <ac:spMkLst>
            <pc:docMk/>
            <pc:sldMk cId="2261620289" sldId="478"/>
            <ac:spMk id="7" creationId="{F7460B39-0051-432C-8587-28B99120ABB5}"/>
          </ac:spMkLst>
        </pc:spChg>
        <pc:spChg chg="add del mod">
          <ac:chgData name="MOUAMMAR Matthieu" userId="a28de245-dc05-4206-b24f-6f403ed1344a" providerId="ADAL" clId="{97AE8C35-2375-40D4-8F09-DBC209B3CDBF}" dt="2021-03-06T16:29:34.110" v="6076" actId="478"/>
          <ac:spMkLst>
            <pc:docMk/>
            <pc:sldMk cId="2261620289" sldId="478"/>
            <ac:spMk id="8" creationId="{827F3DF9-8564-432E-8EE4-20AA957C8259}"/>
          </ac:spMkLst>
        </pc:spChg>
        <pc:spChg chg="mod">
          <ac:chgData name="MOUAMMAR Matthieu" userId="a28de245-dc05-4206-b24f-6f403ed1344a" providerId="ADAL" clId="{97AE8C35-2375-40D4-8F09-DBC209B3CDBF}" dt="2021-03-06T16:29:27.144" v="6075"/>
          <ac:spMkLst>
            <pc:docMk/>
            <pc:sldMk cId="2261620289" sldId="478"/>
            <ac:spMk id="10" creationId="{C63A9639-B22C-424C-8102-2158C6814C9C}"/>
          </ac:spMkLst>
        </pc:spChg>
        <pc:spChg chg="mod">
          <ac:chgData name="MOUAMMAR Matthieu" userId="a28de245-dc05-4206-b24f-6f403ed1344a" providerId="ADAL" clId="{97AE8C35-2375-40D4-8F09-DBC209B3CDBF}" dt="2021-03-07T13:55:05.408" v="7985" actId="20577"/>
          <ac:spMkLst>
            <pc:docMk/>
            <pc:sldMk cId="2261620289" sldId="478"/>
            <ac:spMk id="12" creationId="{967DC4C5-41CA-4188-8CF5-4CEE348F15C9}"/>
          </ac:spMkLst>
        </pc:spChg>
        <pc:spChg chg="mod">
          <ac:chgData name="MOUAMMAR Matthieu" userId="a28de245-dc05-4206-b24f-6f403ed1344a" providerId="ADAL" clId="{97AE8C35-2375-40D4-8F09-DBC209B3CDBF}" dt="2021-03-06T16:29:53.041" v="6079" actId="207"/>
          <ac:spMkLst>
            <pc:docMk/>
            <pc:sldMk cId="2261620289" sldId="478"/>
            <ac:spMk id="13" creationId="{070AE2A7-A30D-4A72-8E8D-286FBDF4D1E9}"/>
          </ac:spMkLst>
        </pc:spChg>
        <pc:spChg chg="mod">
          <ac:chgData name="MOUAMMAR Matthieu" userId="a28de245-dc05-4206-b24f-6f403ed1344a" providerId="ADAL" clId="{97AE8C35-2375-40D4-8F09-DBC209B3CDBF}" dt="2021-03-06T16:29:27.144" v="6075"/>
          <ac:spMkLst>
            <pc:docMk/>
            <pc:sldMk cId="2261620289" sldId="478"/>
            <ac:spMk id="14" creationId="{78617B26-3969-471C-AC2E-57CC86F96974}"/>
          </ac:spMkLst>
        </pc:spChg>
        <pc:spChg chg="mod">
          <ac:chgData name="MOUAMMAR Matthieu" userId="a28de245-dc05-4206-b24f-6f403ed1344a" providerId="ADAL" clId="{97AE8C35-2375-40D4-8F09-DBC209B3CDBF}" dt="2021-03-06T16:29:27.144" v="6075"/>
          <ac:spMkLst>
            <pc:docMk/>
            <pc:sldMk cId="2261620289" sldId="478"/>
            <ac:spMk id="19" creationId="{6B20756B-6C5B-401D-BC99-3BDA4C11931E}"/>
          </ac:spMkLst>
        </pc:spChg>
        <pc:spChg chg="mod">
          <ac:chgData name="MOUAMMAR Matthieu" userId="a28de245-dc05-4206-b24f-6f403ed1344a" providerId="ADAL" clId="{97AE8C35-2375-40D4-8F09-DBC209B3CDBF}" dt="2021-03-06T16:29:27.144" v="6075"/>
          <ac:spMkLst>
            <pc:docMk/>
            <pc:sldMk cId="2261620289" sldId="478"/>
            <ac:spMk id="20" creationId="{3E511742-5D0E-4083-A942-2D8CE161A517}"/>
          </ac:spMkLst>
        </pc:spChg>
        <pc:spChg chg="mod">
          <ac:chgData name="MOUAMMAR Matthieu" userId="a28de245-dc05-4206-b24f-6f403ed1344a" providerId="ADAL" clId="{97AE8C35-2375-40D4-8F09-DBC209B3CDBF}" dt="2021-03-06T16:29:27.144" v="6075"/>
          <ac:spMkLst>
            <pc:docMk/>
            <pc:sldMk cId="2261620289" sldId="478"/>
            <ac:spMk id="21" creationId="{991B5128-981C-43AB-9B93-ED83ADAF14D1}"/>
          </ac:spMkLst>
        </pc:spChg>
        <pc:spChg chg="mod">
          <ac:chgData name="MOUAMMAR Matthieu" userId="a28de245-dc05-4206-b24f-6f403ed1344a" providerId="ADAL" clId="{97AE8C35-2375-40D4-8F09-DBC209B3CDBF}" dt="2021-03-06T16:29:27.144" v="6075"/>
          <ac:spMkLst>
            <pc:docMk/>
            <pc:sldMk cId="2261620289" sldId="478"/>
            <ac:spMk id="22" creationId="{C95B6EB0-589E-4F53-90C3-24D6CC7EFBB0}"/>
          </ac:spMkLst>
        </pc:spChg>
        <pc:spChg chg="mod">
          <ac:chgData name="MOUAMMAR Matthieu" userId="a28de245-dc05-4206-b24f-6f403ed1344a" providerId="ADAL" clId="{97AE8C35-2375-40D4-8F09-DBC209B3CDBF}" dt="2021-03-06T16:29:27.144" v="6075"/>
          <ac:spMkLst>
            <pc:docMk/>
            <pc:sldMk cId="2261620289" sldId="478"/>
            <ac:spMk id="23" creationId="{BDDC1EB1-94D3-4141-BB76-3E9C124A5BA2}"/>
          </ac:spMkLst>
        </pc:spChg>
        <pc:spChg chg="mod">
          <ac:chgData name="MOUAMMAR Matthieu" userId="a28de245-dc05-4206-b24f-6f403ed1344a" providerId="ADAL" clId="{97AE8C35-2375-40D4-8F09-DBC209B3CDBF}" dt="2021-03-06T16:29:27.144" v="6075"/>
          <ac:spMkLst>
            <pc:docMk/>
            <pc:sldMk cId="2261620289" sldId="478"/>
            <ac:spMk id="24" creationId="{36EFDAEE-6C64-44B2-A984-3016BE33161B}"/>
          </ac:spMkLst>
        </pc:spChg>
        <pc:spChg chg="mod">
          <ac:chgData name="MOUAMMAR Matthieu" userId="a28de245-dc05-4206-b24f-6f403ed1344a" providerId="ADAL" clId="{97AE8C35-2375-40D4-8F09-DBC209B3CDBF}" dt="2021-03-06T16:29:27.144" v="6075"/>
          <ac:spMkLst>
            <pc:docMk/>
            <pc:sldMk cId="2261620289" sldId="478"/>
            <ac:spMk id="25" creationId="{DD236F84-C2C7-491C-872E-61E9A0016D77}"/>
          </ac:spMkLst>
        </pc:spChg>
        <pc:spChg chg="mod">
          <ac:chgData name="MOUAMMAR Matthieu" userId="a28de245-dc05-4206-b24f-6f403ed1344a" providerId="ADAL" clId="{97AE8C35-2375-40D4-8F09-DBC209B3CDBF}" dt="2021-03-06T16:29:27.144" v="6075"/>
          <ac:spMkLst>
            <pc:docMk/>
            <pc:sldMk cId="2261620289" sldId="478"/>
            <ac:spMk id="26" creationId="{8160DC79-6661-4010-8E97-B097F291AE55}"/>
          </ac:spMkLst>
        </pc:spChg>
        <pc:spChg chg="mod">
          <ac:chgData name="MOUAMMAR Matthieu" userId="a28de245-dc05-4206-b24f-6f403ed1344a" providerId="ADAL" clId="{97AE8C35-2375-40D4-8F09-DBC209B3CDBF}" dt="2021-03-06T16:29:27.144" v="6075"/>
          <ac:spMkLst>
            <pc:docMk/>
            <pc:sldMk cId="2261620289" sldId="478"/>
            <ac:spMk id="27" creationId="{1CD6A4F9-DD0E-4610-86F8-BAD46BEA5870}"/>
          </ac:spMkLst>
        </pc:spChg>
        <pc:spChg chg="mod">
          <ac:chgData name="MOUAMMAR Matthieu" userId="a28de245-dc05-4206-b24f-6f403ed1344a" providerId="ADAL" clId="{97AE8C35-2375-40D4-8F09-DBC209B3CDBF}" dt="2021-03-06T16:29:27.144" v="6075"/>
          <ac:spMkLst>
            <pc:docMk/>
            <pc:sldMk cId="2261620289" sldId="478"/>
            <ac:spMk id="28" creationId="{E0BFD239-2EEC-497A-8585-F8A04D73C779}"/>
          </ac:spMkLst>
        </pc:spChg>
        <pc:spChg chg="mod">
          <ac:chgData name="MOUAMMAR Matthieu" userId="a28de245-dc05-4206-b24f-6f403ed1344a" providerId="ADAL" clId="{97AE8C35-2375-40D4-8F09-DBC209B3CDBF}" dt="2021-03-06T16:29:27.144" v="6075"/>
          <ac:spMkLst>
            <pc:docMk/>
            <pc:sldMk cId="2261620289" sldId="478"/>
            <ac:spMk id="29" creationId="{1DA0A678-8228-4783-978D-E7B2EB1D0518}"/>
          </ac:spMkLst>
        </pc:spChg>
        <pc:spChg chg="mod">
          <ac:chgData name="MOUAMMAR Matthieu" userId="a28de245-dc05-4206-b24f-6f403ed1344a" providerId="ADAL" clId="{97AE8C35-2375-40D4-8F09-DBC209B3CDBF}" dt="2021-03-06T16:29:27.144" v="6075"/>
          <ac:spMkLst>
            <pc:docMk/>
            <pc:sldMk cId="2261620289" sldId="478"/>
            <ac:spMk id="30" creationId="{150D95F5-822D-4E0A-B615-E7E8E1CB8915}"/>
          </ac:spMkLst>
        </pc:spChg>
        <pc:grpChg chg="add mod">
          <ac:chgData name="MOUAMMAR Matthieu" userId="a28de245-dc05-4206-b24f-6f403ed1344a" providerId="ADAL" clId="{97AE8C35-2375-40D4-8F09-DBC209B3CDBF}" dt="2021-03-06T16:29:56.675" v="6080" actId="1076"/>
          <ac:grpSpMkLst>
            <pc:docMk/>
            <pc:sldMk cId="2261620289" sldId="478"/>
            <ac:grpSpMk id="9" creationId="{605C3CBA-D6F5-4DF8-92CD-07BBDC8C6DD2}"/>
          </ac:grpSpMkLst>
        </pc:grpChg>
        <pc:grpChg chg="mod">
          <ac:chgData name="MOUAMMAR Matthieu" userId="a28de245-dc05-4206-b24f-6f403ed1344a" providerId="ADAL" clId="{97AE8C35-2375-40D4-8F09-DBC209B3CDBF}" dt="2021-03-06T16:29:27.144" v="6075"/>
          <ac:grpSpMkLst>
            <pc:docMk/>
            <pc:sldMk cId="2261620289" sldId="478"/>
            <ac:grpSpMk id="15" creationId="{3D8FEF4E-AEBF-4E03-98BD-4E085A874B50}"/>
          </ac:grpSpMkLst>
        </pc:grpChg>
        <pc:grpChg chg="mod">
          <ac:chgData name="MOUAMMAR Matthieu" userId="a28de245-dc05-4206-b24f-6f403ed1344a" providerId="ADAL" clId="{97AE8C35-2375-40D4-8F09-DBC209B3CDBF}" dt="2021-03-06T16:29:27.144" v="6075"/>
          <ac:grpSpMkLst>
            <pc:docMk/>
            <pc:sldMk cId="2261620289" sldId="478"/>
            <ac:grpSpMk id="16" creationId="{C0DA6BCE-0E5E-40DE-B9C4-F40B6C29FFA9}"/>
          </ac:grpSpMkLst>
        </pc:grpChg>
        <pc:grpChg chg="mod">
          <ac:chgData name="MOUAMMAR Matthieu" userId="a28de245-dc05-4206-b24f-6f403ed1344a" providerId="ADAL" clId="{97AE8C35-2375-40D4-8F09-DBC209B3CDBF}" dt="2021-03-06T16:29:27.144" v="6075"/>
          <ac:grpSpMkLst>
            <pc:docMk/>
            <pc:sldMk cId="2261620289" sldId="478"/>
            <ac:grpSpMk id="17" creationId="{10B125B3-C1F1-44A3-B1A8-FB4DEAAF5C13}"/>
          </ac:grpSpMkLst>
        </pc:grpChg>
        <pc:grpChg chg="mod">
          <ac:chgData name="MOUAMMAR Matthieu" userId="a28de245-dc05-4206-b24f-6f403ed1344a" providerId="ADAL" clId="{97AE8C35-2375-40D4-8F09-DBC209B3CDBF}" dt="2021-03-06T16:29:27.144" v="6075"/>
          <ac:grpSpMkLst>
            <pc:docMk/>
            <pc:sldMk cId="2261620289" sldId="478"/>
            <ac:grpSpMk id="18" creationId="{0EB0D51E-7445-472E-96BC-F5BDAA8FC5A9}"/>
          </ac:grpSpMkLst>
        </pc:grpChg>
        <pc:picChg chg="del">
          <ac:chgData name="MOUAMMAR Matthieu" userId="a28de245-dc05-4206-b24f-6f403ed1344a" providerId="ADAL" clId="{97AE8C35-2375-40D4-8F09-DBC209B3CDBF}" dt="2021-02-25T15:28:07.171" v="3454" actId="478"/>
          <ac:picMkLst>
            <pc:docMk/>
            <pc:sldMk cId="2261620289" sldId="478"/>
            <ac:picMk id="10" creationId="{AC72BCB7-3427-4118-8003-C521A71BF7DC}"/>
          </ac:picMkLst>
        </pc:picChg>
        <pc:picChg chg="add del mod">
          <ac:chgData name="MOUAMMAR Matthieu" userId="a28de245-dc05-4206-b24f-6f403ed1344a" providerId="ADAL" clId="{97AE8C35-2375-40D4-8F09-DBC209B3CDBF}" dt="2021-03-06T16:29:26.896" v="6074" actId="478"/>
          <ac:picMkLst>
            <pc:docMk/>
            <pc:sldMk cId="2261620289" sldId="478"/>
            <ac:picMk id="11" creationId="{F7BE8579-F224-453F-8B02-77A1A03D7A6E}"/>
          </ac:picMkLst>
        </pc:picChg>
      </pc:sldChg>
      <pc:sldChg chg="addSp delSp modSp add del mod">
        <pc:chgData name="MOUAMMAR Matthieu" userId="a28de245-dc05-4206-b24f-6f403ed1344a" providerId="ADAL" clId="{97AE8C35-2375-40D4-8F09-DBC209B3CDBF}" dt="2021-03-06T16:50:17.978" v="7485" actId="47"/>
        <pc:sldMkLst>
          <pc:docMk/>
          <pc:sldMk cId="1686350814" sldId="479"/>
        </pc:sldMkLst>
        <pc:spChg chg="mod">
          <ac:chgData name="MOUAMMAR Matthieu" userId="a28de245-dc05-4206-b24f-6f403ed1344a" providerId="ADAL" clId="{97AE8C35-2375-40D4-8F09-DBC209B3CDBF}" dt="2021-02-25T15:46:54.118" v="4127" actId="20577"/>
          <ac:spMkLst>
            <pc:docMk/>
            <pc:sldMk cId="1686350814" sldId="479"/>
            <ac:spMk id="5" creationId="{00000000-0000-0000-0000-000000000000}"/>
          </ac:spMkLst>
        </pc:spChg>
        <pc:spChg chg="add del mod">
          <ac:chgData name="MOUAMMAR Matthieu" userId="a28de245-dc05-4206-b24f-6f403ed1344a" providerId="ADAL" clId="{97AE8C35-2375-40D4-8F09-DBC209B3CDBF}" dt="2021-02-25T15:46:58.996" v="4129" actId="478"/>
          <ac:spMkLst>
            <pc:docMk/>
            <pc:sldMk cId="1686350814" sldId="479"/>
            <ac:spMk id="7" creationId="{F60A346C-C8FA-47DD-B49A-C15D0AF0712D}"/>
          </ac:spMkLst>
        </pc:spChg>
        <pc:spChg chg="del">
          <ac:chgData name="MOUAMMAR Matthieu" userId="a28de245-dc05-4206-b24f-6f403ed1344a" providerId="ADAL" clId="{97AE8C35-2375-40D4-8F09-DBC209B3CDBF}" dt="2021-02-25T15:46:57.203" v="4128" actId="478"/>
          <ac:spMkLst>
            <pc:docMk/>
            <pc:sldMk cId="1686350814" sldId="479"/>
            <ac:spMk id="8" creationId="{827F3DF9-8564-432E-8EE4-20AA957C8259}"/>
          </ac:spMkLst>
        </pc:spChg>
        <pc:spChg chg="add mod">
          <ac:chgData name="MOUAMMAR Matthieu" userId="a28de245-dc05-4206-b24f-6f403ed1344a" providerId="ADAL" clId="{97AE8C35-2375-40D4-8F09-DBC209B3CDBF}" dt="2021-02-25T15:51:52.475" v="4191"/>
          <ac:spMkLst>
            <pc:docMk/>
            <pc:sldMk cId="1686350814" sldId="479"/>
            <ac:spMk id="10" creationId="{8289FC3E-2A69-428D-842D-C1A1966F6E3B}"/>
          </ac:spMkLst>
        </pc:spChg>
        <pc:picChg chg="del">
          <ac:chgData name="MOUAMMAR Matthieu" userId="a28de245-dc05-4206-b24f-6f403ed1344a" providerId="ADAL" clId="{97AE8C35-2375-40D4-8F09-DBC209B3CDBF}" dt="2021-02-25T15:46:59.491" v="4130" actId="478"/>
          <ac:picMkLst>
            <pc:docMk/>
            <pc:sldMk cId="1686350814" sldId="479"/>
            <ac:picMk id="11" creationId="{F7BE8579-F224-453F-8B02-77A1A03D7A6E}"/>
          </ac:picMkLst>
        </pc:picChg>
        <pc:picChg chg="add mod">
          <ac:chgData name="MOUAMMAR Matthieu" userId="a28de245-dc05-4206-b24f-6f403ed1344a" providerId="ADAL" clId="{97AE8C35-2375-40D4-8F09-DBC209B3CDBF}" dt="2021-02-25T15:52:16.885" v="4194" actId="1076"/>
          <ac:picMkLst>
            <pc:docMk/>
            <pc:sldMk cId="1686350814" sldId="479"/>
            <ac:picMk id="12" creationId="{5E97019F-3590-4689-BB05-F393AFAB97B0}"/>
          </ac:picMkLst>
        </pc:picChg>
      </pc:sldChg>
      <pc:sldChg chg="addSp delSp modSp add del mod">
        <pc:chgData name="MOUAMMAR Matthieu" userId="a28de245-dc05-4206-b24f-6f403ed1344a" providerId="ADAL" clId="{97AE8C35-2375-40D4-8F09-DBC209B3CDBF}" dt="2021-03-06T16:50:17.978" v="7485" actId="47"/>
        <pc:sldMkLst>
          <pc:docMk/>
          <pc:sldMk cId="3833318324" sldId="480"/>
        </pc:sldMkLst>
        <pc:spChg chg="mod">
          <ac:chgData name="MOUAMMAR Matthieu" userId="a28de245-dc05-4206-b24f-6f403ed1344a" providerId="ADAL" clId="{97AE8C35-2375-40D4-8F09-DBC209B3CDBF}" dt="2021-02-25T15:47:14.535" v="4174" actId="20577"/>
          <ac:spMkLst>
            <pc:docMk/>
            <pc:sldMk cId="3833318324" sldId="480"/>
            <ac:spMk id="5" creationId="{00000000-0000-0000-0000-000000000000}"/>
          </ac:spMkLst>
        </pc:spChg>
        <pc:spChg chg="add del">
          <ac:chgData name="MOUAMMAR Matthieu" userId="a28de245-dc05-4206-b24f-6f403ed1344a" providerId="ADAL" clId="{97AE8C35-2375-40D4-8F09-DBC209B3CDBF}" dt="2021-02-25T15:49:33.798" v="4180" actId="22"/>
          <ac:spMkLst>
            <pc:docMk/>
            <pc:sldMk cId="3833318324" sldId="480"/>
            <ac:spMk id="9" creationId="{05F148B9-99DE-43A2-8E8C-75634B961AD4}"/>
          </ac:spMkLst>
        </pc:spChg>
        <pc:spChg chg="add del mod">
          <ac:chgData name="MOUAMMAR Matthieu" userId="a28de245-dc05-4206-b24f-6f403ed1344a" providerId="ADAL" clId="{97AE8C35-2375-40D4-8F09-DBC209B3CDBF}" dt="2021-02-25T15:49:56.943" v="4189"/>
          <ac:spMkLst>
            <pc:docMk/>
            <pc:sldMk cId="3833318324" sldId="480"/>
            <ac:spMk id="11" creationId="{E48234ED-B1E9-4D37-ADC8-3CCB61615ED5}"/>
          </ac:spMkLst>
        </pc:spChg>
        <pc:spChg chg="add mod">
          <ac:chgData name="MOUAMMAR Matthieu" userId="a28de245-dc05-4206-b24f-6f403ed1344a" providerId="ADAL" clId="{97AE8C35-2375-40D4-8F09-DBC209B3CDBF}" dt="2021-02-25T15:49:48.111" v="4184"/>
          <ac:spMkLst>
            <pc:docMk/>
            <pc:sldMk cId="3833318324" sldId="480"/>
            <ac:spMk id="12" creationId="{8FDD4431-2044-4753-BF38-09BF39A3EBD0}"/>
          </ac:spMkLst>
        </pc:spChg>
        <pc:picChg chg="add mod">
          <ac:chgData name="MOUAMMAR Matthieu" userId="a28de245-dc05-4206-b24f-6f403ed1344a" providerId="ADAL" clId="{97AE8C35-2375-40D4-8F09-DBC209B3CDBF}" dt="2021-02-25T15:49:56.454" v="4187" actId="1076"/>
          <ac:picMkLst>
            <pc:docMk/>
            <pc:sldMk cId="3833318324" sldId="480"/>
            <ac:picMk id="7" creationId="{DA8EBAFF-AEE6-48B9-BCF8-C6A22C140DA3}"/>
          </ac:picMkLst>
        </pc:picChg>
      </pc:sldChg>
      <pc:sldChg chg="addSp delSp modSp add mod">
        <pc:chgData name="MOUAMMAR Matthieu" userId="a28de245-dc05-4206-b24f-6f403ed1344a" providerId="ADAL" clId="{97AE8C35-2375-40D4-8F09-DBC209B3CDBF}" dt="2021-03-07T14:07:35.387" v="7994" actId="20577"/>
        <pc:sldMkLst>
          <pc:docMk/>
          <pc:sldMk cId="765115582" sldId="481"/>
        </pc:sldMkLst>
        <pc:spChg chg="mod">
          <ac:chgData name="MOUAMMAR Matthieu" userId="a28de245-dc05-4206-b24f-6f403ed1344a" providerId="ADAL" clId="{97AE8C35-2375-40D4-8F09-DBC209B3CDBF}" dt="2021-02-25T16:00:35.831" v="4293" actId="313"/>
          <ac:spMkLst>
            <pc:docMk/>
            <pc:sldMk cId="765115582" sldId="481"/>
            <ac:spMk id="5" creationId="{00000000-0000-0000-0000-000000000000}"/>
          </ac:spMkLst>
        </pc:spChg>
        <pc:spChg chg="mod">
          <ac:chgData name="MOUAMMAR Matthieu" userId="a28de245-dc05-4206-b24f-6f403ed1344a" providerId="ADAL" clId="{97AE8C35-2375-40D4-8F09-DBC209B3CDBF}" dt="2021-02-25T16:00:29.040" v="4248" actId="20577"/>
          <ac:spMkLst>
            <pc:docMk/>
            <pc:sldMk cId="765115582" sldId="481"/>
            <ac:spMk id="6" creationId="{00000000-0000-0000-0000-000000000000}"/>
          </ac:spMkLst>
        </pc:spChg>
        <pc:spChg chg="del mod">
          <ac:chgData name="MOUAMMAR Matthieu" userId="a28de245-dc05-4206-b24f-6f403ed1344a" providerId="ADAL" clId="{97AE8C35-2375-40D4-8F09-DBC209B3CDBF}" dt="2021-02-25T16:06:51.508" v="4589" actId="478"/>
          <ac:spMkLst>
            <pc:docMk/>
            <pc:sldMk cId="765115582" sldId="481"/>
            <ac:spMk id="7" creationId="{F7460B39-0051-432C-8587-28B99120ABB5}"/>
          </ac:spMkLst>
        </pc:spChg>
        <pc:spChg chg="add mod">
          <ac:chgData name="MOUAMMAR Matthieu" userId="a28de245-dc05-4206-b24f-6f403ed1344a" providerId="ADAL" clId="{97AE8C35-2375-40D4-8F09-DBC209B3CDBF}" dt="2021-02-25T16:07:26.849" v="4595" actId="14100"/>
          <ac:spMkLst>
            <pc:docMk/>
            <pc:sldMk cId="765115582" sldId="481"/>
            <ac:spMk id="12" creationId="{893FC555-D6DE-41FE-A18D-9E5BA8CE888F}"/>
          </ac:spMkLst>
        </pc:spChg>
        <pc:spChg chg="add mod">
          <ac:chgData name="MOUAMMAR Matthieu" userId="a28de245-dc05-4206-b24f-6f403ed1344a" providerId="ADAL" clId="{97AE8C35-2375-40D4-8F09-DBC209B3CDBF}" dt="2021-02-25T16:06:37.004" v="4587" actId="404"/>
          <ac:spMkLst>
            <pc:docMk/>
            <pc:sldMk cId="765115582" sldId="481"/>
            <ac:spMk id="13" creationId="{857AB3CA-DB25-42AD-880C-158C30802D3C}"/>
          </ac:spMkLst>
        </pc:spChg>
        <pc:spChg chg="add del mod">
          <ac:chgData name="MOUAMMAR Matthieu" userId="a28de245-dc05-4206-b24f-6f403ed1344a" providerId="ADAL" clId="{97AE8C35-2375-40D4-8F09-DBC209B3CDBF}" dt="2021-02-25T16:04:25.657" v="4318" actId="767"/>
          <ac:spMkLst>
            <pc:docMk/>
            <pc:sldMk cId="765115582" sldId="481"/>
            <ac:spMk id="14" creationId="{3BBF7847-A47F-4C5C-881D-2503EF6191D7}"/>
          </ac:spMkLst>
        </pc:spChg>
        <pc:spChg chg="add mod">
          <ac:chgData name="MOUAMMAR Matthieu" userId="a28de245-dc05-4206-b24f-6f403ed1344a" providerId="ADAL" clId="{97AE8C35-2375-40D4-8F09-DBC209B3CDBF}" dt="2021-03-07T14:07:35.387" v="7994" actId="20577"/>
          <ac:spMkLst>
            <pc:docMk/>
            <pc:sldMk cId="765115582" sldId="481"/>
            <ac:spMk id="15" creationId="{F347DF5A-A655-4CEB-AD8B-D009F7074195}"/>
          </ac:spMkLst>
        </pc:spChg>
        <pc:spChg chg="add mod">
          <ac:chgData name="MOUAMMAR Matthieu" userId="a28de245-dc05-4206-b24f-6f403ed1344a" providerId="ADAL" clId="{97AE8C35-2375-40D4-8F09-DBC209B3CDBF}" dt="2021-02-25T16:05:58.474" v="4470" actId="20577"/>
          <ac:spMkLst>
            <pc:docMk/>
            <pc:sldMk cId="765115582" sldId="481"/>
            <ac:spMk id="16" creationId="{43D0A686-C616-4710-9FB8-70E2F9BDCC56}"/>
          </ac:spMkLst>
        </pc:spChg>
        <pc:spChg chg="add del mod">
          <ac:chgData name="MOUAMMAR Matthieu" userId="a28de245-dc05-4206-b24f-6f403ed1344a" providerId="ADAL" clId="{97AE8C35-2375-40D4-8F09-DBC209B3CDBF}" dt="2021-02-25T16:06:54.301" v="4590" actId="478"/>
          <ac:spMkLst>
            <pc:docMk/>
            <pc:sldMk cId="765115582" sldId="481"/>
            <ac:spMk id="18" creationId="{9EBCA5FA-20C4-48D3-BC65-F8EBBCCDC32D}"/>
          </ac:spMkLst>
        </pc:spChg>
        <pc:picChg chg="del">
          <ac:chgData name="MOUAMMAR Matthieu" userId="a28de245-dc05-4206-b24f-6f403ed1344a" providerId="ADAL" clId="{97AE8C35-2375-40D4-8F09-DBC209B3CDBF}" dt="2021-02-25T16:00:38.677" v="4294" actId="478"/>
          <ac:picMkLst>
            <pc:docMk/>
            <pc:sldMk cId="765115582" sldId="481"/>
            <ac:picMk id="8" creationId="{154D400A-B2FC-499F-9A6F-8B79009CDF86}"/>
          </ac:picMkLst>
        </pc:picChg>
        <pc:picChg chg="add del mod">
          <ac:chgData name="MOUAMMAR Matthieu" userId="a28de245-dc05-4206-b24f-6f403ed1344a" providerId="ADAL" clId="{97AE8C35-2375-40D4-8F09-DBC209B3CDBF}" dt="2021-02-25T16:01:57.700" v="4302" actId="478"/>
          <ac:picMkLst>
            <pc:docMk/>
            <pc:sldMk cId="765115582" sldId="481"/>
            <ac:picMk id="9" creationId="{3A57A3A2-ED44-4B53-BA25-1538274F1E69}"/>
          </ac:picMkLst>
        </pc:picChg>
        <pc:picChg chg="add mod">
          <ac:chgData name="MOUAMMAR Matthieu" userId="a28de245-dc05-4206-b24f-6f403ed1344a" providerId="ADAL" clId="{97AE8C35-2375-40D4-8F09-DBC209B3CDBF}" dt="2021-02-25T16:07:02.427" v="4591" actId="1076"/>
          <ac:picMkLst>
            <pc:docMk/>
            <pc:sldMk cId="765115582" sldId="481"/>
            <ac:picMk id="11" creationId="{056E0720-9A5E-4903-A118-46AF878334EC}"/>
          </ac:picMkLst>
        </pc:picChg>
      </pc:sldChg>
      <pc:sldChg chg="addSp delSp modSp add mod">
        <pc:chgData name="MOUAMMAR Matthieu" userId="a28de245-dc05-4206-b24f-6f403ed1344a" providerId="ADAL" clId="{97AE8C35-2375-40D4-8F09-DBC209B3CDBF}" dt="2021-02-25T16:19:23.030" v="4679" actId="14100"/>
        <pc:sldMkLst>
          <pc:docMk/>
          <pc:sldMk cId="1732717186" sldId="482"/>
        </pc:sldMkLst>
        <pc:spChg chg="del">
          <ac:chgData name="MOUAMMAR Matthieu" userId="a28de245-dc05-4206-b24f-6f403ed1344a" providerId="ADAL" clId="{97AE8C35-2375-40D4-8F09-DBC209B3CDBF}" dt="2021-02-25T16:07:47.640" v="4596" actId="478"/>
          <ac:spMkLst>
            <pc:docMk/>
            <pc:sldMk cId="1732717186" sldId="482"/>
            <ac:spMk id="7" creationId="{F7460B39-0051-432C-8587-28B99120ABB5}"/>
          </ac:spMkLst>
        </pc:spChg>
        <pc:spChg chg="add mod">
          <ac:chgData name="MOUAMMAR Matthieu" userId="a28de245-dc05-4206-b24f-6f403ed1344a" providerId="ADAL" clId="{97AE8C35-2375-40D4-8F09-DBC209B3CDBF}" dt="2021-02-25T16:07:47.640" v="4596" actId="478"/>
          <ac:spMkLst>
            <pc:docMk/>
            <pc:sldMk cId="1732717186" sldId="482"/>
            <ac:spMk id="8" creationId="{0A1148F1-4D21-461F-A1D3-0ACB30FCFCC9}"/>
          </ac:spMkLst>
        </pc:spChg>
        <pc:spChg chg="del">
          <ac:chgData name="MOUAMMAR Matthieu" userId="a28de245-dc05-4206-b24f-6f403ed1344a" providerId="ADAL" clId="{97AE8C35-2375-40D4-8F09-DBC209B3CDBF}" dt="2021-02-25T16:08:19.847" v="4601" actId="478"/>
          <ac:spMkLst>
            <pc:docMk/>
            <pc:sldMk cId="1732717186" sldId="482"/>
            <ac:spMk id="12" creationId="{893FC555-D6DE-41FE-A18D-9E5BA8CE888F}"/>
          </ac:spMkLst>
        </pc:spChg>
        <pc:spChg chg="del">
          <ac:chgData name="MOUAMMAR Matthieu" userId="a28de245-dc05-4206-b24f-6f403ed1344a" providerId="ADAL" clId="{97AE8C35-2375-40D4-8F09-DBC209B3CDBF}" dt="2021-02-25T16:08:17.313" v="4600" actId="478"/>
          <ac:spMkLst>
            <pc:docMk/>
            <pc:sldMk cId="1732717186" sldId="482"/>
            <ac:spMk id="13" creationId="{857AB3CA-DB25-42AD-880C-158C30802D3C}"/>
          </ac:spMkLst>
        </pc:spChg>
        <pc:spChg chg="add del mod">
          <ac:chgData name="MOUAMMAR Matthieu" userId="a28de245-dc05-4206-b24f-6f403ed1344a" providerId="ADAL" clId="{97AE8C35-2375-40D4-8F09-DBC209B3CDBF}" dt="2021-02-25T16:18:26.526" v="4670" actId="478"/>
          <ac:spMkLst>
            <pc:docMk/>
            <pc:sldMk cId="1732717186" sldId="482"/>
            <ac:spMk id="14" creationId="{8AEC60D6-3673-47C7-B3B9-8A78056E8FF1}"/>
          </ac:spMkLst>
        </pc:spChg>
        <pc:spChg chg="del">
          <ac:chgData name="MOUAMMAR Matthieu" userId="a28de245-dc05-4206-b24f-6f403ed1344a" providerId="ADAL" clId="{97AE8C35-2375-40D4-8F09-DBC209B3CDBF}" dt="2021-02-25T16:08:15.433" v="4599" actId="478"/>
          <ac:spMkLst>
            <pc:docMk/>
            <pc:sldMk cId="1732717186" sldId="482"/>
            <ac:spMk id="15" creationId="{F347DF5A-A655-4CEB-AD8B-D009F7074195}"/>
          </ac:spMkLst>
        </pc:spChg>
        <pc:spChg chg="del">
          <ac:chgData name="MOUAMMAR Matthieu" userId="a28de245-dc05-4206-b24f-6f403ed1344a" providerId="ADAL" clId="{97AE8C35-2375-40D4-8F09-DBC209B3CDBF}" dt="2021-02-25T16:08:14.495" v="4598" actId="478"/>
          <ac:spMkLst>
            <pc:docMk/>
            <pc:sldMk cId="1732717186" sldId="482"/>
            <ac:spMk id="16" creationId="{43D0A686-C616-4710-9FB8-70E2F9BDCC56}"/>
          </ac:spMkLst>
        </pc:spChg>
        <pc:spChg chg="add mod">
          <ac:chgData name="MOUAMMAR Matthieu" userId="a28de245-dc05-4206-b24f-6f403ed1344a" providerId="ADAL" clId="{97AE8C35-2375-40D4-8F09-DBC209B3CDBF}" dt="2021-02-25T16:13:15.725" v="4654" actId="14100"/>
          <ac:spMkLst>
            <pc:docMk/>
            <pc:sldMk cId="1732717186" sldId="482"/>
            <ac:spMk id="17" creationId="{B80E440D-43C6-4A51-8DE1-9D5F55D024E6}"/>
          </ac:spMkLst>
        </pc:spChg>
        <pc:spChg chg="add mod">
          <ac:chgData name="MOUAMMAR Matthieu" userId="a28de245-dc05-4206-b24f-6f403ed1344a" providerId="ADAL" clId="{97AE8C35-2375-40D4-8F09-DBC209B3CDBF}" dt="2021-02-25T16:09:56.606" v="4624" actId="208"/>
          <ac:spMkLst>
            <pc:docMk/>
            <pc:sldMk cId="1732717186" sldId="482"/>
            <ac:spMk id="18" creationId="{767081CD-0CA0-427B-AC87-6C0B7A7B93E7}"/>
          </ac:spMkLst>
        </pc:spChg>
        <pc:spChg chg="add mod">
          <ac:chgData name="MOUAMMAR Matthieu" userId="a28de245-dc05-4206-b24f-6f403ed1344a" providerId="ADAL" clId="{97AE8C35-2375-40D4-8F09-DBC209B3CDBF}" dt="2021-02-25T16:10:00.302" v="4626" actId="1076"/>
          <ac:spMkLst>
            <pc:docMk/>
            <pc:sldMk cId="1732717186" sldId="482"/>
            <ac:spMk id="19" creationId="{F88A3D51-CFAA-4873-84F4-08A4C435683B}"/>
          </ac:spMkLst>
        </pc:spChg>
        <pc:spChg chg="add mod">
          <ac:chgData name="MOUAMMAR Matthieu" userId="a28de245-dc05-4206-b24f-6f403ed1344a" providerId="ADAL" clId="{97AE8C35-2375-40D4-8F09-DBC209B3CDBF}" dt="2021-02-25T16:12:08.069" v="4635" actId="14100"/>
          <ac:spMkLst>
            <pc:docMk/>
            <pc:sldMk cId="1732717186" sldId="482"/>
            <ac:spMk id="20" creationId="{B1087206-7D71-4A1A-A273-D554CED42D8E}"/>
          </ac:spMkLst>
        </pc:spChg>
        <pc:spChg chg="add mod">
          <ac:chgData name="MOUAMMAR Matthieu" userId="a28de245-dc05-4206-b24f-6f403ed1344a" providerId="ADAL" clId="{97AE8C35-2375-40D4-8F09-DBC209B3CDBF}" dt="2021-02-25T16:19:18.068" v="4678" actId="14100"/>
          <ac:spMkLst>
            <pc:docMk/>
            <pc:sldMk cId="1732717186" sldId="482"/>
            <ac:spMk id="21" creationId="{09A00D2F-8747-4D5F-BF50-C8E0903902D3}"/>
          </ac:spMkLst>
        </pc:spChg>
        <pc:spChg chg="add mod">
          <ac:chgData name="MOUAMMAR Matthieu" userId="a28de245-dc05-4206-b24f-6f403ed1344a" providerId="ADAL" clId="{97AE8C35-2375-40D4-8F09-DBC209B3CDBF}" dt="2021-02-25T16:13:40.224" v="4658" actId="208"/>
          <ac:spMkLst>
            <pc:docMk/>
            <pc:sldMk cId="1732717186" sldId="482"/>
            <ac:spMk id="22" creationId="{91F488C7-2557-4C26-8699-26DEDA7934EB}"/>
          </ac:spMkLst>
        </pc:spChg>
        <pc:spChg chg="add mod">
          <ac:chgData name="MOUAMMAR Matthieu" userId="a28de245-dc05-4206-b24f-6f403ed1344a" providerId="ADAL" clId="{97AE8C35-2375-40D4-8F09-DBC209B3CDBF}" dt="2021-02-25T16:13:30.835" v="4657" actId="208"/>
          <ac:spMkLst>
            <pc:docMk/>
            <pc:sldMk cId="1732717186" sldId="482"/>
            <ac:spMk id="23" creationId="{730E3627-EBB0-4E9A-AC3B-29CE2129A9C1}"/>
          </ac:spMkLst>
        </pc:spChg>
        <pc:spChg chg="add mod">
          <ac:chgData name="MOUAMMAR Matthieu" userId="a28de245-dc05-4206-b24f-6f403ed1344a" providerId="ADAL" clId="{97AE8C35-2375-40D4-8F09-DBC209B3CDBF}" dt="2021-02-25T16:19:23.030" v="4679" actId="14100"/>
          <ac:spMkLst>
            <pc:docMk/>
            <pc:sldMk cId="1732717186" sldId="482"/>
            <ac:spMk id="24" creationId="{43D4B492-65E1-40FA-A802-7A3D4DA47B21}"/>
          </ac:spMkLst>
        </pc:spChg>
        <pc:spChg chg="add mod">
          <ac:chgData name="MOUAMMAR Matthieu" userId="a28de245-dc05-4206-b24f-6f403ed1344a" providerId="ADAL" clId="{97AE8C35-2375-40D4-8F09-DBC209B3CDBF}" dt="2021-02-25T16:19:09.327" v="4677" actId="14100"/>
          <ac:spMkLst>
            <pc:docMk/>
            <pc:sldMk cId="1732717186" sldId="482"/>
            <ac:spMk id="25" creationId="{39A95869-DC9C-4583-92DF-E8DDB9E4F8B0}"/>
          </ac:spMkLst>
        </pc:spChg>
        <pc:spChg chg="add mod">
          <ac:chgData name="MOUAMMAR Matthieu" userId="a28de245-dc05-4206-b24f-6f403ed1344a" providerId="ADAL" clId="{97AE8C35-2375-40D4-8F09-DBC209B3CDBF}" dt="2021-02-25T16:18:39.398" v="4674" actId="1076"/>
          <ac:spMkLst>
            <pc:docMk/>
            <pc:sldMk cId="1732717186" sldId="482"/>
            <ac:spMk id="26" creationId="{3F7D743F-98F3-42DA-9F5C-3327F26DDAC0}"/>
          </ac:spMkLst>
        </pc:spChg>
        <pc:picChg chg="add mod">
          <ac:chgData name="MOUAMMAR Matthieu" userId="a28de245-dc05-4206-b24f-6f403ed1344a" providerId="ADAL" clId="{97AE8C35-2375-40D4-8F09-DBC209B3CDBF}" dt="2021-02-25T16:18:29.253" v="4673" actId="1076"/>
          <ac:picMkLst>
            <pc:docMk/>
            <pc:sldMk cId="1732717186" sldId="482"/>
            <ac:picMk id="10" creationId="{15C64D6A-376B-4A27-8746-F40E5FBF79F2}"/>
          </ac:picMkLst>
        </pc:picChg>
        <pc:picChg chg="del">
          <ac:chgData name="MOUAMMAR Matthieu" userId="a28de245-dc05-4206-b24f-6f403ed1344a" providerId="ADAL" clId="{97AE8C35-2375-40D4-8F09-DBC209B3CDBF}" dt="2021-02-25T16:08:11.775" v="4597" actId="478"/>
          <ac:picMkLst>
            <pc:docMk/>
            <pc:sldMk cId="1732717186" sldId="482"/>
            <ac:picMk id="11" creationId="{056E0720-9A5E-4903-A118-46AF878334EC}"/>
          </ac:picMkLst>
        </pc:picChg>
      </pc:sldChg>
      <pc:sldChg chg="addSp delSp modSp add mod">
        <pc:chgData name="MOUAMMAR Matthieu" userId="a28de245-dc05-4206-b24f-6f403ed1344a" providerId="ADAL" clId="{97AE8C35-2375-40D4-8F09-DBC209B3CDBF}" dt="2021-03-07T14:22:27.566" v="8022" actId="20577"/>
        <pc:sldMkLst>
          <pc:docMk/>
          <pc:sldMk cId="1436360357" sldId="483"/>
        </pc:sldMkLst>
        <pc:spChg chg="mod">
          <ac:chgData name="MOUAMMAR Matthieu" userId="a28de245-dc05-4206-b24f-6f403ed1344a" providerId="ADAL" clId="{97AE8C35-2375-40D4-8F09-DBC209B3CDBF}" dt="2021-02-25T16:54:08.559" v="4728" actId="20577"/>
          <ac:spMkLst>
            <pc:docMk/>
            <pc:sldMk cId="1436360357" sldId="483"/>
            <ac:spMk id="5" creationId="{00000000-0000-0000-0000-000000000000}"/>
          </ac:spMkLst>
        </pc:spChg>
        <pc:spChg chg="mod">
          <ac:chgData name="MOUAMMAR Matthieu" userId="a28de245-dc05-4206-b24f-6f403ed1344a" providerId="ADAL" clId="{97AE8C35-2375-40D4-8F09-DBC209B3CDBF}" dt="2021-03-03T15:49:15.501" v="4982" actId="20577"/>
          <ac:spMkLst>
            <pc:docMk/>
            <pc:sldMk cId="1436360357" sldId="483"/>
            <ac:spMk id="6" creationId="{00000000-0000-0000-0000-000000000000}"/>
          </ac:spMkLst>
        </pc:spChg>
        <pc:spChg chg="mod">
          <ac:chgData name="MOUAMMAR Matthieu" userId="a28de245-dc05-4206-b24f-6f403ed1344a" providerId="ADAL" clId="{97AE8C35-2375-40D4-8F09-DBC209B3CDBF}" dt="2021-02-25T16:26:38.288" v="4695"/>
          <ac:spMkLst>
            <pc:docMk/>
            <pc:sldMk cId="1436360357" sldId="483"/>
            <ac:spMk id="7" creationId="{F7460B39-0051-432C-8587-28B99120ABB5}"/>
          </ac:spMkLst>
        </pc:spChg>
        <pc:spChg chg="add del mod">
          <ac:chgData name="MOUAMMAR Matthieu" userId="a28de245-dc05-4206-b24f-6f403ed1344a" providerId="ADAL" clId="{97AE8C35-2375-40D4-8F09-DBC209B3CDBF}" dt="2021-02-25T16:26:25.312" v="4694"/>
          <ac:spMkLst>
            <pc:docMk/>
            <pc:sldMk cId="1436360357" sldId="483"/>
            <ac:spMk id="9" creationId="{3A8D97EE-7161-4559-9A3D-20B53EDF88E0}"/>
          </ac:spMkLst>
        </pc:spChg>
        <pc:spChg chg="add del mod">
          <ac:chgData name="MOUAMMAR Matthieu" userId="a28de245-dc05-4206-b24f-6f403ed1344a" providerId="ADAL" clId="{97AE8C35-2375-40D4-8F09-DBC209B3CDBF}" dt="2021-02-25T16:26:25.312" v="4694"/>
          <ac:spMkLst>
            <pc:docMk/>
            <pc:sldMk cId="1436360357" sldId="483"/>
            <ac:spMk id="14" creationId="{C95E9460-5312-4B07-BBED-AB61B555CB15}"/>
          </ac:spMkLst>
        </pc:spChg>
        <pc:spChg chg="add del mod">
          <ac:chgData name="MOUAMMAR Matthieu" userId="a28de245-dc05-4206-b24f-6f403ed1344a" providerId="ADAL" clId="{97AE8C35-2375-40D4-8F09-DBC209B3CDBF}" dt="2021-02-25T16:26:25.312" v="4694"/>
          <ac:spMkLst>
            <pc:docMk/>
            <pc:sldMk cId="1436360357" sldId="483"/>
            <ac:spMk id="15" creationId="{ED8A6C5E-0AA5-4482-9A5B-A7CA09E8FD26}"/>
          </ac:spMkLst>
        </pc:spChg>
        <pc:spChg chg="add del mod">
          <ac:chgData name="MOUAMMAR Matthieu" userId="a28de245-dc05-4206-b24f-6f403ed1344a" providerId="ADAL" clId="{97AE8C35-2375-40D4-8F09-DBC209B3CDBF}" dt="2021-02-25T16:26:25.312" v="4694"/>
          <ac:spMkLst>
            <pc:docMk/>
            <pc:sldMk cId="1436360357" sldId="483"/>
            <ac:spMk id="18" creationId="{E6C34FB1-6E40-46A3-9F2D-2695CD2B28F9}"/>
          </ac:spMkLst>
        </pc:spChg>
        <pc:spChg chg="add mod">
          <ac:chgData name="MOUAMMAR Matthieu" userId="a28de245-dc05-4206-b24f-6f403ed1344a" providerId="ADAL" clId="{97AE8C35-2375-40D4-8F09-DBC209B3CDBF}" dt="2021-02-25T16:53:46.790" v="4710" actId="1076"/>
          <ac:spMkLst>
            <pc:docMk/>
            <pc:sldMk cId="1436360357" sldId="483"/>
            <ac:spMk id="23" creationId="{2A6DB73E-CF13-4E7F-A16D-3A0A29014447}"/>
          </ac:spMkLst>
        </pc:spChg>
        <pc:spChg chg="add mod">
          <ac:chgData name="MOUAMMAR Matthieu" userId="a28de245-dc05-4206-b24f-6f403ed1344a" providerId="ADAL" clId="{97AE8C35-2375-40D4-8F09-DBC209B3CDBF}" dt="2021-03-07T14:22:27.566" v="8022" actId="20577"/>
          <ac:spMkLst>
            <pc:docMk/>
            <pc:sldMk cId="1436360357" sldId="483"/>
            <ac:spMk id="24" creationId="{8A669A66-0C69-448A-9F71-1FAECE0635B0}"/>
          </ac:spMkLst>
        </pc:spChg>
        <pc:spChg chg="add mod">
          <ac:chgData name="MOUAMMAR Matthieu" userId="a28de245-dc05-4206-b24f-6f403ed1344a" providerId="ADAL" clId="{97AE8C35-2375-40D4-8F09-DBC209B3CDBF}" dt="2021-02-25T16:53:46.790" v="4710" actId="1076"/>
          <ac:spMkLst>
            <pc:docMk/>
            <pc:sldMk cId="1436360357" sldId="483"/>
            <ac:spMk id="27" creationId="{270299E6-0002-45C1-B03E-A343DAD6406F}"/>
          </ac:spMkLst>
        </pc:spChg>
        <pc:grpChg chg="add mod">
          <ac:chgData name="MOUAMMAR Matthieu" userId="a28de245-dc05-4206-b24f-6f403ed1344a" providerId="ADAL" clId="{97AE8C35-2375-40D4-8F09-DBC209B3CDBF}" dt="2021-02-25T16:53:18.267" v="4706" actId="1076"/>
          <ac:grpSpMkLst>
            <pc:docMk/>
            <pc:sldMk cId="1436360357" sldId="483"/>
            <ac:grpSpMk id="2" creationId="{A9058839-2ABA-4380-88A9-C96D5D733C02}"/>
          </ac:grpSpMkLst>
        </pc:grpChg>
        <pc:graphicFrameChg chg="add del mod">
          <ac:chgData name="MOUAMMAR Matthieu" userId="a28de245-dc05-4206-b24f-6f403ed1344a" providerId="ADAL" clId="{97AE8C35-2375-40D4-8F09-DBC209B3CDBF}" dt="2021-02-25T16:26:25.312" v="4694"/>
          <ac:graphicFrameMkLst>
            <pc:docMk/>
            <pc:sldMk cId="1436360357" sldId="483"/>
            <ac:graphicFrameMk id="10" creationId="{C334092B-8A01-4BEC-965D-2B68FD5924A3}"/>
          </ac:graphicFrameMkLst>
        </pc:graphicFrameChg>
        <pc:graphicFrameChg chg="add mod">
          <ac:chgData name="MOUAMMAR Matthieu" userId="a28de245-dc05-4206-b24f-6f403ed1344a" providerId="ADAL" clId="{97AE8C35-2375-40D4-8F09-DBC209B3CDBF}" dt="2021-02-25T16:53:13.677" v="4705" actId="1076"/>
          <ac:graphicFrameMkLst>
            <pc:docMk/>
            <pc:sldMk cId="1436360357" sldId="483"/>
            <ac:graphicFrameMk id="19" creationId="{FF023A04-446F-4AB7-A9AD-6D3431E90E9F}"/>
          </ac:graphicFrameMkLst>
        </pc:graphicFrameChg>
        <pc:picChg chg="del">
          <ac:chgData name="MOUAMMAR Matthieu" userId="a28de245-dc05-4206-b24f-6f403ed1344a" providerId="ADAL" clId="{97AE8C35-2375-40D4-8F09-DBC209B3CDBF}" dt="2021-02-25T16:25:22.111" v="4691" actId="478"/>
          <ac:picMkLst>
            <pc:docMk/>
            <pc:sldMk cId="1436360357" sldId="483"/>
            <ac:picMk id="8" creationId="{154D400A-B2FC-499F-9A6F-8B79009CDF86}"/>
          </ac:picMkLst>
        </pc:picChg>
        <pc:picChg chg="add del mod">
          <ac:chgData name="MOUAMMAR Matthieu" userId="a28de245-dc05-4206-b24f-6f403ed1344a" providerId="ADAL" clId="{97AE8C35-2375-40D4-8F09-DBC209B3CDBF}" dt="2021-02-25T16:26:25.312" v="4694"/>
          <ac:picMkLst>
            <pc:docMk/>
            <pc:sldMk cId="1436360357" sldId="483"/>
            <ac:picMk id="11" creationId="{453A33ED-7A95-4DFC-BC0E-56BD78D38DC6}"/>
          </ac:picMkLst>
        </pc:picChg>
        <pc:picChg chg="add del mod">
          <ac:chgData name="MOUAMMAR Matthieu" userId="a28de245-dc05-4206-b24f-6f403ed1344a" providerId="ADAL" clId="{97AE8C35-2375-40D4-8F09-DBC209B3CDBF}" dt="2021-02-25T16:26:25.312" v="4694"/>
          <ac:picMkLst>
            <pc:docMk/>
            <pc:sldMk cId="1436360357" sldId="483"/>
            <ac:picMk id="12" creationId="{48947F14-DE90-4C04-9B93-2E74E0DE680D}"/>
          </ac:picMkLst>
        </pc:picChg>
        <pc:picChg chg="add del mod">
          <ac:chgData name="MOUAMMAR Matthieu" userId="a28de245-dc05-4206-b24f-6f403ed1344a" providerId="ADAL" clId="{97AE8C35-2375-40D4-8F09-DBC209B3CDBF}" dt="2021-02-25T16:26:25.312" v="4694"/>
          <ac:picMkLst>
            <pc:docMk/>
            <pc:sldMk cId="1436360357" sldId="483"/>
            <ac:picMk id="13" creationId="{F9E253C7-EB39-4304-A764-25B7E35568ED}"/>
          </ac:picMkLst>
        </pc:picChg>
        <pc:picChg chg="add mod">
          <ac:chgData name="MOUAMMAR Matthieu" userId="a28de245-dc05-4206-b24f-6f403ed1344a" providerId="ADAL" clId="{97AE8C35-2375-40D4-8F09-DBC209B3CDBF}" dt="2021-02-25T16:53:09.794" v="4703" actId="164"/>
          <ac:picMkLst>
            <pc:docMk/>
            <pc:sldMk cId="1436360357" sldId="483"/>
            <ac:picMk id="20" creationId="{1EB9A97B-458A-4F48-A9E6-89D0C546B282}"/>
          </ac:picMkLst>
        </pc:picChg>
        <pc:picChg chg="add mod">
          <ac:chgData name="MOUAMMAR Matthieu" userId="a28de245-dc05-4206-b24f-6f403ed1344a" providerId="ADAL" clId="{97AE8C35-2375-40D4-8F09-DBC209B3CDBF}" dt="2021-02-25T16:53:09.794" v="4703" actId="164"/>
          <ac:picMkLst>
            <pc:docMk/>
            <pc:sldMk cId="1436360357" sldId="483"/>
            <ac:picMk id="21" creationId="{E4906845-53F9-465F-A85C-B1959FE0B64F}"/>
          </ac:picMkLst>
        </pc:picChg>
        <pc:picChg chg="add mod">
          <ac:chgData name="MOUAMMAR Matthieu" userId="a28de245-dc05-4206-b24f-6f403ed1344a" providerId="ADAL" clId="{97AE8C35-2375-40D4-8F09-DBC209B3CDBF}" dt="2021-02-25T16:53:09.794" v="4703" actId="164"/>
          <ac:picMkLst>
            <pc:docMk/>
            <pc:sldMk cId="1436360357" sldId="483"/>
            <ac:picMk id="22" creationId="{17C05163-7F37-4433-8EA5-06F61E97A499}"/>
          </ac:picMkLst>
        </pc:picChg>
        <pc:cxnChg chg="add del mod">
          <ac:chgData name="MOUAMMAR Matthieu" userId="a28de245-dc05-4206-b24f-6f403ed1344a" providerId="ADAL" clId="{97AE8C35-2375-40D4-8F09-DBC209B3CDBF}" dt="2021-02-25T16:26:25.312" v="4694"/>
          <ac:cxnSpMkLst>
            <pc:docMk/>
            <pc:sldMk cId="1436360357" sldId="483"/>
            <ac:cxnSpMk id="16" creationId="{BF201292-4A81-4B89-A126-6DE73AD88F34}"/>
          </ac:cxnSpMkLst>
        </pc:cxnChg>
        <pc:cxnChg chg="add del mod">
          <ac:chgData name="MOUAMMAR Matthieu" userId="a28de245-dc05-4206-b24f-6f403ed1344a" providerId="ADAL" clId="{97AE8C35-2375-40D4-8F09-DBC209B3CDBF}" dt="2021-02-25T16:26:25.312" v="4694"/>
          <ac:cxnSpMkLst>
            <pc:docMk/>
            <pc:sldMk cId="1436360357" sldId="483"/>
            <ac:cxnSpMk id="17" creationId="{3548CBAC-F82B-4D62-A4A2-4765883280C2}"/>
          </ac:cxnSpMkLst>
        </pc:cxnChg>
        <pc:cxnChg chg="add mod">
          <ac:chgData name="MOUAMMAR Matthieu" userId="a28de245-dc05-4206-b24f-6f403ed1344a" providerId="ADAL" clId="{97AE8C35-2375-40D4-8F09-DBC209B3CDBF}" dt="2021-02-25T16:53:46.790" v="4710" actId="1076"/>
          <ac:cxnSpMkLst>
            <pc:docMk/>
            <pc:sldMk cId="1436360357" sldId="483"/>
            <ac:cxnSpMk id="25" creationId="{48DEAFE3-90D2-4640-8645-15CED84FCA4E}"/>
          </ac:cxnSpMkLst>
        </pc:cxnChg>
        <pc:cxnChg chg="add mod">
          <ac:chgData name="MOUAMMAR Matthieu" userId="a28de245-dc05-4206-b24f-6f403ed1344a" providerId="ADAL" clId="{97AE8C35-2375-40D4-8F09-DBC209B3CDBF}" dt="2021-02-25T16:53:46.790" v="4710" actId="1076"/>
          <ac:cxnSpMkLst>
            <pc:docMk/>
            <pc:sldMk cId="1436360357" sldId="483"/>
            <ac:cxnSpMk id="26" creationId="{92F6FBC8-DD17-463D-B6F4-AE4E1FB5EEBC}"/>
          </ac:cxnSpMkLst>
        </pc:cxnChg>
      </pc:sldChg>
      <pc:sldChg chg="addSp delSp modSp add mod">
        <pc:chgData name="MOUAMMAR Matthieu" userId="a28de245-dc05-4206-b24f-6f403ed1344a" providerId="ADAL" clId="{97AE8C35-2375-40D4-8F09-DBC209B3CDBF}" dt="2021-03-07T14:24:08.387" v="8043" actId="20577"/>
        <pc:sldMkLst>
          <pc:docMk/>
          <pc:sldMk cId="67808606" sldId="484"/>
        </pc:sldMkLst>
        <pc:spChg chg="mod">
          <ac:chgData name="MOUAMMAR Matthieu" userId="a28de245-dc05-4206-b24f-6f403ed1344a" providerId="ADAL" clId="{97AE8C35-2375-40D4-8F09-DBC209B3CDBF}" dt="2021-02-25T16:54:13.892" v="4749" actId="20577"/>
          <ac:spMkLst>
            <pc:docMk/>
            <pc:sldMk cId="67808606" sldId="484"/>
            <ac:spMk id="5" creationId="{00000000-0000-0000-0000-000000000000}"/>
          </ac:spMkLst>
        </pc:spChg>
        <pc:spChg chg="mod">
          <ac:chgData name="MOUAMMAR Matthieu" userId="a28de245-dc05-4206-b24f-6f403ed1344a" providerId="ADAL" clId="{97AE8C35-2375-40D4-8F09-DBC209B3CDBF}" dt="2021-03-03T15:49:20.069" v="4983"/>
          <ac:spMkLst>
            <pc:docMk/>
            <pc:sldMk cId="67808606" sldId="484"/>
            <ac:spMk id="6" creationId="{00000000-0000-0000-0000-000000000000}"/>
          </ac:spMkLst>
        </pc:spChg>
        <pc:spChg chg="del">
          <ac:chgData name="MOUAMMAR Matthieu" userId="a28de245-dc05-4206-b24f-6f403ed1344a" providerId="ADAL" clId="{97AE8C35-2375-40D4-8F09-DBC209B3CDBF}" dt="2021-02-25T16:54:21.456" v="4752" actId="478"/>
          <ac:spMkLst>
            <pc:docMk/>
            <pc:sldMk cId="67808606" sldId="484"/>
            <ac:spMk id="7" creationId="{F7460B39-0051-432C-8587-28B99120ABB5}"/>
          </ac:spMkLst>
        </pc:spChg>
        <pc:spChg chg="add del mod">
          <ac:chgData name="MOUAMMAR Matthieu" userId="a28de245-dc05-4206-b24f-6f403ed1344a" providerId="ADAL" clId="{97AE8C35-2375-40D4-8F09-DBC209B3CDBF}" dt="2021-02-25T16:54:27.524" v="4754" actId="478"/>
          <ac:spMkLst>
            <pc:docMk/>
            <pc:sldMk cId="67808606" sldId="484"/>
            <ac:spMk id="9" creationId="{43643E2D-10E1-4406-A52D-EDC283ABF5F0}"/>
          </ac:spMkLst>
        </pc:spChg>
        <pc:spChg chg="add del mod">
          <ac:chgData name="MOUAMMAR Matthieu" userId="a28de245-dc05-4206-b24f-6f403ed1344a" providerId="ADAL" clId="{97AE8C35-2375-40D4-8F09-DBC209B3CDBF}" dt="2021-02-25T16:54:19.533" v="4751"/>
          <ac:spMkLst>
            <pc:docMk/>
            <pc:sldMk cId="67808606" sldId="484"/>
            <ac:spMk id="17" creationId="{3C428183-2B9D-45BB-986E-D06B7EAF135D}"/>
          </ac:spMkLst>
        </pc:spChg>
        <pc:spChg chg="del">
          <ac:chgData name="MOUAMMAR Matthieu" userId="a28de245-dc05-4206-b24f-6f403ed1344a" providerId="ADAL" clId="{97AE8C35-2375-40D4-8F09-DBC209B3CDBF}" dt="2021-02-25T16:54:24.828" v="4753" actId="478"/>
          <ac:spMkLst>
            <pc:docMk/>
            <pc:sldMk cId="67808606" sldId="484"/>
            <ac:spMk id="23" creationId="{2A6DB73E-CF13-4E7F-A16D-3A0A29014447}"/>
          </ac:spMkLst>
        </pc:spChg>
        <pc:spChg chg="del">
          <ac:chgData name="MOUAMMAR Matthieu" userId="a28de245-dc05-4206-b24f-6f403ed1344a" providerId="ADAL" clId="{97AE8C35-2375-40D4-8F09-DBC209B3CDBF}" dt="2021-02-25T16:54:24.828" v="4753" actId="478"/>
          <ac:spMkLst>
            <pc:docMk/>
            <pc:sldMk cId="67808606" sldId="484"/>
            <ac:spMk id="24" creationId="{8A669A66-0C69-448A-9F71-1FAECE0635B0}"/>
          </ac:spMkLst>
        </pc:spChg>
        <pc:spChg chg="del">
          <ac:chgData name="MOUAMMAR Matthieu" userId="a28de245-dc05-4206-b24f-6f403ed1344a" providerId="ADAL" clId="{97AE8C35-2375-40D4-8F09-DBC209B3CDBF}" dt="2021-02-25T16:54:24.828" v="4753" actId="478"/>
          <ac:spMkLst>
            <pc:docMk/>
            <pc:sldMk cId="67808606" sldId="484"/>
            <ac:spMk id="27" creationId="{270299E6-0002-45C1-B03E-A343DAD6406F}"/>
          </ac:spMkLst>
        </pc:spChg>
        <pc:spChg chg="add del mod">
          <ac:chgData name="MOUAMMAR Matthieu" userId="a28de245-dc05-4206-b24f-6f403ed1344a" providerId="ADAL" clId="{97AE8C35-2375-40D4-8F09-DBC209B3CDBF}" dt="2021-02-25T16:54:19.533" v="4751"/>
          <ac:spMkLst>
            <pc:docMk/>
            <pc:sldMk cId="67808606" sldId="484"/>
            <ac:spMk id="32" creationId="{7627FF81-DB7B-425E-8D73-EA34AAE048BA}"/>
          </ac:spMkLst>
        </pc:spChg>
        <pc:spChg chg="add del mod">
          <ac:chgData name="MOUAMMAR Matthieu" userId="a28de245-dc05-4206-b24f-6f403ed1344a" providerId="ADAL" clId="{97AE8C35-2375-40D4-8F09-DBC209B3CDBF}" dt="2021-02-25T16:54:19.533" v="4751"/>
          <ac:spMkLst>
            <pc:docMk/>
            <pc:sldMk cId="67808606" sldId="484"/>
            <ac:spMk id="33" creationId="{2F02A08B-FE85-458C-8D25-6F8AD9470F9F}"/>
          </ac:spMkLst>
        </pc:spChg>
        <pc:spChg chg="add del mod">
          <ac:chgData name="MOUAMMAR Matthieu" userId="a28de245-dc05-4206-b24f-6f403ed1344a" providerId="ADAL" clId="{97AE8C35-2375-40D4-8F09-DBC209B3CDBF}" dt="2021-02-25T16:54:19.533" v="4751"/>
          <ac:spMkLst>
            <pc:docMk/>
            <pc:sldMk cId="67808606" sldId="484"/>
            <ac:spMk id="34" creationId="{29CFB03A-A7A6-4095-AC9F-A87D7566C422}"/>
          </ac:spMkLst>
        </pc:spChg>
        <pc:spChg chg="add del mod">
          <ac:chgData name="MOUAMMAR Matthieu" userId="a28de245-dc05-4206-b24f-6f403ed1344a" providerId="ADAL" clId="{97AE8C35-2375-40D4-8F09-DBC209B3CDBF}" dt="2021-02-25T16:54:19.533" v="4751"/>
          <ac:spMkLst>
            <pc:docMk/>
            <pc:sldMk cId="67808606" sldId="484"/>
            <ac:spMk id="35" creationId="{A8011DA9-E84C-4F69-B1D6-82E27E84D471}"/>
          </ac:spMkLst>
        </pc:spChg>
        <pc:spChg chg="add mod">
          <ac:chgData name="MOUAMMAR Matthieu" userId="a28de245-dc05-4206-b24f-6f403ed1344a" providerId="ADAL" clId="{97AE8C35-2375-40D4-8F09-DBC209B3CDBF}" dt="2021-02-25T16:54:33.020" v="4756" actId="1076"/>
          <ac:spMkLst>
            <pc:docMk/>
            <pc:sldMk cId="67808606" sldId="484"/>
            <ac:spMk id="41" creationId="{4D732C4D-392A-453A-ACA9-150DB50B885D}"/>
          </ac:spMkLst>
        </pc:spChg>
        <pc:spChg chg="add mod">
          <ac:chgData name="MOUAMMAR Matthieu" userId="a28de245-dc05-4206-b24f-6f403ed1344a" providerId="ADAL" clId="{97AE8C35-2375-40D4-8F09-DBC209B3CDBF}" dt="2021-02-25T16:54:33.020" v="4756" actId="1076"/>
          <ac:spMkLst>
            <pc:docMk/>
            <pc:sldMk cId="67808606" sldId="484"/>
            <ac:spMk id="47" creationId="{142FD300-5C57-4AD0-BF4B-918059E2AAF5}"/>
          </ac:spMkLst>
        </pc:spChg>
        <pc:spChg chg="add mod">
          <ac:chgData name="MOUAMMAR Matthieu" userId="a28de245-dc05-4206-b24f-6f403ed1344a" providerId="ADAL" clId="{97AE8C35-2375-40D4-8F09-DBC209B3CDBF}" dt="2021-02-25T16:54:33.020" v="4756" actId="1076"/>
          <ac:spMkLst>
            <pc:docMk/>
            <pc:sldMk cId="67808606" sldId="484"/>
            <ac:spMk id="48" creationId="{14379B58-8F88-4E4E-ACE7-C1AE1E01317C}"/>
          </ac:spMkLst>
        </pc:spChg>
        <pc:spChg chg="add mod">
          <ac:chgData name="MOUAMMAR Matthieu" userId="a28de245-dc05-4206-b24f-6f403ed1344a" providerId="ADAL" clId="{97AE8C35-2375-40D4-8F09-DBC209B3CDBF}" dt="2021-02-25T16:54:33.020" v="4756" actId="1076"/>
          <ac:spMkLst>
            <pc:docMk/>
            <pc:sldMk cId="67808606" sldId="484"/>
            <ac:spMk id="49" creationId="{E879438D-7FC2-4C8F-BA69-E2C9CDCE3C3E}"/>
          </ac:spMkLst>
        </pc:spChg>
        <pc:spChg chg="add mod">
          <ac:chgData name="MOUAMMAR Matthieu" userId="a28de245-dc05-4206-b24f-6f403ed1344a" providerId="ADAL" clId="{97AE8C35-2375-40D4-8F09-DBC209B3CDBF}" dt="2021-03-07T14:24:08.387" v="8043" actId="20577"/>
          <ac:spMkLst>
            <pc:docMk/>
            <pc:sldMk cId="67808606" sldId="484"/>
            <ac:spMk id="50" creationId="{FDA34856-F0F4-4BC6-B1D9-FC517EC15707}"/>
          </ac:spMkLst>
        </pc:spChg>
        <pc:grpChg chg="del">
          <ac:chgData name="MOUAMMAR Matthieu" userId="a28de245-dc05-4206-b24f-6f403ed1344a" providerId="ADAL" clId="{97AE8C35-2375-40D4-8F09-DBC209B3CDBF}" dt="2021-02-25T16:54:24.828" v="4753" actId="478"/>
          <ac:grpSpMkLst>
            <pc:docMk/>
            <pc:sldMk cId="67808606" sldId="484"/>
            <ac:grpSpMk id="2" creationId="{A9058839-2ABA-4380-88A9-C96D5D733C02}"/>
          </ac:grpSpMkLst>
        </pc:grpChg>
        <pc:picChg chg="add del mod">
          <ac:chgData name="MOUAMMAR Matthieu" userId="a28de245-dc05-4206-b24f-6f403ed1344a" providerId="ADAL" clId="{97AE8C35-2375-40D4-8F09-DBC209B3CDBF}" dt="2021-02-25T16:54:19.533" v="4751"/>
          <ac:picMkLst>
            <pc:docMk/>
            <pc:sldMk cId="67808606" sldId="484"/>
            <ac:picMk id="18" creationId="{A44DAD0E-158A-4E0A-822F-D5FCCD801EF2}"/>
          </ac:picMkLst>
        </pc:picChg>
        <pc:picChg chg="add del mod">
          <ac:chgData name="MOUAMMAR Matthieu" userId="a28de245-dc05-4206-b24f-6f403ed1344a" providerId="ADAL" clId="{97AE8C35-2375-40D4-8F09-DBC209B3CDBF}" dt="2021-02-25T16:54:19.533" v="4751"/>
          <ac:picMkLst>
            <pc:docMk/>
            <pc:sldMk cId="67808606" sldId="484"/>
            <ac:picMk id="28" creationId="{D9C0BCD9-19C4-480E-AB13-825A163120E6}"/>
          </ac:picMkLst>
        </pc:picChg>
        <pc:picChg chg="add del mod">
          <ac:chgData name="MOUAMMAR Matthieu" userId="a28de245-dc05-4206-b24f-6f403ed1344a" providerId="ADAL" clId="{97AE8C35-2375-40D4-8F09-DBC209B3CDBF}" dt="2021-02-25T16:54:19.533" v="4751"/>
          <ac:picMkLst>
            <pc:docMk/>
            <pc:sldMk cId="67808606" sldId="484"/>
            <ac:picMk id="29" creationId="{18374B2A-6CA8-41F5-A4A0-9D780F2372B2}"/>
          </ac:picMkLst>
        </pc:picChg>
        <pc:picChg chg="add del mod">
          <ac:chgData name="MOUAMMAR Matthieu" userId="a28de245-dc05-4206-b24f-6f403ed1344a" providerId="ADAL" clId="{97AE8C35-2375-40D4-8F09-DBC209B3CDBF}" dt="2021-02-25T16:54:19.533" v="4751"/>
          <ac:picMkLst>
            <pc:docMk/>
            <pc:sldMk cId="67808606" sldId="484"/>
            <ac:picMk id="30" creationId="{6C8F8B07-D436-4460-821B-6BB88CB4EB2A}"/>
          </ac:picMkLst>
        </pc:picChg>
        <pc:picChg chg="add del mod">
          <ac:chgData name="MOUAMMAR Matthieu" userId="a28de245-dc05-4206-b24f-6f403ed1344a" providerId="ADAL" clId="{97AE8C35-2375-40D4-8F09-DBC209B3CDBF}" dt="2021-02-25T16:54:19.533" v="4751"/>
          <ac:picMkLst>
            <pc:docMk/>
            <pc:sldMk cId="67808606" sldId="484"/>
            <ac:picMk id="31" creationId="{665B2879-A0E3-4465-B8B5-E034E694E81E}"/>
          </ac:picMkLst>
        </pc:picChg>
        <pc:picChg chg="add mod">
          <ac:chgData name="MOUAMMAR Matthieu" userId="a28de245-dc05-4206-b24f-6f403ed1344a" providerId="ADAL" clId="{97AE8C35-2375-40D4-8F09-DBC209B3CDBF}" dt="2021-02-25T16:54:33.020" v="4756" actId="1076"/>
          <ac:picMkLst>
            <pc:docMk/>
            <pc:sldMk cId="67808606" sldId="484"/>
            <ac:picMk id="42" creationId="{EA7C0957-5713-41E9-8B5F-7ED152C961F5}"/>
          </ac:picMkLst>
        </pc:picChg>
        <pc:picChg chg="add mod">
          <ac:chgData name="MOUAMMAR Matthieu" userId="a28de245-dc05-4206-b24f-6f403ed1344a" providerId="ADAL" clId="{97AE8C35-2375-40D4-8F09-DBC209B3CDBF}" dt="2021-02-25T16:54:33.020" v="4756" actId="1076"/>
          <ac:picMkLst>
            <pc:docMk/>
            <pc:sldMk cId="67808606" sldId="484"/>
            <ac:picMk id="43" creationId="{0478C9B6-FE7F-407D-8280-3DD2A1255D5C}"/>
          </ac:picMkLst>
        </pc:picChg>
        <pc:picChg chg="add mod">
          <ac:chgData name="MOUAMMAR Matthieu" userId="a28de245-dc05-4206-b24f-6f403ed1344a" providerId="ADAL" clId="{97AE8C35-2375-40D4-8F09-DBC209B3CDBF}" dt="2021-02-25T16:54:33.020" v="4756" actId="1076"/>
          <ac:picMkLst>
            <pc:docMk/>
            <pc:sldMk cId="67808606" sldId="484"/>
            <ac:picMk id="44" creationId="{CFA4C295-C215-4B0C-993D-FF200555B8F3}"/>
          </ac:picMkLst>
        </pc:picChg>
        <pc:picChg chg="add mod">
          <ac:chgData name="MOUAMMAR Matthieu" userId="a28de245-dc05-4206-b24f-6f403ed1344a" providerId="ADAL" clId="{97AE8C35-2375-40D4-8F09-DBC209B3CDBF}" dt="2021-02-25T16:54:33.020" v="4756" actId="1076"/>
          <ac:picMkLst>
            <pc:docMk/>
            <pc:sldMk cId="67808606" sldId="484"/>
            <ac:picMk id="45" creationId="{09DD3834-154E-4FFE-BA44-BE03AC5B637E}"/>
          </ac:picMkLst>
        </pc:picChg>
        <pc:picChg chg="add mod">
          <ac:chgData name="MOUAMMAR Matthieu" userId="a28de245-dc05-4206-b24f-6f403ed1344a" providerId="ADAL" clId="{97AE8C35-2375-40D4-8F09-DBC209B3CDBF}" dt="2021-02-25T16:54:33.020" v="4756" actId="1076"/>
          <ac:picMkLst>
            <pc:docMk/>
            <pc:sldMk cId="67808606" sldId="484"/>
            <ac:picMk id="46" creationId="{48630336-473A-417C-B1F1-2A5761990678}"/>
          </ac:picMkLst>
        </pc:picChg>
        <pc:cxnChg chg="del">
          <ac:chgData name="MOUAMMAR Matthieu" userId="a28de245-dc05-4206-b24f-6f403ed1344a" providerId="ADAL" clId="{97AE8C35-2375-40D4-8F09-DBC209B3CDBF}" dt="2021-02-25T16:54:24.828" v="4753" actId="478"/>
          <ac:cxnSpMkLst>
            <pc:docMk/>
            <pc:sldMk cId="67808606" sldId="484"/>
            <ac:cxnSpMk id="25" creationId="{48DEAFE3-90D2-4640-8645-15CED84FCA4E}"/>
          </ac:cxnSpMkLst>
        </pc:cxnChg>
        <pc:cxnChg chg="del">
          <ac:chgData name="MOUAMMAR Matthieu" userId="a28de245-dc05-4206-b24f-6f403ed1344a" providerId="ADAL" clId="{97AE8C35-2375-40D4-8F09-DBC209B3CDBF}" dt="2021-02-25T16:54:24.828" v="4753" actId="478"/>
          <ac:cxnSpMkLst>
            <pc:docMk/>
            <pc:sldMk cId="67808606" sldId="484"/>
            <ac:cxnSpMk id="26" creationId="{92F6FBC8-DD17-463D-B6F4-AE4E1FB5EEBC}"/>
          </ac:cxnSpMkLst>
        </pc:cxnChg>
        <pc:cxnChg chg="add del mod">
          <ac:chgData name="MOUAMMAR Matthieu" userId="a28de245-dc05-4206-b24f-6f403ed1344a" providerId="ADAL" clId="{97AE8C35-2375-40D4-8F09-DBC209B3CDBF}" dt="2021-02-25T16:54:19.533" v="4751"/>
          <ac:cxnSpMkLst>
            <pc:docMk/>
            <pc:sldMk cId="67808606" sldId="484"/>
            <ac:cxnSpMk id="36" creationId="{112D4019-C201-4A08-82D5-DB83025F513A}"/>
          </ac:cxnSpMkLst>
        </pc:cxnChg>
        <pc:cxnChg chg="add del mod">
          <ac:chgData name="MOUAMMAR Matthieu" userId="a28de245-dc05-4206-b24f-6f403ed1344a" providerId="ADAL" clId="{97AE8C35-2375-40D4-8F09-DBC209B3CDBF}" dt="2021-02-25T16:54:19.533" v="4751"/>
          <ac:cxnSpMkLst>
            <pc:docMk/>
            <pc:sldMk cId="67808606" sldId="484"/>
            <ac:cxnSpMk id="37" creationId="{162F3ADE-5D36-49E8-B059-AED9C960EC7D}"/>
          </ac:cxnSpMkLst>
        </pc:cxnChg>
        <pc:cxnChg chg="add del mod">
          <ac:chgData name="MOUAMMAR Matthieu" userId="a28de245-dc05-4206-b24f-6f403ed1344a" providerId="ADAL" clId="{97AE8C35-2375-40D4-8F09-DBC209B3CDBF}" dt="2021-02-25T16:54:19.533" v="4751"/>
          <ac:cxnSpMkLst>
            <pc:docMk/>
            <pc:sldMk cId="67808606" sldId="484"/>
            <ac:cxnSpMk id="38" creationId="{89202F9F-FC19-4ABE-A99A-8A20AB9478B7}"/>
          </ac:cxnSpMkLst>
        </pc:cxnChg>
        <pc:cxnChg chg="add del mod">
          <ac:chgData name="MOUAMMAR Matthieu" userId="a28de245-dc05-4206-b24f-6f403ed1344a" providerId="ADAL" clId="{97AE8C35-2375-40D4-8F09-DBC209B3CDBF}" dt="2021-02-25T16:54:19.533" v="4751"/>
          <ac:cxnSpMkLst>
            <pc:docMk/>
            <pc:sldMk cId="67808606" sldId="484"/>
            <ac:cxnSpMk id="39" creationId="{5039FA91-5A70-49D8-B795-B1F6528BE6D7}"/>
          </ac:cxnSpMkLst>
        </pc:cxnChg>
        <pc:cxnChg chg="add del mod">
          <ac:chgData name="MOUAMMAR Matthieu" userId="a28de245-dc05-4206-b24f-6f403ed1344a" providerId="ADAL" clId="{97AE8C35-2375-40D4-8F09-DBC209B3CDBF}" dt="2021-02-25T16:54:19.533" v="4751"/>
          <ac:cxnSpMkLst>
            <pc:docMk/>
            <pc:sldMk cId="67808606" sldId="484"/>
            <ac:cxnSpMk id="40" creationId="{F96D19B9-DA58-4AFD-BBDA-7D60979FCFB3}"/>
          </ac:cxnSpMkLst>
        </pc:cxnChg>
        <pc:cxnChg chg="add mod">
          <ac:chgData name="MOUAMMAR Matthieu" userId="a28de245-dc05-4206-b24f-6f403ed1344a" providerId="ADAL" clId="{97AE8C35-2375-40D4-8F09-DBC209B3CDBF}" dt="2021-02-25T16:54:33.020" v="4756" actId="1076"/>
          <ac:cxnSpMkLst>
            <pc:docMk/>
            <pc:sldMk cId="67808606" sldId="484"/>
            <ac:cxnSpMk id="51" creationId="{0805D82D-2217-4972-8641-275F34FE967C}"/>
          </ac:cxnSpMkLst>
        </pc:cxnChg>
        <pc:cxnChg chg="add mod">
          <ac:chgData name="MOUAMMAR Matthieu" userId="a28de245-dc05-4206-b24f-6f403ed1344a" providerId="ADAL" clId="{97AE8C35-2375-40D4-8F09-DBC209B3CDBF}" dt="2021-02-25T16:54:33.020" v="4756" actId="1076"/>
          <ac:cxnSpMkLst>
            <pc:docMk/>
            <pc:sldMk cId="67808606" sldId="484"/>
            <ac:cxnSpMk id="52" creationId="{01822D63-5B22-4400-A571-806E2B5C0285}"/>
          </ac:cxnSpMkLst>
        </pc:cxnChg>
        <pc:cxnChg chg="add mod">
          <ac:chgData name="MOUAMMAR Matthieu" userId="a28de245-dc05-4206-b24f-6f403ed1344a" providerId="ADAL" clId="{97AE8C35-2375-40D4-8F09-DBC209B3CDBF}" dt="2021-02-25T16:54:33.020" v="4756" actId="1076"/>
          <ac:cxnSpMkLst>
            <pc:docMk/>
            <pc:sldMk cId="67808606" sldId="484"/>
            <ac:cxnSpMk id="53" creationId="{FC7A3CDD-670F-401D-A05A-44DE6EC879C7}"/>
          </ac:cxnSpMkLst>
        </pc:cxnChg>
        <pc:cxnChg chg="add mod">
          <ac:chgData name="MOUAMMAR Matthieu" userId="a28de245-dc05-4206-b24f-6f403ed1344a" providerId="ADAL" clId="{97AE8C35-2375-40D4-8F09-DBC209B3CDBF}" dt="2021-02-25T16:54:33.020" v="4756" actId="1076"/>
          <ac:cxnSpMkLst>
            <pc:docMk/>
            <pc:sldMk cId="67808606" sldId="484"/>
            <ac:cxnSpMk id="54" creationId="{201486E4-DFCD-4D3D-9E3C-84B74E148AD5}"/>
          </ac:cxnSpMkLst>
        </pc:cxnChg>
        <pc:cxnChg chg="add mod">
          <ac:chgData name="MOUAMMAR Matthieu" userId="a28de245-dc05-4206-b24f-6f403ed1344a" providerId="ADAL" clId="{97AE8C35-2375-40D4-8F09-DBC209B3CDBF}" dt="2021-02-25T16:54:33.020" v="4756" actId="1076"/>
          <ac:cxnSpMkLst>
            <pc:docMk/>
            <pc:sldMk cId="67808606" sldId="484"/>
            <ac:cxnSpMk id="55" creationId="{8285CBBC-338F-46F8-81C5-6498A154C7BD}"/>
          </ac:cxnSpMkLst>
        </pc:cxnChg>
      </pc:sldChg>
      <pc:sldChg chg="addSp delSp modSp add mod">
        <pc:chgData name="MOUAMMAR Matthieu" userId="a28de245-dc05-4206-b24f-6f403ed1344a" providerId="ADAL" clId="{97AE8C35-2375-40D4-8F09-DBC209B3CDBF}" dt="2021-03-07T14:25:10.351" v="8046" actId="20577"/>
        <pc:sldMkLst>
          <pc:docMk/>
          <pc:sldMk cId="424006232" sldId="485"/>
        </pc:sldMkLst>
        <pc:spChg chg="mod">
          <ac:chgData name="MOUAMMAR Matthieu" userId="a28de245-dc05-4206-b24f-6f403ed1344a" providerId="ADAL" clId="{97AE8C35-2375-40D4-8F09-DBC209B3CDBF}" dt="2021-03-03T14:57:11.105" v="4771" actId="20577"/>
          <ac:spMkLst>
            <pc:docMk/>
            <pc:sldMk cId="424006232" sldId="485"/>
            <ac:spMk id="5" creationId="{00000000-0000-0000-0000-000000000000}"/>
          </ac:spMkLst>
        </pc:spChg>
        <pc:spChg chg="mod">
          <ac:chgData name="MOUAMMAR Matthieu" userId="a28de245-dc05-4206-b24f-6f403ed1344a" providerId="ADAL" clId="{97AE8C35-2375-40D4-8F09-DBC209B3CDBF}" dt="2021-03-03T15:49:22.032" v="4984"/>
          <ac:spMkLst>
            <pc:docMk/>
            <pc:sldMk cId="424006232" sldId="485"/>
            <ac:spMk id="6" creationId="{00000000-0000-0000-0000-000000000000}"/>
          </ac:spMkLst>
        </pc:spChg>
        <pc:spChg chg="add del mod">
          <ac:chgData name="MOUAMMAR Matthieu" userId="a28de245-dc05-4206-b24f-6f403ed1344a" providerId="ADAL" clId="{97AE8C35-2375-40D4-8F09-DBC209B3CDBF}" dt="2021-03-03T14:59:29.251" v="4786" actId="478"/>
          <ac:spMkLst>
            <pc:docMk/>
            <pc:sldMk cId="424006232" sldId="485"/>
            <ac:spMk id="22" creationId="{30F4D48C-0959-4A35-BA4A-72E97ACB30ED}"/>
          </ac:spMkLst>
        </pc:spChg>
        <pc:spChg chg="add del mod">
          <ac:chgData name="MOUAMMAR Matthieu" userId="a28de245-dc05-4206-b24f-6f403ed1344a" providerId="ADAL" clId="{97AE8C35-2375-40D4-8F09-DBC209B3CDBF}" dt="2021-03-03T14:59:31.171" v="4787" actId="478"/>
          <ac:spMkLst>
            <pc:docMk/>
            <pc:sldMk cId="424006232" sldId="485"/>
            <ac:spMk id="23" creationId="{3B174F45-0238-48CF-9A42-59A2EED7C98A}"/>
          </ac:spMkLst>
        </pc:spChg>
        <pc:spChg chg="add mod">
          <ac:chgData name="MOUAMMAR Matthieu" userId="a28de245-dc05-4206-b24f-6f403ed1344a" providerId="ADAL" clId="{97AE8C35-2375-40D4-8F09-DBC209B3CDBF}" dt="2021-03-03T15:01:55.971" v="4885" actId="1076"/>
          <ac:spMkLst>
            <pc:docMk/>
            <pc:sldMk cId="424006232" sldId="485"/>
            <ac:spMk id="24" creationId="{0345B6E3-708F-433B-84B7-075FE1F9A84E}"/>
          </ac:spMkLst>
        </pc:spChg>
        <pc:spChg chg="add del mod">
          <ac:chgData name="MOUAMMAR Matthieu" userId="a28de245-dc05-4206-b24f-6f403ed1344a" providerId="ADAL" clId="{97AE8C35-2375-40D4-8F09-DBC209B3CDBF}" dt="2021-03-03T15:02:14.370" v="4886" actId="478"/>
          <ac:spMkLst>
            <pc:docMk/>
            <pc:sldMk cId="424006232" sldId="485"/>
            <ac:spMk id="26" creationId="{D75AB692-E8D6-4465-AB17-226588472344}"/>
          </ac:spMkLst>
        </pc:spChg>
        <pc:spChg chg="add del mod">
          <ac:chgData name="MOUAMMAR Matthieu" userId="a28de245-dc05-4206-b24f-6f403ed1344a" providerId="ADAL" clId="{97AE8C35-2375-40D4-8F09-DBC209B3CDBF}" dt="2021-03-07T14:25:10.351" v="8046" actId="20577"/>
          <ac:spMkLst>
            <pc:docMk/>
            <pc:sldMk cId="424006232" sldId="485"/>
            <ac:spMk id="27" creationId="{9A07D346-A9CC-429A-9642-40453700E4C3}"/>
          </ac:spMkLst>
        </pc:spChg>
        <pc:spChg chg="add del">
          <ac:chgData name="MOUAMMAR Matthieu" userId="a28de245-dc05-4206-b24f-6f403ed1344a" providerId="ADAL" clId="{97AE8C35-2375-40D4-8F09-DBC209B3CDBF}" dt="2021-03-03T15:02:32.767" v="4888" actId="22"/>
          <ac:spMkLst>
            <pc:docMk/>
            <pc:sldMk cId="424006232" sldId="485"/>
            <ac:spMk id="29" creationId="{A1591985-33A8-4C3E-BFD4-298083D93A52}"/>
          </ac:spMkLst>
        </pc:spChg>
        <pc:spChg chg="del">
          <ac:chgData name="MOUAMMAR Matthieu" userId="a28de245-dc05-4206-b24f-6f403ed1344a" providerId="ADAL" clId="{97AE8C35-2375-40D4-8F09-DBC209B3CDBF}" dt="2021-03-03T14:57:16.132" v="4772" actId="478"/>
          <ac:spMkLst>
            <pc:docMk/>
            <pc:sldMk cId="424006232" sldId="485"/>
            <ac:spMk id="41" creationId="{4D732C4D-392A-453A-ACA9-150DB50B885D}"/>
          </ac:spMkLst>
        </pc:spChg>
        <pc:spChg chg="del">
          <ac:chgData name="MOUAMMAR Matthieu" userId="a28de245-dc05-4206-b24f-6f403ed1344a" providerId="ADAL" clId="{97AE8C35-2375-40D4-8F09-DBC209B3CDBF}" dt="2021-03-03T14:57:16.132" v="4772" actId="478"/>
          <ac:spMkLst>
            <pc:docMk/>
            <pc:sldMk cId="424006232" sldId="485"/>
            <ac:spMk id="47" creationId="{142FD300-5C57-4AD0-BF4B-918059E2AAF5}"/>
          </ac:spMkLst>
        </pc:spChg>
        <pc:spChg chg="del">
          <ac:chgData name="MOUAMMAR Matthieu" userId="a28de245-dc05-4206-b24f-6f403ed1344a" providerId="ADAL" clId="{97AE8C35-2375-40D4-8F09-DBC209B3CDBF}" dt="2021-03-03T14:57:16.132" v="4772" actId="478"/>
          <ac:spMkLst>
            <pc:docMk/>
            <pc:sldMk cId="424006232" sldId="485"/>
            <ac:spMk id="48" creationId="{14379B58-8F88-4E4E-ACE7-C1AE1E01317C}"/>
          </ac:spMkLst>
        </pc:spChg>
        <pc:spChg chg="del">
          <ac:chgData name="MOUAMMAR Matthieu" userId="a28de245-dc05-4206-b24f-6f403ed1344a" providerId="ADAL" clId="{97AE8C35-2375-40D4-8F09-DBC209B3CDBF}" dt="2021-03-03T14:57:16.132" v="4772" actId="478"/>
          <ac:spMkLst>
            <pc:docMk/>
            <pc:sldMk cId="424006232" sldId="485"/>
            <ac:spMk id="49" creationId="{E879438D-7FC2-4C8F-BA69-E2C9CDCE3C3E}"/>
          </ac:spMkLst>
        </pc:spChg>
        <pc:spChg chg="del">
          <ac:chgData name="MOUAMMAR Matthieu" userId="a28de245-dc05-4206-b24f-6f403ed1344a" providerId="ADAL" clId="{97AE8C35-2375-40D4-8F09-DBC209B3CDBF}" dt="2021-03-03T14:57:16.132" v="4772" actId="478"/>
          <ac:spMkLst>
            <pc:docMk/>
            <pc:sldMk cId="424006232" sldId="485"/>
            <ac:spMk id="50" creationId="{FDA34856-F0F4-4BC6-B1D9-FC517EC15707}"/>
          </ac:spMkLst>
        </pc:spChg>
        <pc:picChg chg="add mod">
          <ac:chgData name="MOUAMMAR Matthieu" userId="a28de245-dc05-4206-b24f-6f403ed1344a" providerId="ADAL" clId="{97AE8C35-2375-40D4-8F09-DBC209B3CDBF}" dt="2021-03-03T15:00:25.985" v="4812" actId="1076"/>
          <ac:picMkLst>
            <pc:docMk/>
            <pc:sldMk cId="424006232" sldId="485"/>
            <ac:picMk id="21" creationId="{9D75F1D7-80CA-49E0-B346-447C0DD46C87}"/>
          </ac:picMkLst>
        </pc:picChg>
        <pc:picChg chg="del">
          <ac:chgData name="MOUAMMAR Matthieu" userId="a28de245-dc05-4206-b24f-6f403ed1344a" providerId="ADAL" clId="{97AE8C35-2375-40D4-8F09-DBC209B3CDBF}" dt="2021-03-03T14:57:16.132" v="4772" actId="478"/>
          <ac:picMkLst>
            <pc:docMk/>
            <pc:sldMk cId="424006232" sldId="485"/>
            <ac:picMk id="42" creationId="{EA7C0957-5713-41E9-8B5F-7ED152C961F5}"/>
          </ac:picMkLst>
        </pc:picChg>
        <pc:picChg chg="del">
          <ac:chgData name="MOUAMMAR Matthieu" userId="a28de245-dc05-4206-b24f-6f403ed1344a" providerId="ADAL" clId="{97AE8C35-2375-40D4-8F09-DBC209B3CDBF}" dt="2021-03-03T14:57:16.132" v="4772" actId="478"/>
          <ac:picMkLst>
            <pc:docMk/>
            <pc:sldMk cId="424006232" sldId="485"/>
            <ac:picMk id="43" creationId="{0478C9B6-FE7F-407D-8280-3DD2A1255D5C}"/>
          </ac:picMkLst>
        </pc:picChg>
        <pc:picChg chg="del">
          <ac:chgData name="MOUAMMAR Matthieu" userId="a28de245-dc05-4206-b24f-6f403ed1344a" providerId="ADAL" clId="{97AE8C35-2375-40D4-8F09-DBC209B3CDBF}" dt="2021-03-03T14:57:16.132" v="4772" actId="478"/>
          <ac:picMkLst>
            <pc:docMk/>
            <pc:sldMk cId="424006232" sldId="485"/>
            <ac:picMk id="44" creationId="{CFA4C295-C215-4B0C-993D-FF200555B8F3}"/>
          </ac:picMkLst>
        </pc:picChg>
        <pc:picChg chg="del">
          <ac:chgData name="MOUAMMAR Matthieu" userId="a28de245-dc05-4206-b24f-6f403ed1344a" providerId="ADAL" clId="{97AE8C35-2375-40D4-8F09-DBC209B3CDBF}" dt="2021-03-03T14:57:16.132" v="4772" actId="478"/>
          <ac:picMkLst>
            <pc:docMk/>
            <pc:sldMk cId="424006232" sldId="485"/>
            <ac:picMk id="45" creationId="{09DD3834-154E-4FFE-BA44-BE03AC5B637E}"/>
          </ac:picMkLst>
        </pc:picChg>
        <pc:picChg chg="del">
          <ac:chgData name="MOUAMMAR Matthieu" userId="a28de245-dc05-4206-b24f-6f403ed1344a" providerId="ADAL" clId="{97AE8C35-2375-40D4-8F09-DBC209B3CDBF}" dt="2021-03-03T14:57:16.132" v="4772" actId="478"/>
          <ac:picMkLst>
            <pc:docMk/>
            <pc:sldMk cId="424006232" sldId="485"/>
            <ac:picMk id="46" creationId="{48630336-473A-417C-B1F1-2A5761990678}"/>
          </ac:picMkLst>
        </pc:picChg>
        <pc:cxnChg chg="del">
          <ac:chgData name="MOUAMMAR Matthieu" userId="a28de245-dc05-4206-b24f-6f403ed1344a" providerId="ADAL" clId="{97AE8C35-2375-40D4-8F09-DBC209B3CDBF}" dt="2021-03-03T14:57:16.132" v="4772" actId="478"/>
          <ac:cxnSpMkLst>
            <pc:docMk/>
            <pc:sldMk cId="424006232" sldId="485"/>
            <ac:cxnSpMk id="51" creationId="{0805D82D-2217-4972-8641-275F34FE967C}"/>
          </ac:cxnSpMkLst>
        </pc:cxnChg>
        <pc:cxnChg chg="del">
          <ac:chgData name="MOUAMMAR Matthieu" userId="a28de245-dc05-4206-b24f-6f403ed1344a" providerId="ADAL" clId="{97AE8C35-2375-40D4-8F09-DBC209B3CDBF}" dt="2021-03-03T14:57:16.132" v="4772" actId="478"/>
          <ac:cxnSpMkLst>
            <pc:docMk/>
            <pc:sldMk cId="424006232" sldId="485"/>
            <ac:cxnSpMk id="52" creationId="{01822D63-5B22-4400-A571-806E2B5C0285}"/>
          </ac:cxnSpMkLst>
        </pc:cxnChg>
        <pc:cxnChg chg="del">
          <ac:chgData name="MOUAMMAR Matthieu" userId="a28de245-dc05-4206-b24f-6f403ed1344a" providerId="ADAL" clId="{97AE8C35-2375-40D4-8F09-DBC209B3CDBF}" dt="2021-03-03T14:57:16.132" v="4772" actId="478"/>
          <ac:cxnSpMkLst>
            <pc:docMk/>
            <pc:sldMk cId="424006232" sldId="485"/>
            <ac:cxnSpMk id="53" creationId="{FC7A3CDD-670F-401D-A05A-44DE6EC879C7}"/>
          </ac:cxnSpMkLst>
        </pc:cxnChg>
        <pc:cxnChg chg="del">
          <ac:chgData name="MOUAMMAR Matthieu" userId="a28de245-dc05-4206-b24f-6f403ed1344a" providerId="ADAL" clId="{97AE8C35-2375-40D4-8F09-DBC209B3CDBF}" dt="2021-03-03T14:57:16.132" v="4772" actId="478"/>
          <ac:cxnSpMkLst>
            <pc:docMk/>
            <pc:sldMk cId="424006232" sldId="485"/>
            <ac:cxnSpMk id="54" creationId="{201486E4-DFCD-4D3D-9E3C-84B74E148AD5}"/>
          </ac:cxnSpMkLst>
        </pc:cxnChg>
        <pc:cxnChg chg="del">
          <ac:chgData name="MOUAMMAR Matthieu" userId="a28de245-dc05-4206-b24f-6f403ed1344a" providerId="ADAL" clId="{97AE8C35-2375-40D4-8F09-DBC209B3CDBF}" dt="2021-03-03T14:57:16.132" v="4772" actId="478"/>
          <ac:cxnSpMkLst>
            <pc:docMk/>
            <pc:sldMk cId="424006232" sldId="485"/>
            <ac:cxnSpMk id="55" creationId="{8285CBBC-338F-46F8-81C5-6498A154C7BD}"/>
          </ac:cxnSpMkLst>
        </pc:cxnChg>
      </pc:sldChg>
      <pc:sldChg chg="addSp delSp modSp add mod">
        <pc:chgData name="MOUAMMAR Matthieu" userId="a28de245-dc05-4206-b24f-6f403ed1344a" providerId="ADAL" clId="{97AE8C35-2375-40D4-8F09-DBC209B3CDBF}" dt="2021-03-07T14:28:09.336" v="8062" actId="6549"/>
        <pc:sldMkLst>
          <pc:docMk/>
          <pc:sldMk cId="835268945" sldId="486"/>
        </pc:sldMkLst>
        <pc:spChg chg="mod">
          <ac:chgData name="MOUAMMAR Matthieu" userId="a28de245-dc05-4206-b24f-6f403ed1344a" providerId="ADAL" clId="{97AE8C35-2375-40D4-8F09-DBC209B3CDBF}" dt="2021-03-03T15:02:40.906" v="4912" actId="20577"/>
          <ac:spMkLst>
            <pc:docMk/>
            <pc:sldMk cId="835268945" sldId="486"/>
            <ac:spMk id="5" creationId="{00000000-0000-0000-0000-000000000000}"/>
          </ac:spMkLst>
        </pc:spChg>
        <pc:spChg chg="mod">
          <ac:chgData name="MOUAMMAR Matthieu" userId="a28de245-dc05-4206-b24f-6f403ed1344a" providerId="ADAL" clId="{97AE8C35-2375-40D4-8F09-DBC209B3CDBF}" dt="2021-03-03T15:49:24.668" v="4985"/>
          <ac:spMkLst>
            <pc:docMk/>
            <pc:sldMk cId="835268945" sldId="486"/>
            <ac:spMk id="6" creationId="{00000000-0000-0000-0000-000000000000}"/>
          </ac:spMkLst>
        </pc:spChg>
        <pc:spChg chg="add del mod">
          <ac:chgData name="MOUAMMAR Matthieu" userId="a28de245-dc05-4206-b24f-6f403ed1344a" providerId="ADAL" clId="{97AE8C35-2375-40D4-8F09-DBC209B3CDBF}" dt="2021-03-03T15:02:57.145" v="4916" actId="478"/>
          <ac:spMkLst>
            <pc:docMk/>
            <pc:sldMk cId="835268945" sldId="486"/>
            <ac:spMk id="7" creationId="{5AD7F6C8-E774-4CF6-B6CC-D07FFC28904C}"/>
          </ac:spMkLst>
        </pc:spChg>
        <pc:spChg chg="mod">
          <ac:chgData name="MOUAMMAR Matthieu" userId="a28de245-dc05-4206-b24f-6f403ed1344a" providerId="ADAL" clId="{97AE8C35-2375-40D4-8F09-DBC209B3CDBF}" dt="2021-03-03T15:03:59.095" v="4929" actId="14100"/>
          <ac:spMkLst>
            <pc:docMk/>
            <pc:sldMk cId="835268945" sldId="486"/>
            <ac:spMk id="12" creationId="{9AB42339-4989-4CE1-B287-66B3F9D27A40}"/>
          </ac:spMkLst>
        </pc:spChg>
        <pc:spChg chg="mod">
          <ac:chgData name="MOUAMMAR Matthieu" userId="a28de245-dc05-4206-b24f-6f403ed1344a" providerId="ADAL" clId="{97AE8C35-2375-40D4-8F09-DBC209B3CDBF}" dt="2021-03-03T15:04:05.442" v="4930" actId="1076"/>
          <ac:spMkLst>
            <pc:docMk/>
            <pc:sldMk cId="835268945" sldId="486"/>
            <ac:spMk id="13" creationId="{2AFC6153-8953-4278-9BB2-8CFA775AC6AE}"/>
          </ac:spMkLst>
        </pc:spChg>
        <pc:spChg chg="mod">
          <ac:chgData name="MOUAMMAR Matthieu" userId="a28de245-dc05-4206-b24f-6f403ed1344a" providerId="ADAL" clId="{97AE8C35-2375-40D4-8F09-DBC209B3CDBF}" dt="2021-03-03T15:03:24.309" v="4922"/>
          <ac:spMkLst>
            <pc:docMk/>
            <pc:sldMk cId="835268945" sldId="486"/>
            <ac:spMk id="14" creationId="{E0550B30-910F-4076-BAEC-FC99B37A8B3D}"/>
          </ac:spMkLst>
        </pc:spChg>
        <pc:spChg chg="mod">
          <ac:chgData name="MOUAMMAR Matthieu" userId="a28de245-dc05-4206-b24f-6f403ed1344a" providerId="ADAL" clId="{97AE8C35-2375-40D4-8F09-DBC209B3CDBF}" dt="2021-03-03T15:03:24.309" v="4922"/>
          <ac:spMkLst>
            <pc:docMk/>
            <pc:sldMk cId="835268945" sldId="486"/>
            <ac:spMk id="15" creationId="{F7BF9466-9695-4F6E-B1D0-DA77E3F13C22}"/>
          </ac:spMkLst>
        </pc:spChg>
        <pc:spChg chg="mod">
          <ac:chgData name="MOUAMMAR Matthieu" userId="a28de245-dc05-4206-b24f-6f403ed1344a" providerId="ADAL" clId="{97AE8C35-2375-40D4-8F09-DBC209B3CDBF}" dt="2021-03-03T15:03:24.309" v="4922"/>
          <ac:spMkLst>
            <pc:docMk/>
            <pc:sldMk cId="835268945" sldId="486"/>
            <ac:spMk id="16" creationId="{29B41ECD-484C-4129-977F-879D701544E2}"/>
          </ac:spMkLst>
        </pc:spChg>
        <pc:spChg chg="mod">
          <ac:chgData name="MOUAMMAR Matthieu" userId="a28de245-dc05-4206-b24f-6f403ed1344a" providerId="ADAL" clId="{97AE8C35-2375-40D4-8F09-DBC209B3CDBF}" dt="2021-03-07T14:28:06.599" v="8060" actId="6549"/>
          <ac:spMkLst>
            <pc:docMk/>
            <pc:sldMk cId="835268945" sldId="486"/>
            <ac:spMk id="17" creationId="{1E7B02D9-3917-426E-AB16-4E340687BADA}"/>
          </ac:spMkLst>
        </pc:spChg>
        <pc:spChg chg="mod">
          <ac:chgData name="MOUAMMAR Matthieu" userId="a28de245-dc05-4206-b24f-6f403ed1344a" providerId="ADAL" clId="{97AE8C35-2375-40D4-8F09-DBC209B3CDBF}" dt="2021-03-07T14:28:09.336" v="8062" actId="6549"/>
          <ac:spMkLst>
            <pc:docMk/>
            <pc:sldMk cId="835268945" sldId="486"/>
            <ac:spMk id="18" creationId="{C678C478-B241-4D48-94E4-C449C0010217}"/>
          </ac:spMkLst>
        </pc:spChg>
        <pc:spChg chg="mod">
          <ac:chgData name="MOUAMMAR Matthieu" userId="a28de245-dc05-4206-b24f-6f403ed1344a" providerId="ADAL" clId="{97AE8C35-2375-40D4-8F09-DBC209B3CDBF}" dt="2021-03-03T15:03:24.309" v="4922"/>
          <ac:spMkLst>
            <pc:docMk/>
            <pc:sldMk cId="835268945" sldId="486"/>
            <ac:spMk id="19" creationId="{309E6FCA-FE52-401A-BBFC-A43BB72FD661}"/>
          </ac:spMkLst>
        </pc:spChg>
        <pc:spChg chg="mod">
          <ac:chgData name="MOUAMMAR Matthieu" userId="a28de245-dc05-4206-b24f-6f403ed1344a" providerId="ADAL" clId="{97AE8C35-2375-40D4-8F09-DBC209B3CDBF}" dt="2021-03-03T15:03:24.309" v="4922"/>
          <ac:spMkLst>
            <pc:docMk/>
            <pc:sldMk cId="835268945" sldId="486"/>
            <ac:spMk id="20" creationId="{C7E9FA63-B5DB-4395-9C6B-CAF8B2B39C84}"/>
          </ac:spMkLst>
        </pc:spChg>
        <pc:spChg chg="mod">
          <ac:chgData name="MOUAMMAR Matthieu" userId="a28de245-dc05-4206-b24f-6f403ed1344a" providerId="ADAL" clId="{97AE8C35-2375-40D4-8F09-DBC209B3CDBF}" dt="2021-03-03T15:03:24.309" v="4922"/>
          <ac:spMkLst>
            <pc:docMk/>
            <pc:sldMk cId="835268945" sldId="486"/>
            <ac:spMk id="22" creationId="{8D2F36BB-0613-4579-98E5-3CFB3EBF6094}"/>
          </ac:spMkLst>
        </pc:spChg>
        <pc:spChg chg="mod">
          <ac:chgData name="MOUAMMAR Matthieu" userId="a28de245-dc05-4206-b24f-6f403ed1344a" providerId="ADAL" clId="{97AE8C35-2375-40D4-8F09-DBC209B3CDBF}" dt="2021-03-03T15:03:24.309" v="4922"/>
          <ac:spMkLst>
            <pc:docMk/>
            <pc:sldMk cId="835268945" sldId="486"/>
            <ac:spMk id="23" creationId="{2A0BD3EF-6D29-49D3-91BB-64887AA13352}"/>
          </ac:spMkLst>
        </pc:spChg>
        <pc:spChg chg="del">
          <ac:chgData name="MOUAMMAR Matthieu" userId="a28de245-dc05-4206-b24f-6f403ed1344a" providerId="ADAL" clId="{97AE8C35-2375-40D4-8F09-DBC209B3CDBF}" dt="2021-03-03T15:02:54.765" v="4915" actId="478"/>
          <ac:spMkLst>
            <pc:docMk/>
            <pc:sldMk cId="835268945" sldId="486"/>
            <ac:spMk id="24" creationId="{0345B6E3-708F-433B-84B7-075FE1F9A84E}"/>
          </ac:spMkLst>
        </pc:spChg>
        <pc:spChg chg="mod">
          <ac:chgData name="MOUAMMAR Matthieu" userId="a28de245-dc05-4206-b24f-6f403ed1344a" providerId="ADAL" clId="{97AE8C35-2375-40D4-8F09-DBC209B3CDBF}" dt="2021-03-03T15:03:24.309" v="4922"/>
          <ac:spMkLst>
            <pc:docMk/>
            <pc:sldMk cId="835268945" sldId="486"/>
            <ac:spMk id="25" creationId="{C648A791-EB92-4694-AC9B-69321E67918D}"/>
          </ac:spMkLst>
        </pc:spChg>
        <pc:spChg chg="mod">
          <ac:chgData name="MOUAMMAR Matthieu" userId="a28de245-dc05-4206-b24f-6f403ed1344a" providerId="ADAL" clId="{97AE8C35-2375-40D4-8F09-DBC209B3CDBF}" dt="2021-03-07T14:27:46.517" v="8058"/>
          <ac:spMkLst>
            <pc:docMk/>
            <pc:sldMk cId="835268945" sldId="486"/>
            <ac:spMk id="27" creationId="{9A07D346-A9CC-429A-9642-40453700E4C3}"/>
          </ac:spMkLst>
        </pc:spChg>
        <pc:grpChg chg="add mod">
          <ac:chgData name="MOUAMMAR Matthieu" userId="a28de245-dc05-4206-b24f-6f403ed1344a" providerId="ADAL" clId="{97AE8C35-2375-40D4-8F09-DBC209B3CDBF}" dt="2021-03-03T15:04:10.259" v="4931" actId="14100"/>
          <ac:grpSpMkLst>
            <pc:docMk/>
            <pc:sldMk cId="835268945" sldId="486"/>
            <ac:grpSpMk id="11" creationId="{89666329-6FBE-4626-9C7C-F5AB5992E1FA}"/>
          </ac:grpSpMkLst>
        </pc:grpChg>
        <pc:picChg chg="del">
          <ac:chgData name="MOUAMMAR Matthieu" userId="a28de245-dc05-4206-b24f-6f403ed1344a" providerId="ADAL" clId="{97AE8C35-2375-40D4-8F09-DBC209B3CDBF}" dt="2021-03-03T15:02:58.245" v="4917" actId="478"/>
          <ac:picMkLst>
            <pc:docMk/>
            <pc:sldMk cId="835268945" sldId="486"/>
            <ac:picMk id="21" creationId="{9D75F1D7-80CA-49E0-B346-447C0DD46C87}"/>
          </ac:picMkLst>
        </pc:picChg>
      </pc:sldChg>
      <pc:sldChg chg="addSp delSp modSp add mod modAnim">
        <pc:chgData name="MOUAMMAR Matthieu" userId="a28de245-dc05-4206-b24f-6f403ed1344a" providerId="ADAL" clId="{97AE8C35-2375-40D4-8F09-DBC209B3CDBF}" dt="2021-03-03T15:52:51.511" v="5046" actId="20577"/>
        <pc:sldMkLst>
          <pc:docMk/>
          <pc:sldMk cId="1933192708" sldId="487"/>
        </pc:sldMkLst>
        <pc:spChg chg="mod">
          <ac:chgData name="MOUAMMAR Matthieu" userId="a28de245-dc05-4206-b24f-6f403ed1344a" providerId="ADAL" clId="{97AE8C35-2375-40D4-8F09-DBC209B3CDBF}" dt="2021-03-03T15:52:51.511" v="5046" actId="20577"/>
          <ac:spMkLst>
            <pc:docMk/>
            <pc:sldMk cId="1933192708" sldId="487"/>
            <ac:spMk id="5" creationId="{00000000-0000-0000-0000-000000000000}"/>
          </ac:spMkLst>
        </pc:spChg>
        <pc:spChg chg="mod">
          <ac:chgData name="MOUAMMAR Matthieu" userId="a28de245-dc05-4206-b24f-6f403ed1344a" providerId="ADAL" clId="{97AE8C35-2375-40D4-8F09-DBC209B3CDBF}" dt="2021-03-03T15:49:26.536" v="4986"/>
          <ac:spMkLst>
            <pc:docMk/>
            <pc:sldMk cId="1933192708" sldId="487"/>
            <ac:spMk id="6" creationId="{00000000-0000-0000-0000-000000000000}"/>
          </ac:spMkLst>
        </pc:spChg>
        <pc:spChg chg="del">
          <ac:chgData name="MOUAMMAR Matthieu" userId="a28de245-dc05-4206-b24f-6f403ed1344a" providerId="ADAL" clId="{97AE8C35-2375-40D4-8F09-DBC209B3CDBF}" dt="2021-03-03T15:49:40.838" v="4987" actId="478"/>
          <ac:spMkLst>
            <pc:docMk/>
            <pc:sldMk cId="1933192708" sldId="487"/>
            <ac:spMk id="27" creationId="{9A07D346-A9CC-429A-9642-40453700E4C3}"/>
          </ac:spMkLst>
        </pc:spChg>
        <pc:spChg chg="mod">
          <ac:chgData name="MOUAMMAR Matthieu" userId="a28de245-dc05-4206-b24f-6f403ed1344a" providerId="ADAL" clId="{97AE8C35-2375-40D4-8F09-DBC209B3CDBF}" dt="2021-03-03T15:50:30.368" v="5024" actId="1036"/>
          <ac:spMkLst>
            <pc:docMk/>
            <pc:sldMk cId="1933192708" sldId="487"/>
            <ac:spMk id="28" creationId="{3A6B1031-4B5A-4F4E-92C1-205E9E8807B1}"/>
          </ac:spMkLst>
        </pc:spChg>
        <pc:spChg chg="mod">
          <ac:chgData name="MOUAMMAR Matthieu" userId="a28de245-dc05-4206-b24f-6f403ed1344a" providerId="ADAL" clId="{97AE8C35-2375-40D4-8F09-DBC209B3CDBF}" dt="2021-03-03T15:51:38.877" v="5028" actId="14100"/>
          <ac:spMkLst>
            <pc:docMk/>
            <pc:sldMk cId="1933192708" sldId="487"/>
            <ac:spMk id="31" creationId="{A5ABFEF9-0D3F-453E-A350-64EADEE1EB71}"/>
          </ac:spMkLst>
        </pc:spChg>
        <pc:spChg chg="mod">
          <ac:chgData name="MOUAMMAR Matthieu" userId="a28de245-dc05-4206-b24f-6f403ed1344a" providerId="ADAL" clId="{97AE8C35-2375-40D4-8F09-DBC209B3CDBF}" dt="2021-03-03T15:51:38.877" v="5028" actId="14100"/>
          <ac:spMkLst>
            <pc:docMk/>
            <pc:sldMk cId="1933192708" sldId="487"/>
            <ac:spMk id="32" creationId="{45E6268B-CA92-4606-92CD-15787C297E78}"/>
          </ac:spMkLst>
        </pc:spChg>
        <pc:spChg chg="mod">
          <ac:chgData name="MOUAMMAR Matthieu" userId="a28de245-dc05-4206-b24f-6f403ed1344a" providerId="ADAL" clId="{97AE8C35-2375-40D4-8F09-DBC209B3CDBF}" dt="2021-03-03T15:51:38.877" v="5028" actId="14100"/>
          <ac:spMkLst>
            <pc:docMk/>
            <pc:sldMk cId="1933192708" sldId="487"/>
            <ac:spMk id="33" creationId="{5BDA5886-346C-44E9-A446-C570796F7D32}"/>
          </ac:spMkLst>
        </pc:spChg>
        <pc:spChg chg="mod">
          <ac:chgData name="MOUAMMAR Matthieu" userId="a28de245-dc05-4206-b24f-6f403ed1344a" providerId="ADAL" clId="{97AE8C35-2375-40D4-8F09-DBC209B3CDBF}" dt="2021-03-03T15:51:38.877" v="5028" actId="14100"/>
          <ac:spMkLst>
            <pc:docMk/>
            <pc:sldMk cId="1933192708" sldId="487"/>
            <ac:spMk id="34" creationId="{164DDBE9-93DF-45E5-8E18-67FD73267829}"/>
          </ac:spMkLst>
        </pc:spChg>
        <pc:spChg chg="mod">
          <ac:chgData name="MOUAMMAR Matthieu" userId="a28de245-dc05-4206-b24f-6f403ed1344a" providerId="ADAL" clId="{97AE8C35-2375-40D4-8F09-DBC209B3CDBF}" dt="2021-03-03T15:51:38.877" v="5028" actId="14100"/>
          <ac:spMkLst>
            <pc:docMk/>
            <pc:sldMk cId="1933192708" sldId="487"/>
            <ac:spMk id="35" creationId="{1810E824-F734-49ED-8826-9062CDC76E03}"/>
          </ac:spMkLst>
        </pc:spChg>
        <pc:spChg chg="mod">
          <ac:chgData name="MOUAMMAR Matthieu" userId="a28de245-dc05-4206-b24f-6f403ed1344a" providerId="ADAL" clId="{97AE8C35-2375-40D4-8F09-DBC209B3CDBF}" dt="2021-03-03T15:51:38.877" v="5028" actId="14100"/>
          <ac:spMkLst>
            <pc:docMk/>
            <pc:sldMk cId="1933192708" sldId="487"/>
            <ac:spMk id="36" creationId="{A3859555-B8B9-4803-BCEB-4F822B95BC83}"/>
          </ac:spMkLst>
        </pc:spChg>
        <pc:spChg chg="mod">
          <ac:chgData name="MOUAMMAR Matthieu" userId="a28de245-dc05-4206-b24f-6f403ed1344a" providerId="ADAL" clId="{97AE8C35-2375-40D4-8F09-DBC209B3CDBF}" dt="2021-03-03T15:51:38.877" v="5028" actId="14100"/>
          <ac:spMkLst>
            <pc:docMk/>
            <pc:sldMk cId="1933192708" sldId="487"/>
            <ac:spMk id="37" creationId="{AB26BE16-C6FD-42AD-95CB-4C346C42FBA6}"/>
          </ac:spMkLst>
        </pc:spChg>
        <pc:spChg chg="mod">
          <ac:chgData name="MOUAMMAR Matthieu" userId="a28de245-dc05-4206-b24f-6f403ed1344a" providerId="ADAL" clId="{97AE8C35-2375-40D4-8F09-DBC209B3CDBF}" dt="2021-03-03T15:51:38.877" v="5028" actId="14100"/>
          <ac:spMkLst>
            <pc:docMk/>
            <pc:sldMk cId="1933192708" sldId="487"/>
            <ac:spMk id="38" creationId="{5E6FF9AE-35ED-4CCC-B023-1FCC64FFA030}"/>
          </ac:spMkLst>
        </pc:spChg>
        <pc:spChg chg="mod">
          <ac:chgData name="MOUAMMAR Matthieu" userId="a28de245-dc05-4206-b24f-6f403ed1344a" providerId="ADAL" clId="{97AE8C35-2375-40D4-8F09-DBC209B3CDBF}" dt="2021-03-03T15:51:38.877" v="5028" actId="14100"/>
          <ac:spMkLst>
            <pc:docMk/>
            <pc:sldMk cId="1933192708" sldId="487"/>
            <ac:spMk id="39" creationId="{C7B71A1D-1973-4866-B9CF-A4C41239F21F}"/>
          </ac:spMkLst>
        </pc:spChg>
        <pc:spChg chg="mod">
          <ac:chgData name="MOUAMMAR Matthieu" userId="a28de245-dc05-4206-b24f-6f403ed1344a" providerId="ADAL" clId="{97AE8C35-2375-40D4-8F09-DBC209B3CDBF}" dt="2021-03-03T15:51:38.877" v="5028" actId="14100"/>
          <ac:spMkLst>
            <pc:docMk/>
            <pc:sldMk cId="1933192708" sldId="487"/>
            <ac:spMk id="40" creationId="{6F57D6E9-997A-4426-9E6E-E043B8254A3E}"/>
          </ac:spMkLst>
        </pc:spChg>
        <pc:spChg chg="mod">
          <ac:chgData name="MOUAMMAR Matthieu" userId="a28de245-dc05-4206-b24f-6f403ed1344a" providerId="ADAL" clId="{97AE8C35-2375-40D4-8F09-DBC209B3CDBF}" dt="2021-03-03T15:51:38.877" v="5028" actId="14100"/>
          <ac:spMkLst>
            <pc:docMk/>
            <pc:sldMk cId="1933192708" sldId="487"/>
            <ac:spMk id="41" creationId="{EC5E3C3B-7F54-4FDA-AF27-7591F70F40B7}"/>
          </ac:spMkLst>
        </pc:spChg>
        <pc:spChg chg="mod">
          <ac:chgData name="MOUAMMAR Matthieu" userId="a28de245-dc05-4206-b24f-6f403ed1344a" providerId="ADAL" clId="{97AE8C35-2375-40D4-8F09-DBC209B3CDBF}" dt="2021-03-03T15:51:38.877" v="5028" actId="14100"/>
          <ac:spMkLst>
            <pc:docMk/>
            <pc:sldMk cId="1933192708" sldId="487"/>
            <ac:spMk id="42" creationId="{FA15B8BB-5B6C-47CD-A471-440559D60845}"/>
          </ac:spMkLst>
        </pc:spChg>
        <pc:spChg chg="mod">
          <ac:chgData name="MOUAMMAR Matthieu" userId="a28de245-dc05-4206-b24f-6f403ed1344a" providerId="ADAL" clId="{97AE8C35-2375-40D4-8F09-DBC209B3CDBF}" dt="2021-03-03T15:51:38.877" v="5028" actId="14100"/>
          <ac:spMkLst>
            <pc:docMk/>
            <pc:sldMk cId="1933192708" sldId="487"/>
            <ac:spMk id="43" creationId="{9C6186E6-A485-4037-8019-4F8E3D20CDED}"/>
          </ac:spMkLst>
        </pc:spChg>
        <pc:spChg chg="mod">
          <ac:chgData name="MOUAMMAR Matthieu" userId="a28de245-dc05-4206-b24f-6f403ed1344a" providerId="ADAL" clId="{97AE8C35-2375-40D4-8F09-DBC209B3CDBF}" dt="2021-03-03T15:51:38.877" v="5028" actId="14100"/>
          <ac:spMkLst>
            <pc:docMk/>
            <pc:sldMk cId="1933192708" sldId="487"/>
            <ac:spMk id="44" creationId="{EAA66D49-527D-478A-9FF1-6A8A4621C93A}"/>
          </ac:spMkLst>
        </pc:spChg>
        <pc:spChg chg="mod">
          <ac:chgData name="MOUAMMAR Matthieu" userId="a28de245-dc05-4206-b24f-6f403ed1344a" providerId="ADAL" clId="{97AE8C35-2375-40D4-8F09-DBC209B3CDBF}" dt="2021-03-03T15:51:38.877" v="5028" actId="14100"/>
          <ac:spMkLst>
            <pc:docMk/>
            <pc:sldMk cId="1933192708" sldId="487"/>
            <ac:spMk id="45" creationId="{8F290F93-CC32-4E9E-869D-A555E87D9011}"/>
          </ac:spMkLst>
        </pc:spChg>
        <pc:spChg chg="mod">
          <ac:chgData name="MOUAMMAR Matthieu" userId="a28de245-dc05-4206-b24f-6f403ed1344a" providerId="ADAL" clId="{97AE8C35-2375-40D4-8F09-DBC209B3CDBF}" dt="2021-03-03T15:51:38.877" v="5028" actId="14100"/>
          <ac:spMkLst>
            <pc:docMk/>
            <pc:sldMk cId="1933192708" sldId="487"/>
            <ac:spMk id="46" creationId="{13DB7BE0-C68B-449D-8418-8DE2BBE6136E}"/>
          </ac:spMkLst>
        </pc:spChg>
        <pc:spChg chg="mod">
          <ac:chgData name="MOUAMMAR Matthieu" userId="a28de245-dc05-4206-b24f-6f403ed1344a" providerId="ADAL" clId="{97AE8C35-2375-40D4-8F09-DBC209B3CDBF}" dt="2021-03-03T15:51:38.877" v="5028" actId="14100"/>
          <ac:spMkLst>
            <pc:docMk/>
            <pc:sldMk cId="1933192708" sldId="487"/>
            <ac:spMk id="47" creationId="{90E97644-069D-49C4-9B98-83FBF3A8EDC7}"/>
          </ac:spMkLst>
        </pc:spChg>
        <pc:spChg chg="mod">
          <ac:chgData name="MOUAMMAR Matthieu" userId="a28de245-dc05-4206-b24f-6f403ed1344a" providerId="ADAL" clId="{97AE8C35-2375-40D4-8F09-DBC209B3CDBF}" dt="2021-03-03T15:51:38.877" v="5028" actId="14100"/>
          <ac:spMkLst>
            <pc:docMk/>
            <pc:sldMk cId="1933192708" sldId="487"/>
            <ac:spMk id="48" creationId="{A4F99237-331A-4786-88AF-1DFBF4A22FB0}"/>
          </ac:spMkLst>
        </pc:spChg>
        <pc:spChg chg="mod">
          <ac:chgData name="MOUAMMAR Matthieu" userId="a28de245-dc05-4206-b24f-6f403ed1344a" providerId="ADAL" clId="{97AE8C35-2375-40D4-8F09-DBC209B3CDBF}" dt="2021-03-03T15:51:38.877" v="5028" actId="14100"/>
          <ac:spMkLst>
            <pc:docMk/>
            <pc:sldMk cId="1933192708" sldId="487"/>
            <ac:spMk id="49" creationId="{D7723E1B-7A81-4933-93C3-6D4CEFF81F19}"/>
          </ac:spMkLst>
        </pc:spChg>
        <pc:spChg chg="mod">
          <ac:chgData name="MOUAMMAR Matthieu" userId="a28de245-dc05-4206-b24f-6f403ed1344a" providerId="ADAL" clId="{97AE8C35-2375-40D4-8F09-DBC209B3CDBF}" dt="2021-03-03T15:51:38.877" v="5028" actId="14100"/>
          <ac:spMkLst>
            <pc:docMk/>
            <pc:sldMk cId="1933192708" sldId="487"/>
            <ac:spMk id="50" creationId="{CB741B7C-0091-453F-96B4-54C3CD8C4818}"/>
          </ac:spMkLst>
        </pc:spChg>
        <pc:spChg chg="mod">
          <ac:chgData name="MOUAMMAR Matthieu" userId="a28de245-dc05-4206-b24f-6f403ed1344a" providerId="ADAL" clId="{97AE8C35-2375-40D4-8F09-DBC209B3CDBF}" dt="2021-03-03T15:51:38.877" v="5028" actId="14100"/>
          <ac:spMkLst>
            <pc:docMk/>
            <pc:sldMk cId="1933192708" sldId="487"/>
            <ac:spMk id="51" creationId="{78786AAD-99E7-4264-9822-DF5BB852E33D}"/>
          </ac:spMkLst>
        </pc:spChg>
        <pc:spChg chg="mod">
          <ac:chgData name="MOUAMMAR Matthieu" userId="a28de245-dc05-4206-b24f-6f403ed1344a" providerId="ADAL" clId="{97AE8C35-2375-40D4-8F09-DBC209B3CDBF}" dt="2021-03-03T15:51:38.877" v="5028" actId="14100"/>
          <ac:spMkLst>
            <pc:docMk/>
            <pc:sldMk cId="1933192708" sldId="487"/>
            <ac:spMk id="52" creationId="{03678C9E-6208-420E-BA98-9B2174590274}"/>
          </ac:spMkLst>
        </pc:spChg>
        <pc:spChg chg="mod">
          <ac:chgData name="MOUAMMAR Matthieu" userId="a28de245-dc05-4206-b24f-6f403ed1344a" providerId="ADAL" clId="{97AE8C35-2375-40D4-8F09-DBC209B3CDBF}" dt="2021-03-03T15:51:38.877" v="5028" actId="14100"/>
          <ac:spMkLst>
            <pc:docMk/>
            <pc:sldMk cId="1933192708" sldId="487"/>
            <ac:spMk id="53" creationId="{3DD1E5A1-7B9F-4731-A1F3-7BABA0AE243F}"/>
          </ac:spMkLst>
        </pc:spChg>
        <pc:spChg chg="mod">
          <ac:chgData name="MOUAMMAR Matthieu" userId="a28de245-dc05-4206-b24f-6f403ed1344a" providerId="ADAL" clId="{97AE8C35-2375-40D4-8F09-DBC209B3CDBF}" dt="2021-03-03T15:51:38.877" v="5028" actId="14100"/>
          <ac:spMkLst>
            <pc:docMk/>
            <pc:sldMk cId="1933192708" sldId="487"/>
            <ac:spMk id="54" creationId="{B5905FAE-AB49-4AE6-8A2A-FE96F9B205CD}"/>
          </ac:spMkLst>
        </pc:spChg>
        <pc:spChg chg="mod">
          <ac:chgData name="MOUAMMAR Matthieu" userId="a28de245-dc05-4206-b24f-6f403ed1344a" providerId="ADAL" clId="{97AE8C35-2375-40D4-8F09-DBC209B3CDBF}" dt="2021-03-03T15:51:38.877" v="5028" actId="14100"/>
          <ac:spMkLst>
            <pc:docMk/>
            <pc:sldMk cId="1933192708" sldId="487"/>
            <ac:spMk id="55" creationId="{5D98E526-1648-4603-8E09-18D990317C59}"/>
          </ac:spMkLst>
        </pc:spChg>
        <pc:spChg chg="mod">
          <ac:chgData name="MOUAMMAR Matthieu" userId="a28de245-dc05-4206-b24f-6f403ed1344a" providerId="ADAL" clId="{97AE8C35-2375-40D4-8F09-DBC209B3CDBF}" dt="2021-03-03T15:51:38.877" v="5028" actId="14100"/>
          <ac:spMkLst>
            <pc:docMk/>
            <pc:sldMk cId="1933192708" sldId="487"/>
            <ac:spMk id="56" creationId="{1F46DEBF-9275-4B36-8131-5860382B08D8}"/>
          </ac:spMkLst>
        </pc:spChg>
        <pc:spChg chg="mod">
          <ac:chgData name="MOUAMMAR Matthieu" userId="a28de245-dc05-4206-b24f-6f403ed1344a" providerId="ADAL" clId="{97AE8C35-2375-40D4-8F09-DBC209B3CDBF}" dt="2021-03-03T15:51:38.877" v="5028" actId="14100"/>
          <ac:spMkLst>
            <pc:docMk/>
            <pc:sldMk cId="1933192708" sldId="487"/>
            <ac:spMk id="57" creationId="{69B1D87B-495D-4C88-9F0B-8287E4E15395}"/>
          </ac:spMkLst>
        </pc:spChg>
        <pc:spChg chg="mod">
          <ac:chgData name="MOUAMMAR Matthieu" userId="a28de245-dc05-4206-b24f-6f403ed1344a" providerId="ADAL" clId="{97AE8C35-2375-40D4-8F09-DBC209B3CDBF}" dt="2021-03-03T15:51:38.877" v="5028" actId="14100"/>
          <ac:spMkLst>
            <pc:docMk/>
            <pc:sldMk cId="1933192708" sldId="487"/>
            <ac:spMk id="58" creationId="{DF383AC7-8DC3-4DE9-8950-85B8832F4E8F}"/>
          </ac:spMkLst>
        </pc:spChg>
        <pc:spChg chg="mod">
          <ac:chgData name="MOUAMMAR Matthieu" userId="a28de245-dc05-4206-b24f-6f403ed1344a" providerId="ADAL" clId="{97AE8C35-2375-40D4-8F09-DBC209B3CDBF}" dt="2021-03-03T15:51:38.877" v="5028" actId="14100"/>
          <ac:spMkLst>
            <pc:docMk/>
            <pc:sldMk cId="1933192708" sldId="487"/>
            <ac:spMk id="59" creationId="{7DE89718-99B4-4183-94E7-8D153213FCD6}"/>
          </ac:spMkLst>
        </pc:spChg>
        <pc:spChg chg="mod">
          <ac:chgData name="MOUAMMAR Matthieu" userId="a28de245-dc05-4206-b24f-6f403ed1344a" providerId="ADAL" clId="{97AE8C35-2375-40D4-8F09-DBC209B3CDBF}" dt="2021-03-03T15:51:38.877" v="5028" actId="14100"/>
          <ac:spMkLst>
            <pc:docMk/>
            <pc:sldMk cId="1933192708" sldId="487"/>
            <ac:spMk id="60" creationId="{5C926C95-1AB9-4FAE-AB51-D79EB07B6434}"/>
          </ac:spMkLst>
        </pc:spChg>
        <pc:spChg chg="mod">
          <ac:chgData name="MOUAMMAR Matthieu" userId="a28de245-dc05-4206-b24f-6f403ed1344a" providerId="ADAL" clId="{97AE8C35-2375-40D4-8F09-DBC209B3CDBF}" dt="2021-03-03T15:51:38.877" v="5028" actId="14100"/>
          <ac:spMkLst>
            <pc:docMk/>
            <pc:sldMk cId="1933192708" sldId="487"/>
            <ac:spMk id="61" creationId="{06E3DDFE-5516-4EEF-BB9C-091EBCA125EA}"/>
          </ac:spMkLst>
        </pc:spChg>
        <pc:spChg chg="mod">
          <ac:chgData name="MOUAMMAR Matthieu" userId="a28de245-dc05-4206-b24f-6f403ed1344a" providerId="ADAL" clId="{97AE8C35-2375-40D4-8F09-DBC209B3CDBF}" dt="2021-03-03T15:51:38.877" v="5028" actId="14100"/>
          <ac:spMkLst>
            <pc:docMk/>
            <pc:sldMk cId="1933192708" sldId="487"/>
            <ac:spMk id="62" creationId="{9A9072EA-73F3-4B44-9462-846E99414737}"/>
          </ac:spMkLst>
        </pc:spChg>
        <pc:spChg chg="mod">
          <ac:chgData name="MOUAMMAR Matthieu" userId="a28de245-dc05-4206-b24f-6f403ed1344a" providerId="ADAL" clId="{97AE8C35-2375-40D4-8F09-DBC209B3CDBF}" dt="2021-03-03T15:51:38.877" v="5028" actId="14100"/>
          <ac:spMkLst>
            <pc:docMk/>
            <pc:sldMk cId="1933192708" sldId="487"/>
            <ac:spMk id="63" creationId="{F5EA28B2-64A3-4946-A596-A6E09BFD6F51}"/>
          </ac:spMkLst>
        </pc:spChg>
        <pc:spChg chg="mod">
          <ac:chgData name="MOUAMMAR Matthieu" userId="a28de245-dc05-4206-b24f-6f403ed1344a" providerId="ADAL" clId="{97AE8C35-2375-40D4-8F09-DBC209B3CDBF}" dt="2021-03-03T15:51:38.877" v="5028" actId="14100"/>
          <ac:spMkLst>
            <pc:docMk/>
            <pc:sldMk cId="1933192708" sldId="487"/>
            <ac:spMk id="64" creationId="{B080AEB6-F470-4551-8AF4-50FF6B91E633}"/>
          </ac:spMkLst>
        </pc:spChg>
        <pc:spChg chg="mod">
          <ac:chgData name="MOUAMMAR Matthieu" userId="a28de245-dc05-4206-b24f-6f403ed1344a" providerId="ADAL" clId="{97AE8C35-2375-40D4-8F09-DBC209B3CDBF}" dt="2021-03-03T15:51:38.877" v="5028" actId="14100"/>
          <ac:spMkLst>
            <pc:docMk/>
            <pc:sldMk cId="1933192708" sldId="487"/>
            <ac:spMk id="65" creationId="{9CBE4AB0-D2FD-4CFF-A3FB-5C8EF588F865}"/>
          </ac:spMkLst>
        </pc:spChg>
        <pc:spChg chg="mod">
          <ac:chgData name="MOUAMMAR Matthieu" userId="a28de245-dc05-4206-b24f-6f403ed1344a" providerId="ADAL" clId="{97AE8C35-2375-40D4-8F09-DBC209B3CDBF}" dt="2021-03-03T15:51:38.877" v="5028" actId="14100"/>
          <ac:spMkLst>
            <pc:docMk/>
            <pc:sldMk cId="1933192708" sldId="487"/>
            <ac:spMk id="66" creationId="{AF8143D6-48E2-401F-BE3C-9220EF2FC70F}"/>
          </ac:spMkLst>
        </pc:spChg>
        <pc:spChg chg="mod">
          <ac:chgData name="MOUAMMAR Matthieu" userId="a28de245-dc05-4206-b24f-6f403ed1344a" providerId="ADAL" clId="{97AE8C35-2375-40D4-8F09-DBC209B3CDBF}" dt="2021-03-03T15:51:38.877" v="5028" actId="14100"/>
          <ac:spMkLst>
            <pc:docMk/>
            <pc:sldMk cId="1933192708" sldId="487"/>
            <ac:spMk id="67" creationId="{C50ADC0D-41D0-4E13-A451-9CDFF8139EDD}"/>
          </ac:spMkLst>
        </pc:spChg>
        <pc:spChg chg="mod">
          <ac:chgData name="MOUAMMAR Matthieu" userId="a28de245-dc05-4206-b24f-6f403ed1344a" providerId="ADAL" clId="{97AE8C35-2375-40D4-8F09-DBC209B3CDBF}" dt="2021-03-03T15:51:38.877" v="5028" actId="14100"/>
          <ac:spMkLst>
            <pc:docMk/>
            <pc:sldMk cId="1933192708" sldId="487"/>
            <ac:spMk id="68" creationId="{D5F83EAA-579E-46AF-BD0A-4143FC20399F}"/>
          </ac:spMkLst>
        </pc:spChg>
        <pc:spChg chg="mod">
          <ac:chgData name="MOUAMMAR Matthieu" userId="a28de245-dc05-4206-b24f-6f403ed1344a" providerId="ADAL" clId="{97AE8C35-2375-40D4-8F09-DBC209B3CDBF}" dt="2021-03-03T15:51:38.877" v="5028" actId="14100"/>
          <ac:spMkLst>
            <pc:docMk/>
            <pc:sldMk cId="1933192708" sldId="487"/>
            <ac:spMk id="69" creationId="{352A9F66-93F0-4859-8D99-07158A8298EA}"/>
          </ac:spMkLst>
        </pc:spChg>
        <pc:spChg chg="mod">
          <ac:chgData name="MOUAMMAR Matthieu" userId="a28de245-dc05-4206-b24f-6f403ed1344a" providerId="ADAL" clId="{97AE8C35-2375-40D4-8F09-DBC209B3CDBF}" dt="2021-03-03T15:51:38.877" v="5028" actId="14100"/>
          <ac:spMkLst>
            <pc:docMk/>
            <pc:sldMk cId="1933192708" sldId="487"/>
            <ac:spMk id="70" creationId="{A1B8D0D8-2CB4-418A-838F-3AE53EF7D621}"/>
          </ac:spMkLst>
        </pc:spChg>
        <pc:spChg chg="mod">
          <ac:chgData name="MOUAMMAR Matthieu" userId="a28de245-dc05-4206-b24f-6f403ed1344a" providerId="ADAL" clId="{97AE8C35-2375-40D4-8F09-DBC209B3CDBF}" dt="2021-03-03T15:50:30.368" v="5024" actId="1036"/>
          <ac:spMkLst>
            <pc:docMk/>
            <pc:sldMk cId="1933192708" sldId="487"/>
            <ac:spMk id="73" creationId="{958B3DE0-F54A-40F1-AEE2-912131D43669}"/>
          </ac:spMkLst>
        </pc:spChg>
        <pc:spChg chg="mod">
          <ac:chgData name="MOUAMMAR Matthieu" userId="a28de245-dc05-4206-b24f-6f403ed1344a" providerId="ADAL" clId="{97AE8C35-2375-40D4-8F09-DBC209B3CDBF}" dt="2021-03-03T15:50:30.368" v="5024" actId="1036"/>
          <ac:spMkLst>
            <pc:docMk/>
            <pc:sldMk cId="1933192708" sldId="487"/>
            <ac:spMk id="75" creationId="{CD0C39A1-61A0-4A72-A7DC-9D1BB8EEA755}"/>
          </ac:spMkLst>
        </pc:spChg>
        <pc:spChg chg="mod">
          <ac:chgData name="MOUAMMAR Matthieu" userId="a28de245-dc05-4206-b24f-6f403ed1344a" providerId="ADAL" clId="{97AE8C35-2375-40D4-8F09-DBC209B3CDBF}" dt="2021-03-03T15:50:30.368" v="5024" actId="1036"/>
          <ac:spMkLst>
            <pc:docMk/>
            <pc:sldMk cId="1933192708" sldId="487"/>
            <ac:spMk id="76" creationId="{7A656CC5-06BB-431F-ACEA-65D9E2574CF6}"/>
          </ac:spMkLst>
        </pc:spChg>
        <pc:spChg chg="mod">
          <ac:chgData name="MOUAMMAR Matthieu" userId="a28de245-dc05-4206-b24f-6f403ed1344a" providerId="ADAL" clId="{97AE8C35-2375-40D4-8F09-DBC209B3CDBF}" dt="2021-03-03T15:50:30.368" v="5024" actId="1036"/>
          <ac:spMkLst>
            <pc:docMk/>
            <pc:sldMk cId="1933192708" sldId="487"/>
            <ac:spMk id="77" creationId="{134B38FD-D0A9-4EF7-862A-521823A0D6DC}"/>
          </ac:spMkLst>
        </pc:spChg>
        <pc:spChg chg="mod">
          <ac:chgData name="MOUAMMAR Matthieu" userId="a28de245-dc05-4206-b24f-6f403ed1344a" providerId="ADAL" clId="{97AE8C35-2375-40D4-8F09-DBC209B3CDBF}" dt="2021-03-03T15:50:30.368" v="5024" actId="1036"/>
          <ac:spMkLst>
            <pc:docMk/>
            <pc:sldMk cId="1933192708" sldId="487"/>
            <ac:spMk id="78" creationId="{4C5743CA-94A8-439A-A76E-49363C818D2B}"/>
          </ac:spMkLst>
        </pc:spChg>
        <pc:spChg chg="mod">
          <ac:chgData name="MOUAMMAR Matthieu" userId="a28de245-dc05-4206-b24f-6f403ed1344a" providerId="ADAL" clId="{97AE8C35-2375-40D4-8F09-DBC209B3CDBF}" dt="2021-03-03T15:50:30.368" v="5024" actId="1036"/>
          <ac:spMkLst>
            <pc:docMk/>
            <pc:sldMk cId="1933192708" sldId="487"/>
            <ac:spMk id="80" creationId="{301B47BC-59D2-4972-9BF4-D674F31B0100}"/>
          </ac:spMkLst>
        </pc:spChg>
        <pc:spChg chg="mod">
          <ac:chgData name="MOUAMMAR Matthieu" userId="a28de245-dc05-4206-b24f-6f403ed1344a" providerId="ADAL" clId="{97AE8C35-2375-40D4-8F09-DBC209B3CDBF}" dt="2021-03-03T15:50:30.368" v="5024" actId="1036"/>
          <ac:spMkLst>
            <pc:docMk/>
            <pc:sldMk cId="1933192708" sldId="487"/>
            <ac:spMk id="81" creationId="{09BA15FB-E710-405B-B28B-B84C3869B80C}"/>
          </ac:spMkLst>
        </pc:spChg>
        <pc:spChg chg="mod">
          <ac:chgData name="MOUAMMAR Matthieu" userId="a28de245-dc05-4206-b24f-6f403ed1344a" providerId="ADAL" clId="{97AE8C35-2375-40D4-8F09-DBC209B3CDBF}" dt="2021-03-03T15:50:30.368" v="5024" actId="1036"/>
          <ac:spMkLst>
            <pc:docMk/>
            <pc:sldMk cId="1933192708" sldId="487"/>
            <ac:spMk id="82" creationId="{55DE9B84-D07D-4E63-902D-09CF74537F21}"/>
          </ac:spMkLst>
        </pc:spChg>
        <pc:spChg chg="mod">
          <ac:chgData name="MOUAMMAR Matthieu" userId="a28de245-dc05-4206-b24f-6f403ed1344a" providerId="ADAL" clId="{97AE8C35-2375-40D4-8F09-DBC209B3CDBF}" dt="2021-03-03T15:50:30.368" v="5024" actId="1036"/>
          <ac:spMkLst>
            <pc:docMk/>
            <pc:sldMk cId="1933192708" sldId="487"/>
            <ac:spMk id="83" creationId="{0CEE69C0-68AB-43AC-A351-DDE98BD68AC5}"/>
          </ac:spMkLst>
        </pc:spChg>
        <pc:spChg chg="mod">
          <ac:chgData name="MOUAMMAR Matthieu" userId="a28de245-dc05-4206-b24f-6f403ed1344a" providerId="ADAL" clId="{97AE8C35-2375-40D4-8F09-DBC209B3CDBF}" dt="2021-03-03T15:50:30.368" v="5024" actId="1036"/>
          <ac:spMkLst>
            <pc:docMk/>
            <pc:sldMk cId="1933192708" sldId="487"/>
            <ac:spMk id="84" creationId="{9401AB64-F584-4DE1-8A55-3660E02867E9}"/>
          </ac:spMkLst>
        </pc:spChg>
        <pc:spChg chg="mod">
          <ac:chgData name="MOUAMMAR Matthieu" userId="a28de245-dc05-4206-b24f-6f403ed1344a" providerId="ADAL" clId="{97AE8C35-2375-40D4-8F09-DBC209B3CDBF}" dt="2021-03-03T15:50:30.368" v="5024" actId="1036"/>
          <ac:spMkLst>
            <pc:docMk/>
            <pc:sldMk cId="1933192708" sldId="487"/>
            <ac:spMk id="85" creationId="{8367E8EF-D812-4D70-909F-ED934CF3ACE8}"/>
          </ac:spMkLst>
        </pc:spChg>
        <pc:spChg chg="mod">
          <ac:chgData name="MOUAMMAR Matthieu" userId="a28de245-dc05-4206-b24f-6f403ed1344a" providerId="ADAL" clId="{97AE8C35-2375-40D4-8F09-DBC209B3CDBF}" dt="2021-03-03T15:50:30.368" v="5024" actId="1036"/>
          <ac:spMkLst>
            <pc:docMk/>
            <pc:sldMk cId="1933192708" sldId="487"/>
            <ac:spMk id="86" creationId="{B1152814-B85A-46EC-99FC-DF6BD85E9CF5}"/>
          </ac:spMkLst>
        </pc:spChg>
        <pc:spChg chg="mod">
          <ac:chgData name="MOUAMMAR Matthieu" userId="a28de245-dc05-4206-b24f-6f403ed1344a" providerId="ADAL" clId="{97AE8C35-2375-40D4-8F09-DBC209B3CDBF}" dt="2021-03-03T15:50:30.368" v="5024" actId="1036"/>
          <ac:spMkLst>
            <pc:docMk/>
            <pc:sldMk cId="1933192708" sldId="487"/>
            <ac:spMk id="87" creationId="{4D0C9E25-7BE0-4F18-985F-06A685E98C60}"/>
          </ac:spMkLst>
        </pc:spChg>
        <pc:spChg chg="mod">
          <ac:chgData name="MOUAMMAR Matthieu" userId="a28de245-dc05-4206-b24f-6f403ed1344a" providerId="ADAL" clId="{97AE8C35-2375-40D4-8F09-DBC209B3CDBF}" dt="2021-03-03T15:50:30.368" v="5024" actId="1036"/>
          <ac:spMkLst>
            <pc:docMk/>
            <pc:sldMk cId="1933192708" sldId="487"/>
            <ac:spMk id="88" creationId="{892C13A6-5533-4836-A73A-17271669DC7C}"/>
          </ac:spMkLst>
        </pc:spChg>
        <pc:spChg chg="mod">
          <ac:chgData name="MOUAMMAR Matthieu" userId="a28de245-dc05-4206-b24f-6f403ed1344a" providerId="ADAL" clId="{97AE8C35-2375-40D4-8F09-DBC209B3CDBF}" dt="2021-03-03T15:50:30.368" v="5024" actId="1036"/>
          <ac:spMkLst>
            <pc:docMk/>
            <pc:sldMk cId="1933192708" sldId="487"/>
            <ac:spMk id="89" creationId="{5E519022-7E1C-4187-BB18-8FEF701F9F1A}"/>
          </ac:spMkLst>
        </pc:spChg>
        <pc:spChg chg="mod">
          <ac:chgData name="MOUAMMAR Matthieu" userId="a28de245-dc05-4206-b24f-6f403ed1344a" providerId="ADAL" clId="{97AE8C35-2375-40D4-8F09-DBC209B3CDBF}" dt="2021-03-03T15:50:30.368" v="5024" actId="1036"/>
          <ac:spMkLst>
            <pc:docMk/>
            <pc:sldMk cId="1933192708" sldId="487"/>
            <ac:spMk id="90" creationId="{3BC1EBC5-5B49-4957-BDE0-B46A38E42D2A}"/>
          </ac:spMkLst>
        </pc:spChg>
        <pc:spChg chg="mod">
          <ac:chgData name="MOUAMMAR Matthieu" userId="a28de245-dc05-4206-b24f-6f403ed1344a" providerId="ADAL" clId="{97AE8C35-2375-40D4-8F09-DBC209B3CDBF}" dt="2021-03-03T15:50:30.368" v="5024" actId="1036"/>
          <ac:spMkLst>
            <pc:docMk/>
            <pc:sldMk cId="1933192708" sldId="487"/>
            <ac:spMk id="91" creationId="{6C161FB4-0BD8-438E-804C-F05B9D4C3EBD}"/>
          </ac:spMkLst>
        </pc:spChg>
        <pc:spChg chg="mod">
          <ac:chgData name="MOUAMMAR Matthieu" userId="a28de245-dc05-4206-b24f-6f403ed1344a" providerId="ADAL" clId="{97AE8C35-2375-40D4-8F09-DBC209B3CDBF}" dt="2021-03-03T15:50:30.368" v="5024" actId="1036"/>
          <ac:spMkLst>
            <pc:docMk/>
            <pc:sldMk cId="1933192708" sldId="487"/>
            <ac:spMk id="92" creationId="{73EC41B7-FB0A-482C-A73B-0ABFD52713CD}"/>
          </ac:spMkLst>
        </pc:spChg>
        <pc:spChg chg="mod">
          <ac:chgData name="MOUAMMAR Matthieu" userId="a28de245-dc05-4206-b24f-6f403ed1344a" providerId="ADAL" clId="{97AE8C35-2375-40D4-8F09-DBC209B3CDBF}" dt="2021-03-03T15:50:30.368" v="5024" actId="1036"/>
          <ac:spMkLst>
            <pc:docMk/>
            <pc:sldMk cId="1933192708" sldId="487"/>
            <ac:spMk id="93" creationId="{4592DE6D-1895-4553-B78F-D0B64617B402}"/>
          </ac:spMkLst>
        </pc:spChg>
        <pc:spChg chg="mod">
          <ac:chgData name="MOUAMMAR Matthieu" userId="a28de245-dc05-4206-b24f-6f403ed1344a" providerId="ADAL" clId="{97AE8C35-2375-40D4-8F09-DBC209B3CDBF}" dt="2021-03-03T15:50:30.368" v="5024" actId="1036"/>
          <ac:spMkLst>
            <pc:docMk/>
            <pc:sldMk cId="1933192708" sldId="487"/>
            <ac:spMk id="94" creationId="{2E91C60A-A120-4458-A28B-A0A8DDF5F99F}"/>
          </ac:spMkLst>
        </pc:spChg>
        <pc:spChg chg="mod">
          <ac:chgData name="MOUAMMAR Matthieu" userId="a28de245-dc05-4206-b24f-6f403ed1344a" providerId="ADAL" clId="{97AE8C35-2375-40D4-8F09-DBC209B3CDBF}" dt="2021-03-03T15:50:30.368" v="5024" actId="1036"/>
          <ac:spMkLst>
            <pc:docMk/>
            <pc:sldMk cId="1933192708" sldId="487"/>
            <ac:spMk id="95" creationId="{CF134E5D-99A8-4869-9479-D64EE4EB6AD9}"/>
          </ac:spMkLst>
        </pc:spChg>
        <pc:spChg chg="add mod">
          <ac:chgData name="MOUAMMAR Matthieu" userId="a28de245-dc05-4206-b24f-6f403ed1344a" providerId="ADAL" clId="{97AE8C35-2375-40D4-8F09-DBC209B3CDBF}" dt="2021-03-03T15:52:00.239" v="5033" actId="20577"/>
          <ac:spMkLst>
            <pc:docMk/>
            <pc:sldMk cId="1933192708" sldId="487"/>
            <ac:spMk id="96" creationId="{B69FDD81-1B60-4B31-98B3-8447E2E683F4}"/>
          </ac:spMkLst>
        </pc:spChg>
        <pc:spChg chg="mod">
          <ac:chgData name="MOUAMMAR Matthieu" userId="a28de245-dc05-4206-b24f-6f403ed1344a" providerId="ADAL" clId="{97AE8C35-2375-40D4-8F09-DBC209B3CDBF}" dt="2021-03-03T15:50:30.368" v="5024" actId="1036"/>
          <ac:spMkLst>
            <pc:docMk/>
            <pc:sldMk cId="1933192708" sldId="487"/>
            <ac:spMk id="98" creationId="{4640F081-94D3-4F3D-8999-96DB018484A4}"/>
          </ac:spMkLst>
        </pc:spChg>
        <pc:grpChg chg="del">
          <ac:chgData name="MOUAMMAR Matthieu" userId="a28de245-dc05-4206-b24f-6f403ed1344a" providerId="ADAL" clId="{97AE8C35-2375-40D4-8F09-DBC209B3CDBF}" dt="2021-03-03T15:49:42.213" v="4988" actId="478"/>
          <ac:grpSpMkLst>
            <pc:docMk/>
            <pc:sldMk cId="1933192708" sldId="487"/>
            <ac:grpSpMk id="11" creationId="{89666329-6FBE-4626-9C7C-F5AB5992E1FA}"/>
          </ac:grpSpMkLst>
        </pc:grpChg>
        <pc:grpChg chg="add mod">
          <ac:chgData name="MOUAMMAR Matthieu" userId="a28de245-dc05-4206-b24f-6f403ed1344a" providerId="ADAL" clId="{97AE8C35-2375-40D4-8F09-DBC209B3CDBF}" dt="2021-03-03T15:51:46.274" v="5030" actId="1076"/>
          <ac:grpSpMkLst>
            <pc:docMk/>
            <pc:sldMk cId="1933192708" sldId="487"/>
            <ac:grpSpMk id="24" creationId="{02461C93-A42C-443B-8030-F3499B3C30D3}"/>
          </ac:grpSpMkLst>
        </pc:grpChg>
        <pc:grpChg chg="add mod">
          <ac:chgData name="MOUAMMAR Matthieu" userId="a28de245-dc05-4206-b24f-6f403ed1344a" providerId="ADAL" clId="{97AE8C35-2375-40D4-8F09-DBC209B3CDBF}" dt="2021-03-03T15:51:38.877" v="5028" actId="14100"/>
          <ac:grpSpMkLst>
            <pc:docMk/>
            <pc:sldMk cId="1933192708" sldId="487"/>
            <ac:grpSpMk id="29" creationId="{5CA92D8C-71C5-406D-99DA-17DC6646B997}"/>
          </ac:grpSpMkLst>
        </pc:grpChg>
        <pc:grpChg chg="mod">
          <ac:chgData name="MOUAMMAR Matthieu" userId="a28de245-dc05-4206-b24f-6f403ed1344a" providerId="ADAL" clId="{97AE8C35-2375-40D4-8F09-DBC209B3CDBF}" dt="2021-03-03T15:51:38.877" v="5028" actId="14100"/>
          <ac:grpSpMkLst>
            <pc:docMk/>
            <pc:sldMk cId="1933192708" sldId="487"/>
            <ac:grpSpMk id="30" creationId="{4A35CF0F-0C42-48A0-BF40-01F8A8DA5F6C}"/>
          </ac:grpSpMkLst>
        </pc:grpChg>
        <pc:grpChg chg="add mod">
          <ac:chgData name="MOUAMMAR Matthieu" userId="a28de245-dc05-4206-b24f-6f403ed1344a" providerId="ADAL" clId="{97AE8C35-2375-40D4-8F09-DBC209B3CDBF}" dt="2021-03-03T15:50:30.368" v="5024" actId="1036"/>
          <ac:grpSpMkLst>
            <pc:docMk/>
            <pc:sldMk cId="1933192708" sldId="487"/>
            <ac:grpSpMk id="71" creationId="{9E0200F7-DE11-43FB-9DB9-918FE0799213}"/>
          </ac:grpSpMkLst>
        </pc:grpChg>
        <pc:grpChg chg="mod">
          <ac:chgData name="MOUAMMAR Matthieu" userId="a28de245-dc05-4206-b24f-6f403ed1344a" providerId="ADAL" clId="{97AE8C35-2375-40D4-8F09-DBC209B3CDBF}" dt="2021-03-03T15:50:30.368" v="5024" actId="1036"/>
          <ac:grpSpMkLst>
            <pc:docMk/>
            <pc:sldMk cId="1933192708" sldId="487"/>
            <ac:grpSpMk id="72" creationId="{D19A8044-4D3F-4C70-B72E-849308222590}"/>
          </ac:grpSpMkLst>
        </pc:grpChg>
        <pc:grpChg chg="mod">
          <ac:chgData name="MOUAMMAR Matthieu" userId="a28de245-dc05-4206-b24f-6f403ed1344a" providerId="ADAL" clId="{97AE8C35-2375-40D4-8F09-DBC209B3CDBF}" dt="2021-03-03T15:50:30.368" v="5024" actId="1036"/>
          <ac:grpSpMkLst>
            <pc:docMk/>
            <pc:sldMk cId="1933192708" sldId="487"/>
            <ac:grpSpMk id="74" creationId="{8E3A0AE1-F886-4A30-B448-1FAB92FC3D81}"/>
          </ac:grpSpMkLst>
        </pc:grpChg>
        <pc:grpChg chg="add mod">
          <ac:chgData name="MOUAMMAR Matthieu" userId="a28de245-dc05-4206-b24f-6f403ed1344a" providerId="ADAL" clId="{97AE8C35-2375-40D4-8F09-DBC209B3CDBF}" dt="2021-03-03T15:51:54.183" v="5032" actId="1076"/>
          <ac:grpSpMkLst>
            <pc:docMk/>
            <pc:sldMk cId="1933192708" sldId="487"/>
            <ac:grpSpMk id="97" creationId="{DC20FB9D-D5C8-4AB9-BE0E-0C8330E3C7A3}"/>
          </ac:grpSpMkLst>
        </pc:grpChg>
        <pc:picChg chg="add mod">
          <ac:chgData name="MOUAMMAR Matthieu" userId="a28de245-dc05-4206-b24f-6f403ed1344a" providerId="ADAL" clId="{97AE8C35-2375-40D4-8F09-DBC209B3CDBF}" dt="2021-03-03T15:51:41.174" v="5029" actId="1076"/>
          <ac:picMkLst>
            <pc:docMk/>
            <pc:sldMk cId="1933192708" sldId="487"/>
            <ac:picMk id="21" creationId="{884C7B7B-4E5F-4C56-909D-CAB7143D2798}"/>
          </ac:picMkLst>
        </pc:picChg>
        <pc:picChg chg="mod">
          <ac:chgData name="MOUAMMAR Matthieu" userId="a28de245-dc05-4206-b24f-6f403ed1344a" providerId="ADAL" clId="{97AE8C35-2375-40D4-8F09-DBC209B3CDBF}" dt="2021-03-03T15:50:30.368" v="5024" actId="1036"/>
          <ac:picMkLst>
            <pc:docMk/>
            <pc:sldMk cId="1933192708" sldId="487"/>
            <ac:picMk id="26" creationId="{BF076E89-9E7E-4731-9567-041714D17409}"/>
          </ac:picMkLst>
        </pc:picChg>
        <pc:picChg chg="mod">
          <ac:chgData name="MOUAMMAR Matthieu" userId="a28de245-dc05-4206-b24f-6f403ed1344a" providerId="ADAL" clId="{97AE8C35-2375-40D4-8F09-DBC209B3CDBF}" dt="2021-03-03T15:50:30.368" v="5024" actId="1036"/>
          <ac:picMkLst>
            <pc:docMk/>
            <pc:sldMk cId="1933192708" sldId="487"/>
            <ac:picMk id="99" creationId="{FE564E8C-2103-4601-A87B-CD1FA5E6FE72}"/>
          </ac:picMkLst>
        </pc:picChg>
        <pc:cxnChg chg="mod">
          <ac:chgData name="MOUAMMAR Matthieu" userId="a28de245-dc05-4206-b24f-6f403ed1344a" providerId="ADAL" clId="{97AE8C35-2375-40D4-8F09-DBC209B3CDBF}" dt="2021-03-03T15:50:30.368" v="5024" actId="1036"/>
          <ac:cxnSpMkLst>
            <pc:docMk/>
            <pc:sldMk cId="1933192708" sldId="487"/>
            <ac:cxnSpMk id="79" creationId="{8991C007-E3E9-40ED-B841-39694F2696EC}"/>
          </ac:cxnSpMkLst>
        </pc:cxnChg>
      </pc:sldChg>
      <pc:sldChg chg="add del">
        <pc:chgData name="MOUAMMAR Matthieu" userId="a28de245-dc05-4206-b24f-6f403ed1344a" providerId="ADAL" clId="{97AE8C35-2375-40D4-8F09-DBC209B3CDBF}" dt="2021-03-03T15:52:28.554" v="5035" actId="47"/>
        <pc:sldMkLst>
          <pc:docMk/>
          <pc:sldMk cId="1263133702" sldId="488"/>
        </pc:sldMkLst>
      </pc:sldChg>
      <pc:sldChg chg="addSp delSp modSp add mod modAnim">
        <pc:chgData name="MOUAMMAR Matthieu" userId="a28de245-dc05-4206-b24f-6f403ed1344a" providerId="ADAL" clId="{97AE8C35-2375-40D4-8F09-DBC209B3CDBF}" dt="2021-03-03T15:53:56.846" v="5074" actId="5793"/>
        <pc:sldMkLst>
          <pc:docMk/>
          <pc:sldMk cId="2597604076" sldId="488"/>
        </pc:sldMkLst>
        <pc:spChg chg="mod">
          <ac:chgData name="MOUAMMAR Matthieu" userId="a28de245-dc05-4206-b24f-6f403ed1344a" providerId="ADAL" clId="{97AE8C35-2375-40D4-8F09-DBC209B3CDBF}" dt="2021-03-03T15:52:57.472" v="5058" actId="20577"/>
          <ac:spMkLst>
            <pc:docMk/>
            <pc:sldMk cId="2597604076" sldId="488"/>
            <ac:spMk id="5" creationId="{00000000-0000-0000-0000-000000000000}"/>
          </ac:spMkLst>
        </pc:spChg>
        <pc:spChg chg="del">
          <ac:chgData name="MOUAMMAR Matthieu" userId="a28de245-dc05-4206-b24f-6f403ed1344a" providerId="ADAL" clId="{97AE8C35-2375-40D4-8F09-DBC209B3CDBF}" dt="2021-03-03T15:53:01.619" v="5059" actId="478"/>
          <ac:spMkLst>
            <pc:docMk/>
            <pc:sldMk cId="2597604076" sldId="488"/>
            <ac:spMk id="96" creationId="{B69FDD81-1B60-4B31-98B3-8447E2E683F4}"/>
          </ac:spMkLst>
        </pc:spChg>
        <pc:spChg chg="add mod">
          <ac:chgData name="MOUAMMAR Matthieu" userId="a28de245-dc05-4206-b24f-6f403ed1344a" providerId="ADAL" clId="{97AE8C35-2375-40D4-8F09-DBC209B3CDBF}" dt="2021-03-03T15:53:07.700" v="5060"/>
          <ac:spMkLst>
            <pc:docMk/>
            <pc:sldMk cId="2597604076" sldId="488"/>
            <ac:spMk id="101" creationId="{C33FABC3-3E4B-4694-BBDF-71A7692F4511}"/>
          </ac:spMkLst>
        </pc:spChg>
        <pc:spChg chg="add mod">
          <ac:chgData name="MOUAMMAR Matthieu" userId="a28de245-dc05-4206-b24f-6f403ed1344a" providerId="ADAL" clId="{97AE8C35-2375-40D4-8F09-DBC209B3CDBF}" dt="2021-03-03T15:53:56.846" v="5074" actId="5793"/>
          <ac:spMkLst>
            <pc:docMk/>
            <pc:sldMk cId="2597604076" sldId="488"/>
            <ac:spMk id="103" creationId="{B9F2F961-BFD0-4743-A357-BE18B9DCC3F2}"/>
          </ac:spMkLst>
        </pc:spChg>
        <pc:grpChg chg="del">
          <ac:chgData name="MOUAMMAR Matthieu" userId="a28de245-dc05-4206-b24f-6f403ed1344a" providerId="ADAL" clId="{97AE8C35-2375-40D4-8F09-DBC209B3CDBF}" dt="2021-03-03T15:53:01.619" v="5059" actId="478"/>
          <ac:grpSpMkLst>
            <pc:docMk/>
            <pc:sldMk cId="2597604076" sldId="488"/>
            <ac:grpSpMk id="24" creationId="{02461C93-A42C-443B-8030-F3499B3C30D3}"/>
          </ac:grpSpMkLst>
        </pc:grpChg>
        <pc:grpChg chg="del">
          <ac:chgData name="MOUAMMAR Matthieu" userId="a28de245-dc05-4206-b24f-6f403ed1344a" providerId="ADAL" clId="{97AE8C35-2375-40D4-8F09-DBC209B3CDBF}" dt="2021-03-03T15:53:01.619" v="5059" actId="478"/>
          <ac:grpSpMkLst>
            <pc:docMk/>
            <pc:sldMk cId="2597604076" sldId="488"/>
            <ac:grpSpMk id="29" creationId="{5CA92D8C-71C5-406D-99DA-17DC6646B997}"/>
          </ac:grpSpMkLst>
        </pc:grpChg>
        <pc:grpChg chg="del">
          <ac:chgData name="MOUAMMAR Matthieu" userId="a28de245-dc05-4206-b24f-6f403ed1344a" providerId="ADAL" clId="{97AE8C35-2375-40D4-8F09-DBC209B3CDBF}" dt="2021-03-03T15:53:01.619" v="5059" actId="478"/>
          <ac:grpSpMkLst>
            <pc:docMk/>
            <pc:sldMk cId="2597604076" sldId="488"/>
            <ac:grpSpMk id="71" creationId="{9E0200F7-DE11-43FB-9DB9-918FE0799213}"/>
          </ac:grpSpMkLst>
        </pc:grpChg>
        <pc:grpChg chg="del">
          <ac:chgData name="MOUAMMAR Matthieu" userId="a28de245-dc05-4206-b24f-6f403ed1344a" providerId="ADAL" clId="{97AE8C35-2375-40D4-8F09-DBC209B3CDBF}" dt="2021-03-03T15:53:01.619" v="5059" actId="478"/>
          <ac:grpSpMkLst>
            <pc:docMk/>
            <pc:sldMk cId="2597604076" sldId="488"/>
            <ac:grpSpMk id="97" creationId="{DC20FB9D-D5C8-4AB9-BE0E-0C8330E3C7A3}"/>
          </ac:grpSpMkLst>
        </pc:grpChg>
        <pc:picChg chg="del">
          <ac:chgData name="MOUAMMAR Matthieu" userId="a28de245-dc05-4206-b24f-6f403ed1344a" providerId="ADAL" clId="{97AE8C35-2375-40D4-8F09-DBC209B3CDBF}" dt="2021-03-03T15:53:01.619" v="5059" actId="478"/>
          <ac:picMkLst>
            <pc:docMk/>
            <pc:sldMk cId="2597604076" sldId="488"/>
            <ac:picMk id="21" creationId="{884C7B7B-4E5F-4C56-909D-CAB7143D2798}"/>
          </ac:picMkLst>
        </pc:picChg>
        <pc:picChg chg="add mod">
          <ac:chgData name="MOUAMMAR Matthieu" userId="a28de245-dc05-4206-b24f-6f403ed1344a" providerId="ADAL" clId="{97AE8C35-2375-40D4-8F09-DBC209B3CDBF}" dt="2021-03-03T15:53:07.700" v="5060"/>
          <ac:picMkLst>
            <pc:docMk/>
            <pc:sldMk cId="2597604076" sldId="488"/>
            <ac:picMk id="100" creationId="{28DC18FB-E0BC-4FE4-956E-49BD277EE08F}"/>
          </ac:picMkLst>
        </pc:picChg>
        <pc:picChg chg="add mod">
          <ac:chgData name="MOUAMMAR Matthieu" userId="a28de245-dc05-4206-b24f-6f403ed1344a" providerId="ADAL" clId="{97AE8C35-2375-40D4-8F09-DBC209B3CDBF}" dt="2021-03-03T15:53:07.700" v="5060"/>
          <ac:picMkLst>
            <pc:docMk/>
            <pc:sldMk cId="2597604076" sldId="488"/>
            <ac:picMk id="102" creationId="{9AD4749F-5D4C-4557-9397-CD8D8710116C}"/>
          </ac:picMkLst>
        </pc:picChg>
      </pc:sldChg>
      <pc:sldChg chg="addSp delSp modSp add mod">
        <pc:chgData name="MOUAMMAR Matthieu" userId="a28de245-dc05-4206-b24f-6f403ed1344a" providerId="ADAL" clId="{97AE8C35-2375-40D4-8F09-DBC209B3CDBF}" dt="2021-03-06T15:42:40.431" v="5126"/>
        <pc:sldMkLst>
          <pc:docMk/>
          <pc:sldMk cId="1855793032" sldId="489"/>
        </pc:sldMkLst>
        <pc:spChg chg="mod">
          <ac:chgData name="MOUAMMAR Matthieu" userId="a28de245-dc05-4206-b24f-6f403ed1344a" providerId="ADAL" clId="{97AE8C35-2375-40D4-8F09-DBC209B3CDBF}" dt="2021-03-06T15:40:56.074" v="5110" actId="20577"/>
          <ac:spMkLst>
            <pc:docMk/>
            <pc:sldMk cId="1855793032" sldId="489"/>
            <ac:spMk id="5" creationId="{00000000-0000-0000-0000-000000000000}"/>
          </ac:spMkLst>
        </pc:spChg>
        <pc:spChg chg="mod">
          <ac:chgData name="MOUAMMAR Matthieu" userId="a28de245-dc05-4206-b24f-6f403ed1344a" providerId="ADAL" clId="{97AE8C35-2375-40D4-8F09-DBC209B3CDBF}" dt="2021-03-06T15:41:19.857" v="5115" actId="14100"/>
          <ac:spMkLst>
            <pc:docMk/>
            <pc:sldMk cId="1855793032" sldId="489"/>
            <ac:spMk id="27" creationId="{9A07D346-A9CC-429A-9642-40453700E4C3}"/>
          </ac:spMkLst>
        </pc:spChg>
        <pc:spChg chg="add mod">
          <ac:chgData name="MOUAMMAR Matthieu" userId="a28de245-dc05-4206-b24f-6f403ed1344a" providerId="ADAL" clId="{97AE8C35-2375-40D4-8F09-DBC209B3CDBF}" dt="2021-03-06T15:41:37.289" v="5118" actId="1076"/>
          <ac:spMkLst>
            <pc:docMk/>
            <pc:sldMk cId="1855793032" sldId="489"/>
            <ac:spMk id="40" creationId="{DA27EFDA-2B41-45A0-B9B7-EC0F5C9BE3EA}"/>
          </ac:spMkLst>
        </pc:spChg>
        <pc:spChg chg="add mod">
          <ac:chgData name="MOUAMMAR Matthieu" userId="a28de245-dc05-4206-b24f-6f403ed1344a" providerId="ADAL" clId="{97AE8C35-2375-40D4-8F09-DBC209B3CDBF}" dt="2021-03-06T15:41:37.289" v="5118" actId="1076"/>
          <ac:spMkLst>
            <pc:docMk/>
            <pc:sldMk cId="1855793032" sldId="489"/>
            <ac:spMk id="41" creationId="{C0D4D329-092C-4324-9602-569BF7E45022}"/>
          </ac:spMkLst>
        </pc:spChg>
        <pc:spChg chg="add mod">
          <ac:chgData name="MOUAMMAR Matthieu" userId="a28de245-dc05-4206-b24f-6f403ed1344a" providerId="ADAL" clId="{97AE8C35-2375-40D4-8F09-DBC209B3CDBF}" dt="2021-03-06T15:41:37.289" v="5118" actId="1076"/>
          <ac:spMkLst>
            <pc:docMk/>
            <pc:sldMk cId="1855793032" sldId="489"/>
            <ac:spMk id="42" creationId="{66FD1D26-170C-43BB-83F9-B60C93234AFB}"/>
          </ac:spMkLst>
        </pc:spChg>
        <pc:spChg chg="add mod">
          <ac:chgData name="MOUAMMAR Matthieu" userId="a28de245-dc05-4206-b24f-6f403ed1344a" providerId="ADAL" clId="{97AE8C35-2375-40D4-8F09-DBC209B3CDBF}" dt="2021-03-06T15:41:37.289" v="5118" actId="1076"/>
          <ac:spMkLst>
            <pc:docMk/>
            <pc:sldMk cId="1855793032" sldId="489"/>
            <ac:spMk id="43" creationId="{2AAE77EA-8907-4F7E-AD07-0AA0C2BA82AD}"/>
          </ac:spMkLst>
        </pc:spChg>
        <pc:spChg chg="add mod">
          <ac:chgData name="MOUAMMAR Matthieu" userId="a28de245-dc05-4206-b24f-6f403ed1344a" providerId="ADAL" clId="{97AE8C35-2375-40D4-8F09-DBC209B3CDBF}" dt="2021-03-06T15:41:37.289" v="5118" actId="1076"/>
          <ac:spMkLst>
            <pc:docMk/>
            <pc:sldMk cId="1855793032" sldId="489"/>
            <ac:spMk id="44" creationId="{105980B0-70F1-4069-AC1F-1E1E14C61868}"/>
          </ac:spMkLst>
        </pc:spChg>
        <pc:spChg chg="add mod">
          <ac:chgData name="MOUAMMAR Matthieu" userId="a28de245-dc05-4206-b24f-6f403ed1344a" providerId="ADAL" clId="{97AE8C35-2375-40D4-8F09-DBC209B3CDBF}" dt="2021-03-06T15:41:37.289" v="5118" actId="1076"/>
          <ac:spMkLst>
            <pc:docMk/>
            <pc:sldMk cId="1855793032" sldId="489"/>
            <ac:spMk id="45" creationId="{91A36834-0F27-4515-BE2D-76BD582C85AF}"/>
          </ac:spMkLst>
        </pc:spChg>
        <pc:spChg chg="add mod">
          <ac:chgData name="MOUAMMAR Matthieu" userId="a28de245-dc05-4206-b24f-6f403ed1344a" providerId="ADAL" clId="{97AE8C35-2375-40D4-8F09-DBC209B3CDBF}" dt="2021-03-06T15:41:37.289" v="5118" actId="1076"/>
          <ac:spMkLst>
            <pc:docMk/>
            <pc:sldMk cId="1855793032" sldId="489"/>
            <ac:spMk id="46" creationId="{80C23769-4F30-44A3-A881-B1ABC681B565}"/>
          </ac:spMkLst>
        </pc:spChg>
        <pc:spChg chg="add mod">
          <ac:chgData name="MOUAMMAR Matthieu" userId="a28de245-dc05-4206-b24f-6f403ed1344a" providerId="ADAL" clId="{97AE8C35-2375-40D4-8F09-DBC209B3CDBF}" dt="2021-03-06T15:41:37.289" v="5118" actId="1076"/>
          <ac:spMkLst>
            <pc:docMk/>
            <pc:sldMk cId="1855793032" sldId="489"/>
            <ac:spMk id="47" creationId="{E6BD019C-12EC-444D-9C5D-BEE951378149}"/>
          </ac:spMkLst>
        </pc:spChg>
        <pc:spChg chg="add mod">
          <ac:chgData name="MOUAMMAR Matthieu" userId="a28de245-dc05-4206-b24f-6f403ed1344a" providerId="ADAL" clId="{97AE8C35-2375-40D4-8F09-DBC209B3CDBF}" dt="2021-03-06T15:42:19.286" v="5123" actId="207"/>
          <ac:spMkLst>
            <pc:docMk/>
            <pc:sldMk cId="1855793032" sldId="489"/>
            <ac:spMk id="50" creationId="{B27B5705-4006-4BCB-81A9-FDC614F0E26E}"/>
          </ac:spMkLst>
        </pc:spChg>
        <pc:spChg chg="add mod">
          <ac:chgData name="MOUAMMAR Matthieu" userId="a28de245-dc05-4206-b24f-6f403ed1344a" providerId="ADAL" clId="{97AE8C35-2375-40D4-8F09-DBC209B3CDBF}" dt="2021-03-06T15:41:52.617" v="5121" actId="207"/>
          <ac:spMkLst>
            <pc:docMk/>
            <pc:sldMk cId="1855793032" sldId="489"/>
            <ac:spMk id="51" creationId="{E72D3CA2-EB62-43B7-B45B-9CC57A3FF565}"/>
          </ac:spMkLst>
        </pc:spChg>
        <pc:spChg chg="add mod">
          <ac:chgData name="MOUAMMAR Matthieu" userId="a28de245-dc05-4206-b24f-6f403ed1344a" providerId="ADAL" clId="{97AE8C35-2375-40D4-8F09-DBC209B3CDBF}" dt="2021-03-06T15:41:45.529" v="5119" actId="207"/>
          <ac:spMkLst>
            <pc:docMk/>
            <pc:sldMk cId="1855793032" sldId="489"/>
            <ac:spMk id="52" creationId="{8AA30221-F304-4BDD-983B-536A2E518611}"/>
          </ac:spMkLst>
        </pc:spChg>
        <pc:spChg chg="add mod">
          <ac:chgData name="MOUAMMAR Matthieu" userId="a28de245-dc05-4206-b24f-6f403ed1344a" providerId="ADAL" clId="{97AE8C35-2375-40D4-8F09-DBC209B3CDBF}" dt="2021-03-06T15:41:55.095" v="5122" actId="207"/>
          <ac:spMkLst>
            <pc:docMk/>
            <pc:sldMk cId="1855793032" sldId="489"/>
            <ac:spMk id="53" creationId="{D64C0514-AEC5-4EAA-8E72-0EDCFFBB04EC}"/>
          </ac:spMkLst>
        </pc:spChg>
        <pc:spChg chg="add mod">
          <ac:chgData name="MOUAMMAR Matthieu" userId="a28de245-dc05-4206-b24f-6f403ed1344a" providerId="ADAL" clId="{97AE8C35-2375-40D4-8F09-DBC209B3CDBF}" dt="2021-03-06T15:41:37.289" v="5118" actId="1076"/>
          <ac:spMkLst>
            <pc:docMk/>
            <pc:sldMk cId="1855793032" sldId="489"/>
            <ac:spMk id="54" creationId="{DA7B8A09-19F3-4A9D-B058-5F6074546183}"/>
          </ac:spMkLst>
        </pc:spChg>
        <pc:spChg chg="add mod">
          <ac:chgData name="MOUAMMAR Matthieu" userId="a28de245-dc05-4206-b24f-6f403ed1344a" providerId="ADAL" clId="{97AE8C35-2375-40D4-8F09-DBC209B3CDBF}" dt="2021-03-06T15:41:49.295" v="5120" actId="207"/>
          <ac:spMkLst>
            <pc:docMk/>
            <pc:sldMk cId="1855793032" sldId="489"/>
            <ac:spMk id="55" creationId="{4807340A-8057-49E3-B387-9EA309D67084}"/>
          </ac:spMkLst>
        </pc:spChg>
        <pc:spChg chg="add mod">
          <ac:chgData name="MOUAMMAR Matthieu" userId="a28de245-dc05-4206-b24f-6f403ed1344a" providerId="ADAL" clId="{97AE8C35-2375-40D4-8F09-DBC209B3CDBF}" dt="2021-03-06T15:41:37.289" v="5118" actId="1076"/>
          <ac:spMkLst>
            <pc:docMk/>
            <pc:sldMk cId="1855793032" sldId="489"/>
            <ac:spMk id="56" creationId="{8F18E35E-5382-4499-A74F-8801E6D9F653}"/>
          </ac:spMkLst>
        </pc:spChg>
        <pc:spChg chg="add mod">
          <ac:chgData name="MOUAMMAR Matthieu" userId="a28de245-dc05-4206-b24f-6f403ed1344a" providerId="ADAL" clId="{97AE8C35-2375-40D4-8F09-DBC209B3CDBF}" dt="2021-03-06T15:41:37.289" v="5118" actId="1076"/>
          <ac:spMkLst>
            <pc:docMk/>
            <pc:sldMk cId="1855793032" sldId="489"/>
            <ac:spMk id="57" creationId="{20446EF9-4D6B-44E1-8DFF-9F253B976D36}"/>
          </ac:spMkLst>
        </pc:spChg>
        <pc:spChg chg="add mod">
          <ac:chgData name="MOUAMMAR Matthieu" userId="a28de245-dc05-4206-b24f-6f403ed1344a" providerId="ADAL" clId="{97AE8C35-2375-40D4-8F09-DBC209B3CDBF}" dt="2021-03-06T15:41:37.289" v="5118" actId="1076"/>
          <ac:spMkLst>
            <pc:docMk/>
            <pc:sldMk cId="1855793032" sldId="489"/>
            <ac:spMk id="58" creationId="{8FDECAA0-FCD0-4189-94C8-56B0CAD4CB24}"/>
          </ac:spMkLst>
        </pc:spChg>
        <pc:spChg chg="add mod">
          <ac:chgData name="MOUAMMAR Matthieu" userId="a28de245-dc05-4206-b24f-6f403ed1344a" providerId="ADAL" clId="{97AE8C35-2375-40D4-8F09-DBC209B3CDBF}" dt="2021-03-06T15:41:37.289" v="5118" actId="1076"/>
          <ac:spMkLst>
            <pc:docMk/>
            <pc:sldMk cId="1855793032" sldId="489"/>
            <ac:spMk id="59" creationId="{B6EB49B4-21F5-42D4-BFF1-A778C8AAE0C8}"/>
          </ac:spMkLst>
        </pc:spChg>
        <pc:spChg chg="add mod">
          <ac:chgData name="MOUAMMAR Matthieu" userId="a28de245-dc05-4206-b24f-6f403ed1344a" providerId="ADAL" clId="{97AE8C35-2375-40D4-8F09-DBC209B3CDBF}" dt="2021-03-06T15:41:37.289" v="5118" actId="1076"/>
          <ac:spMkLst>
            <pc:docMk/>
            <pc:sldMk cId="1855793032" sldId="489"/>
            <ac:spMk id="60" creationId="{B5E3FE42-6FE9-434D-A1FD-D542CA788FED}"/>
          </ac:spMkLst>
        </pc:spChg>
        <pc:spChg chg="add mod">
          <ac:chgData name="MOUAMMAR Matthieu" userId="a28de245-dc05-4206-b24f-6f403ed1344a" providerId="ADAL" clId="{97AE8C35-2375-40D4-8F09-DBC209B3CDBF}" dt="2021-03-06T15:41:37.289" v="5118" actId="1076"/>
          <ac:spMkLst>
            <pc:docMk/>
            <pc:sldMk cId="1855793032" sldId="489"/>
            <ac:spMk id="61" creationId="{F981CE7C-FA23-4C16-962A-A2FE21520A03}"/>
          </ac:spMkLst>
        </pc:spChg>
        <pc:spChg chg="add mod">
          <ac:chgData name="MOUAMMAR Matthieu" userId="a28de245-dc05-4206-b24f-6f403ed1344a" providerId="ADAL" clId="{97AE8C35-2375-40D4-8F09-DBC209B3CDBF}" dt="2021-03-06T15:41:37.289" v="5118" actId="1076"/>
          <ac:spMkLst>
            <pc:docMk/>
            <pc:sldMk cId="1855793032" sldId="489"/>
            <ac:spMk id="62" creationId="{E0C6F9B6-F339-46B3-BCAE-2F15D21E7E61}"/>
          </ac:spMkLst>
        </pc:spChg>
        <pc:spChg chg="add mod">
          <ac:chgData name="MOUAMMAR Matthieu" userId="a28de245-dc05-4206-b24f-6f403ed1344a" providerId="ADAL" clId="{97AE8C35-2375-40D4-8F09-DBC209B3CDBF}" dt="2021-03-06T15:41:37.289" v="5118" actId="1076"/>
          <ac:spMkLst>
            <pc:docMk/>
            <pc:sldMk cId="1855793032" sldId="489"/>
            <ac:spMk id="63" creationId="{CE4CA9A0-7486-4BFE-B148-1554807BE2D1}"/>
          </ac:spMkLst>
        </pc:spChg>
        <pc:spChg chg="add mod">
          <ac:chgData name="MOUAMMAR Matthieu" userId="a28de245-dc05-4206-b24f-6f403ed1344a" providerId="ADAL" clId="{97AE8C35-2375-40D4-8F09-DBC209B3CDBF}" dt="2021-03-06T15:41:37.289" v="5118" actId="1076"/>
          <ac:spMkLst>
            <pc:docMk/>
            <pc:sldMk cId="1855793032" sldId="489"/>
            <ac:spMk id="64" creationId="{4A40EBA4-952A-4F5E-9051-92E8D9347E55}"/>
          </ac:spMkLst>
        </pc:spChg>
        <pc:spChg chg="add mod">
          <ac:chgData name="MOUAMMAR Matthieu" userId="a28de245-dc05-4206-b24f-6f403ed1344a" providerId="ADAL" clId="{97AE8C35-2375-40D4-8F09-DBC209B3CDBF}" dt="2021-03-06T15:41:37.289" v="5118" actId="1076"/>
          <ac:spMkLst>
            <pc:docMk/>
            <pc:sldMk cId="1855793032" sldId="489"/>
            <ac:spMk id="66" creationId="{FE9AB49D-2618-4035-B95A-DE1B38D8AADB}"/>
          </ac:spMkLst>
        </pc:spChg>
        <pc:spChg chg="add mod">
          <ac:chgData name="MOUAMMAR Matthieu" userId="a28de245-dc05-4206-b24f-6f403ed1344a" providerId="ADAL" clId="{97AE8C35-2375-40D4-8F09-DBC209B3CDBF}" dt="2021-03-06T15:41:37.289" v="5118" actId="1076"/>
          <ac:spMkLst>
            <pc:docMk/>
            <pc:sldMk cId="1855793032" sldId="489"/>
            <ac:spMk id="67" creationId="{6C44FC03-1BDF-45FD-A5A1-275C391537EA}"/>
          </ac:spMkLst>
        </pc:spChg>
        <pc:spChg chg="add mod">
          <ac:chgData name="MOUAMMAR Matthieu" userId="a28de245-dc05-4206-b24f-6f403ed1344a" providerId="ADAL" clId="{97AE8C35-2375-40D4-8F09-DBC209B3CDBF}" dt="2021-03-06T15:41:37.289" v="5118" actId="1076"/>
          <ac:spMkLst>
            <pc:docMk/>
            <pc:sldMk cId="1855793032" sldId="489"/>
            <ac:spMk id="68" creationId="{9A5651DB-8BF5-478A-A1ED-B6C8883525EC}"/>
          </ac:spMkLst>
        </pc:spChg>
        <pc:spChg chg="add mod">
          <ac:chgData name="MOUAMMAR Matthieu" userId="a28de245-dc05-4206-b24f-6f403ed1344a" providerId="ADAL" clId="{97AE8C35-2375-40D4-8F09-DBC209B3CDBF}" dt="2021-03-06T15:41:37.289" v="5118" actId="1076"/>
          <ac:spMkLst>
            <pc:docMk/>
            <pc:sldMk cId="1855793032" sldId="489"/>
            <ac:spMk id="69" creationId="{51875311-5988-404D-ABE7-66C1D2836244}"/>
          </ac:spMkLst>
        </pc:spChg>
        <pc:spChg chg="add mod">
          <ac:chgData name="MOUAMMAR Matthieu" userId="a28de245-dc05-4206-b24f-6f403ed1344a" providerId="ADAL" clId="{97AE8C35-2375-40D4-8F09-DBC209B3CDBF}" dt="2021-03-06T15:41:37.289" v="5118" actId="1076"/>
          <ac:spMkLst>
            <pc:docMk/>
            <pc:sldMk cId="1855793032" sldId="489"/>
            <ac:spMk id="70" creationId="{95990AD3-ED9D-4C9E-AD5A-10F1A4689C6E}"/>
          </ac:spMkLst>
        </pc:spChg>
        <pc:spChg chg="add mod">
          <ac:chgData name="MOUAMMAR Matthieu" userId="a28de245-dc05-4206-b24f-6f403ed1344a" providerId="ADAL" clId="{97AE8C35-2375-40D4-8F09-DBC209B3CDBF}" dt="2021-03-06T15:41:37.289" v="5118" actId="1076"/>
          <ac:spMkLst>
            <pc:docMk/>
            <pc:sldMk cId="1855793032" sldId="489"/>
            <ac:spMk id="71" creationId="{0B6B8D1B-41A4-4208-AB7D-58842CE2E243}"/>
          </ac:spMkLst>
        </pc:spChg>
        <pc:spChg chg="add mod">
          <ac:chgData name="MOUAMMAR Matthieu" userId="a28de245-dc05-4206-b24f-6f403ed1344a" providerId="ADAL" clId="{97AE8C35-2375-40D4-8F09-DBC209B3CDBF}" dt="2021-03-06T15:41:37.289" v="5118" actId="1076"/>
          <ac:spMkLst>
            <pc:docMk/>
            <pc:sldMk cId="1855793032" sldId="489"/>
            <ac:spMk id="72" creationId="{C1670F6C-FD99-47D6-9542-C9243AD3FB81}"/>
          </ac:spMkLst>
        </pc:spChg>
        <pc:spChg chg="add mod">
          <ac:chgData name="MOUAMMAR Matthieu" userId="a28de245-dc05-4206-b24f-6f403ed1344a" providerId="ADAL" clId="{97AE8C35-2375-40D4-8F09-DBC209B3CDBF}" dt="2021-03-06T15:41:37.289" v="5118" actId="1076"/>
          <ac:spMkLst>
            <pc:docMk/>
            <pc:sldMk cId="1855793032" sldId="489"/>
            <ac:spMk id="73" creationId="{12CD87E8-1BD7-49D6-B301-393058527709}"/>
          </ac:spMkLst>
        </pc:spChg>
        <pc:spChg chg="add mod">
          <ac:chgData name="MOUAMMAR Matthieu" userId="a28de245-dc05-4206-b24f-6f403ed1344a" providerId="ADAL" clId="{97AE8C35-2375-40D4-8F09-DBC209B3CDBF}" dt="2021-03-06T15:41:37.289" v="5118" actId="1076"/>
          <ac:spMkLst>
            <pc:docMk/>
            <pc:sldMk cId="1855793032" sldId="489"/>
            <ac:spMk id="74" creationId="{4F487CB6-9D06-422E-B6F9-927282805C28}"/>
          </ac:spMkLst>
        </pc:spChg>
        <pc:spChg chg="add mod">
          <ac:chgData name="MOUAMMAR Matthieu" userId="a28de245-dc05-4206-b24f-6f403ed1344a" providerId="ADAL" clId="{97AE8C35-2375-40D4-8F09-DBC209B3CDBF}" dt="2021-03-06T15:41:37.289" v="5118" actId="1076"/>
          <ac:spMkLst>
            <pc:docMk/>
            <pc:sldMk cId="1855793032" sldId="489"/>
            <ac:spMk id="75" creationId="{208A2911-F848-4E5E-B605-D5E78456DF21}"/>
          </ac:spMkLst>
        </pc:spChg>
        <pc:spChg chg="add mod">
          <ac:chgData name="MOUAMMAR Matthieu" userId="a28de245-dc05-4206-b24f-6f403ed1344a" providerId="ADAL" clId="{97AE8C35-2375-40D4-8F09-DBC209B3CDBF}" dt="2021-03-06T15:41:37.289" v="5118" actId="1076"/>
          <ac:spMkLst>
            <pc:docMk/>
            <pc:sldMk cId="1855793032" sldId="489"/>
            <ac:spMk id="76" creationId="{2CECB28C-EA24-4ACC-9455-C24C99E69F45}"/>
          </ac:spMkLst>
        </pc:spChg>
        <pc:spChg chg="add mod">
          <ac:chgData name="MOUAMMAR Matthieu" userId="a28de245-dc05-4206-b24f-6f403ed1344a" providerId="ADAL" clId="{97AE8C35-2375-40D4-8F09-DBC209B3CDBF}" dt="2021-03-06T15:41:37.289" v="5118" actId="1076"/>
          <ac:spMkLst>
            <pc:docMk/>
            <pc:sldMk cId="1855793032" sldId="489"/>
            <ac:spMk id="77" creationId="{4662115F-0222-4537-997A-9C4E95790806}"/>
          </ac:spMkLst>
        </pc:spChg>
        <pc:spChg chg="add mod">
          <ac:chgData name="MOUAMMAR Matthieu" userId="a28de245-dc05-4206-b24f-6f403ed1344a" providerId="ADAL" clId="{97AE8C35-2375-40D4-8F09-DBC209B3CDBF}" dt="2021-03-06T15:41:37.289" v="5118" actId="1076"/>
          <ac:spMkLst>
            <pc:docMk/>
            <pc:sldMk cId="1855793032" sldId="489"/>
            <ac:spMk id="78" creationId="{080A8B50-0099-4937-ABCF-D968EB94CA53}"/>
          </ac:spMkLst>
        </pc:spChg>
        <pc:spChg chg="add mod">
          <ac:chgData name="MOUAMMAR Matthieu" userId="a28de245-dc05-4206-b24f-6f403ed1344a" providerId="ADAL" clId="{97AE8C35-2375-40D4-8F09-DBC209B3CDBF}" dt="2021-03-06T15:41:37.289" v="5118" actId="1076"/>
          <ac:spMkLst>
            <pc:docMk/>
            <pc:sldMk cId="1855793032" sldId="489"/>
            <ac:spMk id="79" creationId="{3EB0A931-468B-442C-82E6-616039C75048}"/>
          </ac:spMkLst>
        </pc:spChg>
        <pc:spChg chg="add mod">
          <ac:chgData name="MOUAMMAR Matthieu" userId="a28de245-dc05-4206-b24f-6f403ed1344a" providerId="ADAL" clId="{97AE8C35-2375-40D4-8F09-DBC209B3CDBF}" dt="2021-03-06T15:41:37.289" v="5118" actId="1076"/>
          <ac:spMkLst>
            <pc:docMk/>
            <pc:sldMk cId="1855793032" sldId="489"/>
            <ac:spMk id="80" creationId="{BD1AB9D7-0A8B-4C8A-9A04-2F2543381B25}"/>
          </ac:spMkLst>
        </pc:spChg>
        <pc:spChg chg="add mod">
          <ac:chgData name="MOUAMMAR Matthieu" userId="a28de245-dc05-4206-b24f-6f403ed1344a" providerId="ADAL" clId="{97AE8C35-2375-40D4-8F09-DBC209B3CDBF}" dt="2021-03-06T15:41:37.289" v="5118" actId="1076"/>
          <ac:spMkLst>
            <pc:docMk/>
            <pc:sldMk cId="1855793032" sldId="489"/>
            <ac:spMk id="81" creationId="{88F32FC1-D88B-4E42-A34B-7BA52AFF514A}"/>
          </ac:spMkLst>
        </pc:spChg>
        <pc:spChg chg="add mod">
          <ac:chgData name="MOUAMMAR Matthieu" userId="a28de245-dc05-4206-b24f-6f403ed1344a" providerId="ADAL" clId="{97AE8C35-2375-40D4-8F09-DBC209B3CDBF}" dt="2021-03-06T15:41:37.289" v="5118" actId="1076"/>
          <ac:spMkLst>
            <pc:docMk/>
            <pc:sldMk cId="1855793032" sldId="489"/>
            <ac:spMk id="82" creationId="{39C67F43-FCE5-4A04-A159-8935C309B2F9}"/>
          </ac:spMkLst>
        </pc:spChg>
        <pc:spChg chg="add mod">
          <ac:chgData name="MOUAMMAR Matthieu" userId="a28de245-dc05-4206-b24f-6f403ed1344a" providerId="ADAL" clId="{97AE8C35-2375-40D4-8F09-DBC209B3CDBF}" dt="2021-03-06T15:41:37.289" v="5118" actId="1076"/>
          <ac:spMkLst>
            <pc:docMk/>
            <pc:sldMk cId="1855793032" sldId="489"/>
            <ac:spMk id="83" creationId="{E3518934-1584-4B77-80FA-14F421BE27F5}"/>
          </ac:spMkLst>
        </pc:spChg>
        <pc:spChg chg="add mod">
          <ac:chgData name="MOUAMMAR Matthieu" userId="a28de245-dc05-4206-b24f-6f403ed1344a" providerId="ADAL" clId="{97AE8C35-2375-40D4-8F09-DBC209B3CDBF}" dt="2021-03-06T15:41:37.289" v="5118" actId="1076"/>
          <ac:spMkLst>
            <pc:docMk/>
            <pc:sldMk cId="1855793032" sldId="489"/>
            <ac:spMk id="84" creationId="{B184BB28-2107-4C2F-9C63-A1F98397CE31}"/>
          </ac:spMkLst>
        </pc:spChg>
        <pc:spChg chg="add mod">
          <ac:chgData name="MOUAMMAR Matthieu" userId="a28de245-dc05-4206-b24f-6f403ed1344a" providerId="ADAL" clId="{97AE8C35-2375-40D4-8F09-DBC209B3CDBF}" dt="2021-03-06T15:41:37.289" v="5118" actId="1076"/>
          <ac:spMkLst>
            <pc:docMk/>
            <pc:sldMk cId="1855793032" sldId="489"/>
            <ac:spMk id="85" creationId="{4600A730-7A8E-4E59-9166-0AD9845EBBE9}"/>
          </ac:spMkLst>
        </pc:spChg>
        <pc:spChg chg="add mod">
          <ac:chgData name="MOUAMMAR Matthieu" userId="a28de245-dc05-4206-b24f-6f403ed1344a" providerId="ADAL" clId="{97AE8C35-2375-40D4-8F09-DBC209B3CDBF}" dt="2021-03-06T15:41:37.289" v="5118" actId="1076"/>
          <ac:spMkLst>
            <pc:docMk/>
            <pc:sldMk cId="1855793032" sldId="489"/>
            <ac:spMk id="86" creationId="{0C673799-9702-4964-9108-722FEC84198E}"/>
          </ac:spMkLst>
        </pc:spChg>
        <pc:spChg chg="add mod">
          <ac:chgData name="MOUAMMAR Matthieu" userId="a28de245-dc05-4206-b24f-6f403ed1344a" providerId="ADAL" clId="{97AE8C35-2375-40D4-8F09-DBC209B3CDBF}" dt="2021-03-06T15:41:37.289" v="5118" actId="1076"/>
          <ac:spMkLst>
            <pc:docMk/>
            <pc:sldMk cId="1855793032" sldId="489"/>
            <ac:spMk id="87" creationId="{07EB659E-76C5-404B-937E-EDD5AF1117A6}"/>
          </ac:spMkLst>
        </pc:spChg>
        <pc:spChg chg="add mod">
          <ac:chgData name="MOUAMMAR Matthieu" userId="a28de245-dc05-4206-b24f-6f403ed1344a" providerId="ADAL" clId="{97AE8C35-2375-40D4-8F09-DBC209B3CDBF}" dt="2021-03-06T15:41:37.289" v="5118" actId="1076"/>
          <ac:spMkLst>
            <pc:docMk/>
            <pc:sldMk cId="1855793032" sldId="489"/>
            <ac:spMk id="88" creationId="{6CCEBBD1-065F-4B69-BAE5-6B7DA5A27AA5}"/>
          </ac:spMkLst>
        </pc:spChg>
        <pc:spChg chg="add mod">
          <ac:chgData name="MOUAMMAR Matthieu" userId="a28de245-dc05-4206-b24f-6f403ed1344a" providerId="ADAL" clId="{97AE8C35-2375-40D4-8F09-DBC209B3CDBF}" dt="2021-03-06T15:41:37.289" v="5118" actId="1076"/>
          <ac:spMkLst>
            <pc:docMk/>
            <pc:sldMk cId="1855793032" sldId="489"/>
            <ac:spMk id="89" creationId="{BA1D9148-0CF4-432C-A350-B3FB4FC527AB}"/>
          </ac:spMkLst>
        </pc:spChg>
        <pc:spChg chg="add mod">
          <ac:chgData name="MOUAMMAR Matthieu" userId="a28de245-dc05-4206-b24f-6f403ed1344a" providerId="ADAL" clId="{97AE8C35-2375-40D4-8F09-DBC209B3CDBF}" dt="2021-03-06T15:41:37.289" v="5118" actId="1076"/>
          <ac:spMkLst>
            <pc:docMk/>
            <pc:sldMk cId="1855793032" sldId="489"/>
            <ac:spMk id="90" creationId="{70C7ADB9-7A2D-4F7B-B893-4A59285991B6}"/>
          </ac:spMkLst>
        </pc:spChg>
        <pc:spChg chg="add mod">
          <ac:chgData name="MOUAMMAR Matthieu" userId="a28de245-dc05-4206-b24f-6f403ed1344a" providerId="ADAL" clId="{97AE8C35-2375-40D4-8F09-DBC209B3CDBF}" dt="2021-03-06T15:41:37.289" v="5118" actId="1076"/>
          <ac:spMkLst>
            <pc:docMk/>
            <pc:sldMk cId="1855793032" sldId="489"/>
            <ac:spMk id="91" creationId="{F33666F3-AB64-4797-9C7F-329426F57648}"/>
          </ac:spMkLst>
        </pc:spChg>
        <pc:spChg chg="add mod">
          <ac:chgData name="MOUAMMAR Matthieu" userId="a28de245-dc05-4206-b24f-6f403ed1344a" providerId="ADAL" clId="{97AE8C35-2375-40D4-8F09-DBC209B3CDBF}" dt="2021-03-06T15:41:37.289" v="5118" actId="1076"/>
          <ac:spMkLst>
            <pc:docMk/>
            <pc:sldMk cId="1855793032" sldId="489"/>
            <ac:spMk id="92" creationId="{1E0D4BF1-C6E0-4C9C-A331-1921B7622CA1}"/>
          </ac:spMkLst>
        </pc:spChg>
        <pc:spChg chg="add mod">
          <ac:chgData name="MOUAMMAR Matthieu" userId="a28de245-dc05-4206-b24f-6f403ed1344a" providerId="ADAL" clId="{97AE8C35-2375-40D4-8F09-DBC209B3CDBF}" dt="2021-03-06T15:41:37.289" v="5118" actId="1076"/>
          <ac:spMkLst>
            <pc:docMk/>
            <pc:sldMk cId="1855793032" sldId="489"/>
            <ac:spMk id="93" creationId="{CD7AAA80-43A0-402A-83B2-E89C10DD8767}"/>
          </ac:spMkLst>
        </pc:spChg>
        <pc:spChg chg="add mod">
          <ac:chgData name="MOUAMMAR Matthieu" userId="a28de245-dc05-4206-b24f-6f403ed1344a" providerId="ADAL" clId="{97AE8C35-2375-40D4-8F09-DBC209B3CDBF}" dt="2021-03-06T15:41:37.289" v="5118" actId="1076"/>
          <ac:spMkLst>
            <pc:docMk/>
            <pc:sldMk cId="1855793032" sldId="489"/>
            <ac:spMk id="94" creationId="{1CF0675D-FBA6-4CD1-A4C5-CC699C0890BC}"/>
          </ac:spMkLst>
        </pc:spChg>
        <pc:spChg chg="add mod">
          <ac:chgData name="MOUAMMAR Matthieu" userId="a28de245-dc05-4206-b24f-6f403ed1344a" providerId="ADAL" clId="{97AE8C35-2375-40D4-8F09-DBC209B3CDBF}" dt="2021-03-06T15:41:37.289" v="5118" actId="1076"/>
          <ac:spMkLst>
            <pc:docMk/>
            <pc:sldMk cId="1855793032" sldId="489"/>
            <ac:spMk id="95" creationId="{C433041E-4023-42C8-B42A-4545700AD20E}"/>
          </ac:spMkLst>
        </pc:spChg>
        <pc:spChg chg="add mod">
          <ac:chgData name="MOUAMMAR Matthieu" userId="a28de245-dc05-4206-b24f-6f403ed1344a" providerId="ADAL" clId="{97AE8C35-2375-40D4-8F09-DBC209B3CDBF}" dt="2021-03-06T15:41:37.289" v="5118" actId="1076"/>
          <ac:spMkLst>
            <pc:docMk/>
            <pc:sldMk cId="1855793032" sldId="489"/>
            <ac:spMk id="96" creationId="{5030C594-4162-4279-AA5A-F61BFF7EE76A}"/>
          </ac:spMkLst>
        </pc:spChg>
        <pc:spChg chg="add mod">
          <ac:chgData name="MOUAMMAR Matthieu" userId="a28de245-dc05-4206-b24f-6f403ed1344a" providerId="ADAL" clId="{97AE8C35-2375-40D4-8F09-DBC209B3CDBF}" dt="2021-03-06T15:41:37.289" v="5118" actId="1076"/>
          <ac:spMkLst>
            <pc:docMk/>
            <pc:sldMk cId="1855793032" sldId="489"/>
            <ac:spMk id="97" creationId="{A7D2EC61-226F-469E-842D-CAC70E79CA99}"/>
          </ac:spMkLst>
        </pc:spChg>
        <pc:spChg chg="add mod">
          <ac:chgData name="MOUAMMAR Matthieu" userId="a28de245-dc05-4206-b24f-6f403ed1344a" providerId="ADAL" clId="{97AE8C35-2375-40D4-8F09-DBC209B3CDBF}" dt="2021-03-06T15:41:37.289" v="5118" actId="1076"/>
          <ac:spMkLst>
            <pc:docMk/>
            <pc:sldMk cId="1855793032" sldId="489"/>
            <ac:spMk id="98" creationId="{3941845B-4290-48FC-BFF1-94C805B0BF4F}"/>
          </ac:spMkLst>
        </pc:spChg>
        <pc:spChg chg="add mod">
          <ac:chgData name="MOUAMMAR Matthieu" userId="a28de245-dc05-4206-b24f-6f403ed1344a" providerId="ADAL" clId="{97AE8C35-2375-40D4-8F09-DBC209B3CDBF}" dt="2021-03-06T15:41:37.289" v="5118" actId="1076"/>
          <ac:spMkLst>
            <pc:docMk/>
            <pc:sldMk cId="1855793032" sldId="489"/>
            <ac:spMk id="99" creationId="{8C22F3B1-B0A1-40E4-B981-C91539615FC7}"/>
          </ac:spMkLst>
        </pc:spChg>
        <pc:spChg chg="add mod">
          <ac:chgData name="MOUAMMAR Matthieu" userId="a28de245-dc05-4206-b24f-6f403ed1344a" providerId="ADAL" clId="{97AE8C35-2375-40D4-8F09-DBC209B3CDBF}" dt="2021-03-06T15:41:37.289" v="5118" actId="1076"/>
          <ac:spMkLst>
            <pc:docMk/>
            <pc:sldMk cId="1855793032" sldId="489"/>
            <ac:spMk id="100" creationId="{21E6FF20-122A-4D69-B57A-8DCF2B5BAB49}"/>
          </ac:spMkLst>
        </pc:spChg>
        <pc:spChg chg="add mod">
          <ac:chgData name="MOUAMMAR Matthieu" userId="a28de245-dc05-4206-b24f-6f403ed1344a" providerId="ADAL" clId="{97AE8C35-2375-40D4-8F09-DBC209B3CDBF}" dt="2021-03-06T15:41:37.289" v="5118" actId="1076"/>
          <ac:spMkLst>
            <pc:docMk/>
            <pc:sldMk cId="1855793032" sldId="489"/>
            <ac:spMk id="101" creationId="{EF1E3DF6-688C-4183-A3E2-2AD7EBAD7D9B}"/>
          </ac:spMkLst>
        </pc:spChg>
        <pc:spChg chg="add mod">
          <ac:chgData name="MOUAMMAR Matthieu" userId="a28de245-dc05-4206-b24f-6f403ed1344a" providerId="ADAL" clId="{97AE8C35-2375-40D4-8F09-DBC209B3CDBF}" dt="2021-03-06T15:41:37.289" v="5118" actId="1076"/>
          <ac:spMkLst>
            <pc:docMk/>
            <pc:sldMk cId="1855793032" sldId="489"/>
            <ac:spMk id="102" creationId="{24B094A7-0B89-459D-A941-B46FF0A8AD68}"/>
          </ac:spMkLst>
        </pc:spChg>
        <pc:spChg chg="add mod">
          <ac:chgData name="MOUAMMAR Matthieu" userId="a28de245-dc05-4206-b24f-6f403ed1344a" providerId="ADAL" clId="{97AE8C35-2375-40D4-8F09-DBC209B3CDBF}" dt="2021-03-06T15:41:37.289" v="5118" actId="1076"/>
          <ac:spMkLst>
            <pc:docMk/>
            <pc:sldMk cId="1855793032" sldId="489"/>
            <ac:spMk id="103" creationId="{D74C04D9-93C5-4562-8D37-AABCDC6E0A7A}"/>
          </ac:spMkLst>
        </pc:spChg>
        <pc:spChg chg="add mod">
          <ac:chgData name="MOUAMMAR Matthieu" userId="a28de245-dc05-4206-b24f-6f403ed1344a" providerId="ADAL" clId="{97AE8C35-2375-40D4-8F09-DBC209B3CDBF}" dt="2021-03-06T15:41:37.289" v="5118" actId="1076"/>
          <ac:spMkLst>
            <pc:docMk/>
            <pc:sldMk cId="1855793032" sldId="489"/>
            <ac:spMk id="104" creationId="{F2EE74B8-CD67-4823-8700-8E4E7889F239}"/>
          </ac:spMkLst>
        </pc:spChg>
        <pc:spChg chg="add mod">
          <ac:chgData name="MOUAMMAR Matthieu" userId="a28de245-dc05-4206-b24f-6f403ed1344a" providerId="ADAL" clId="{97AE8C35-2375-40D4-8F09-DBC209B3CDBF}" dt="2021-03-06T15:41:37.289" v="5118" actId="1076"/>
          <ac:spMkLst>
            <pc:docMk/>
            <pc:sldMk cId="1855793032" sldId="489"/>
            <ac:spMk id="105" creationId="{4331A5EA-1A2E-44F0-8706-EE8B3F45E987}"/>
          </ac:spMkLst>
        </pc:spChg>
        <pc:spChg chg="add mod">
          <ac:chgData name="MOUAMMAR Matthieu" userId="a28de245-dc05-4206-b24f-6f403ed1344a" providerId="ADAL" clId="{97AE8C35-2375-40D4-8F09-DBC209B3CDBF}" dt="2021-03-06T15:41:37.289" v="5118" actId="1076"/>
          <ac:spMkLst>
            <pc:docMk/>
            <pc:sldMk cId="1855793032" sldId="489"/>
            <ac:spMk id="106" creationId="{66DA2945-3D1E-4442-895F-B1D0D95CA9CD}"/>
          </ac:spMkLst>
        </pc:spChg>
        <pc:spChg chg="add mod">
          <ac:chgData name="MOUAMMAR Matthieu" userId="a28de245-dc05-4206-b24f-6f403ed1344a" providerId="ADAL" clId="{97AE8C35-2375-40D4-8F09-DBC209B3CDBF}" dt="2021-03-06T15:41:37.289" v="5118" actId="1076"/>
          <ac:spMkLst>
            <pc:docMk/>
            <pc:sldMk cId="1855793032" sldId="489"/>
            <ac:spMk id="107" creationId="{65A5AAAD-C01E-4122-9E96-65FD8996042B}"/>
          </ac:spMkLst>
        </pc:spChg>
        <pc:spChg chg="add mod">
          <ac:chgData name="MOUAMMAR Matthieu" userId="a28de245-dc05-4206-b24f-6f403ed1344a" providerId="ADAL" clId="{97AE8C35-2375-40D4-8F09-DBC209B3CDBF}" dt="2021-03-06T15:41:37.289" v="5118" actId="1076"/>
          <ac:spMkLst>
            <pc:docMk/>
            <pc:sldMk cId="1855793032" sldId="489"/>
            <ac:spMk id="108" creationId="{8D51754A-5FC3-49AF-8B31-6FCFBC477A53}"/>
          </ac:spMkLst>
        </pc:spChg>
        <pc:spChg chg="add mod">
          <ac:chgData name="MOUAMMAR Matthieu" userId="a28de245-dc05-4206-b24f-6f403ed1344a" providerId="ADAL" clId="{97AE8C35-2375-40D4-8F09-DBC209B3CDBF}" dt="2021-03-06T15:41:37.289" v="5118" actId="1076"/>
          <ac:spMkLst>
            <pc:docMk/>
            <pc:sldMk cId="1855793032" sldId="489"/>
            <ac:spMk id="109" creationId="{5B55E885-2E8C-489A-BA88-36C11A86DD19}"/>
          </ac:spMkLst>
        </pc:spChg>
        <pc:spChg chg="add mod">
          <ac:chgData name="MOUAMMAR Matthieu" userId="a28de245-dc05-4206-b24f-6f403ed1344a" providerId="ADAL" clId="{97AE8C35-2375-40D4-8F09-DBC209B3CDBF}" dt="2021-03-06T15:41:37.289" v="5118" actId="1076"/>
          <ac:spMkLst>
            <pc:docMk/>
            <pc:sldMk cId="1855793032" sldId="489"/>
            <ac:spMk id="110" creationId="{3A0823F5-6CE6-499F-99B6-6E1D5C2F8FC2}"/>
          </ac:spMkLst>
        </pc:spChg>
        <pc:spChg chg="add mod">
          <ac:chgData name="MOUAMMAR Matthieu" userId="a28de245-dc05-4206-b24f-6f403ed1344a" providerId="ADAL" clId="{97AE8C35-2375-40D4-8F09-DBC209B3CDBF}" dt="2021-03-06T15:41:37.289" v="5118" actId="1076"/>
          <ac:spMkLst>
            <pc:docMk/>
            <pc:sldMk cId="1855793032" sldId="489"/>
            <ac:spMk id="111" creationId="{A21279CA-A100-4D7D-8FF2-8577C60B4A2D}"/>
          </ac:spMkLst>
        </pc:spChg>
        <pc:spChg chg="add mod">
          <ac:chgData name="MOUAMMAR Matthieu" userId="a28de245-dc05-4206-b24f-6f403ed1344a" providerId="ADAL" clId="{97AE8C35-2375-40D4-8F09-DBC209B3CDBF}" dt="2021-03-06T15:42:24.126" v="5124" actId="208"/>
          <ac:spMkLst>
            <pc:docMk/>
            <pc:sldMk cId="1855793032" sldId="489"/>
            <ac:spMk id="112" creationId="{590B7247-390C-4CA7-BDC5-6BB11A6E5792}"/>
          </ac:spMkLst>
        </pc:spChg>
        <pc:spChg chg="add mod">
          <ac:chgData name="MOUAMMAR Matthieu" userId="a28de245-dc05-4206-b24f-6f403ed1344a" providerId="ADAL" clId="{97AE8C35-2375-40D4-8F09-DBC209B3CDBF}" dt="2021-03-06T15:42:24.126" v="5124" actId="208"/>
          <ac:spMkLst>
            <pc:docMk/>
            <pc:sldMk cId="1855793032" sldId="489"/>
            <ac:spMk id="113" creationId="{EA50589B-6E95-400F-990E-962356B6DC94}"/>
          </ac:spMkLst>
        </pc:spChg>
        <pc:spChg chg="add mod">
          <ac:chgData name="MOUAMMAR Matthieu" userId="a28de245-dc05-4206-b24f-6f403ed1344a" providerId="ADAL" clId="{97AE8C35-2375-40D4-8F09-DBC209B3CDBF}" dt="2021-03-06T15:42:24.126" v="5124" actId="208"/>
          <ac:spMkLst>
            <pc:docMk/>
            <pc:sldMk cId="1855793032" sldId="489"/>
            <ac:spMk id="114" creationId="{2FCCB128-19D0-43E8-8366-7EF9B9F0F813}"/>
          </ac:spMkLst>
        </pc:spChg>
        <pc:spChg chg="add mod">
          <ac:chgData name="MOUAMMAR Matthieu" userId="a28de245-dc05-4206-b24f-6f403ed1344a" providerId="ADAL" clId="{97AE8C35-2375-40D4-8F09-DBC209B3CDBF}" dt="2021-03-06T15:42:24.126" v="5124" actId="208"/>
          <ac:spMkLst>
            <pc:docMk/>
            <pc:sldMk cId="1855793032" sldId="489"/>
            <ac:spMk id="115" creationId="{1E4BCE6D-80C1-46E8-855E-CEF31DA98F6F}"/>
          </ac:spMkLst>
        </pc:spChg>
        <pc:spChg chg="add mod">
          <ac:chgData name="MOUAMMAR Matthieu" userId="a28de245-dc05-4206-b24f-6f403ed1344a" providerId="ADAL" clId="{97AE8C35-2375-40D4-8F09-DBC209B3CDBF}" dt="2021-03-06T15:42:24.126" v="5124" actId="208"/>
          <ac:spMkLst>
            <pc:docMk/>
            <pc:sldMk cId="1855793032" sldId="489"/>
            <ac:spMk id="116" creationId="{C92A4062-1DE1-4039-AB74-A9B330A54833}"/>
          </ac:spMkLst>
        </pc:spChg>
        <pc:spChg chg="add mod">
          <ac:chgData name="MOUAMMAR Matthieu" userId="a28de245-dc05-4206-b24f-6f403ed1344a" providerId="ADAL" clId="{97AE8C35-2375-40D4-8F09-DBC209B3CDBF}" dt="2021-03-06T15:42:24.126" v="5124" actId="208"/>
          <ac:spMkLst>
            <pc:docMk/>
            <pc:sldMk cId="1855793032" sldId="489"/>
            <ac:spMk id="117" creationId="{52CCC7C2-048E-4921-A1E0-E940F1940901}"/>
          </ac:spMkLst>
        </pc:spChg>
        <pc:spChg chg="add mod">
          <ac:chgData name="MOUAMMAR Matthieu" userId="a28de245-dc05-4206-b24f-6f403ed1344a" providerId="ADAL" clId="{97AE8C35-2375-40D4-8F09-DBC209B3CDBF}" dt="2021-03-06T15:42:24.126" v="5124" actId="208"/>
          <ac:spMkLst>
            <pc:docMk/>
            <pc:sldMk cId="1855793032" sldId="489"/>
            <ac:spMk id="118" creationId="{770B8CD6-5E42-47B0-AC68-73D42A56E277}"/>
          </ac:spMkLst>
        </pc:spChg>
        <pc:spChg chg="add mod">
          <ac:chgData name="MOUAMMAR Matthieu" userId="a28de245-dc05-4206-b24f-6f403ed1344a" providerId="ADAL" clId="{97AE8C35-2375-40D4-8F09-DBC209B3CDBF}" dt="2021-03-06T15:42:40.431" v="5126"/>
          <ac:spMkLst>
            <pc:docMk/>
            <pc:sldMk cId="1855793032" sldId="489"/>
            <ac:spMk id="134" creationId="{5CF0ADB7-B3F5-42CD-AEF9-43B7173F5EE8}"/>
          </ac:spMkLst>
        </pc:spChg>
        <pc:spChg chg="add mod">
          <ac:chgData name="MOUAMMAR Matthieu" userId="a28de245-dc05-4206-b24f-6f403ed1344a" providerId="ADAL" clId="{97AE8C35-2375-40D4-8F09-DBC209B3CDBF}" dt="2021-03-06T15:42:40.431" v="5126"/>
          <ac:spMkLst>
            <pc:docMk/>
            <pc:sldMk cId="1855793032" sldId="489"/>
            <ac:spMk id="135" creationId="{8CAFBFE1-A536-468F-A026-4A1EBA349F8D}"/>
          </ac:spMkLst>
        </pc:spChg>
        <pc:spChg chg="add mod">
          <ac:chgData name="MOUAMMAR Matthieu" userId="a28de245-dc05-4206-b24f-6f403ed1344a" providerId="ADAL" clId="{97AE8C35-2375-40D4-8F09-DBC209B3CDBF}" dt="2021-03-06T15:42:40.431" v="5126"/>
          <ac:spMkLst>
            <pc:docMk/>
            <pc:sldMk cId="1855793032" sldId="489"/>
            <ac:spMk id="136" creationId="{5FA6E74C-8C9B-450A-AE57-4FB656224CB9}"/>
          </ac:spMkLst>
        </pc:spChg>
        <pc:spChg chg="add mod">
          <ac:chgData name="MOUAMMAR Matthieu" userId="a28de245-dc05-4206-b24f-6f403ed1344a" providerId="ADAL" clId="{97AE8C35-2375-40D4-8F09-DBC209B3CDBF}" dt="2021-03-06T15:42:40.431" v="5126"/>
          <ac:spMkLst>
            <pc:docMk/>
            <pc:sldMk cId="1855793032" sldId="489"/>
            <ac:spMk id="137" creationId="{12507855-5A06-40E7-8A3A-8413B72CAB60}"/>
          </ac:spMkLst>
        </pc:spChg>
        <pc:spChg chg="add mod">
          <ac:chgData name="MOUAMMAR Matthieu" userId="a28de245-dc05-4206-b24f-6f403ed1344a" providerId="ADAL" clId="{97AE8C35-2375-40D4-8F09-DBC209B3CDBF}" dt="2021-03-06T15:42:40.431" v="5126"/>
          <ac:spMkLst>
            <pc:docMk/>
            <pc:sldMk cId="1855793032" sldId="489"/>
            <ac:spMk id="138" creationId="{C7236AAA-0E9A-46AD-8930-159344128414}"/>
          </ac:spMkLst>
        </pc:spChg>
        <pc:spChg chg="add mod">
          <ac:chgData name="MOUAMMAR Matthieu" userId="a28de245-dc05-4206-b24f-6f403ed1344a" providerId="ADAL" clId="{97AE8C35-2375-40D4-8F09-DBC209B3CDBF}" dt="2021-03-06T15:42:40.431" v="5126"/>
          <ac:spMkLst>
            <pc:docMk/>
            <pc:sldMk cId="1855793032" sldId="489"/>
            <ac:spMk id="139" creationId="{2B6AF3BB-0F83-461E-A02D-8A5394FD5E5F}"/>
          </ac:spMkLst>
        </pc:spChg>
        <pc:spChg chg="add mod">
          <ac:chgData name="MOUAMMAR Matthieu" userId="a28de245-dc05-4206-b24f-6f403ed1344a" providerId="ADAL" clId="{97AE8C35-2375-40D4-8F09-DBC209B3CDBF}" dt="2021-03-06T15:42:40.431" v="5126"/>
          <ac:spMkLst>
            <pc:docMk/>
            <pc:sldMk cId="1855793032" sldId="489"/>
            <ac:spMk id="140" creationId="{F9EF4896-4195-4178-A742-1D6792C694C3}"/>
          </ac:spMkLst>
        </pc:spChg>
        <pc:spChg chg="add mod">
          <ac:chgData name="MOUAMMAR Matthieu" userId="a28de245-dc05-4206-b24f-6f403ed1344a" providerId="ADAL" clId="{97AE8C35-2375-40D4-8F09-DBC209B3CDBF}" dt="2021-03-06T15:42:40.431" v="5126"/>
          <ac:spMkLst>
            <pc:docMk/>
            <pc:sldMk cId="1855793032" sldId="489"/>
            <ac:spMk id="141" creationId="{9C3259FA-B827-499E-9717-E56DBA965C35}"/>
          </ac:spMkLst>
        </pc:spChg>
        <pc:spChg chg="add mod">
          <ac:chgData name="MOUAMMAR Matthieu" userId="a28de245-dc05-4206-b24f-6f403ed1344a" providerId="ADAL" clId="{97AE8C35-2375-40D4-8F09-DBC209B3CDBF}" dt="2021-03-06T15:42:40.431" v="5126"/>
          <ac:spMkLst>
            <pc:docMk/>
            <pc:sldMk cId="1855793032" sldId="489"/>
            <ac:spMk id="144" creationId="{B39CC60D-5C25-4D02-B81C-11360AE402A2}"/>
          </ac:spMkLst>
        </pc:spChg>
        <pc:spChg chg="add mod">
          <ac:chgData name="MOUAMMAR Matthieu" userId="a28de245-dc05-4206-b24f-6f403ed1344a" providerId="ADAL" clId="{97AE8C35-2375-40D4-8F09-DBC209B3CDBF}" dt="2021-03-06T15:42:40.431" v="5126"/>
          <ac:spMkLst>
            <pc:docMk/>
            <pc:sldMk cId="1855793032" sldId="489"/>
            <ac:spMk id="145" creationId="{5ED8C1EF-DA02-4068-9D82-9962C81B526E}"/>
          </ac:spMkLst>
        </pc:spChg>
        <pc:spChg chg="add mod">
          <ac:chgData name="MOUAMMAR Matthieu" userId="a28de245-dc05-4206-b24f-6f403ed1344a" providerId="ADAL" clId="{97AE8C35-2375-40D4-8F09-DBC209B3CDBF}" dt="2021-03-06T15:42:40.431" v="5126"/>
          <ac:spMkLst>
            <pc:docMk/>
            <pc:sldMk cId="1855793032" sldId="489"/>
            <ac:spMk id="146" creationId="{6AE02D55-127B-476B-9010-D3E94A5450F7}"/>
          </ac:spMkLst>
        </pc:spChg>
        <pc:spChg chg="add mod">
          <ac:chgData name="MOUAMMAR Matthieu" userId="a28de245-dc05-4206-b24f-6f403ed1344a" providerId="ADAL" clId="{97AE8C35-2375-40D4-8F09-DBC209B3CDBF}" dt="2021-03-06T15:42:40.431" v="5126"/>
          <ac:spMkLst>
            <pc:docMk/>
            <pc:sldMk cId="1855793032" sldId="489"/>
            <ac:spMk id="147" creationId="{01224130-3FED-4B4E-8825-FF703A3DC79A}"/>
          </ac:spMkLst>
        </pc:spChg>
        <pc:spChg chg="add mod">
          <ac:chgData name="MOUAMMAR Matthieu" userId="a28de245-dc05-4206-b24f-6f403ed1344a" providerId="ADAL" clId="{97AE8C35-2375-40D4-8F09-DBC209B3CDBF}" dt="2021-03-06T15:42:40.431" v="5126"/>
          <ac:spMkLst>
            <pc:docMk/>
            <pc:sldMk cId="1855793032" sldId="489"/>
            <ac:spMk id="148" creationId="{30679EF7-BFDA-41B6-B5FD-44858BCCA203}"/>
          </ac:spMkLst>
        </pc:spChg>
        <pc:spChg chg="add mod">
          <ac:chgData name="MOUAMMAR Matthieu" userId="a28de245-dc05-4206-b24f-6f403ed1344a" providerId="ADAL" clId="{97AE8C35-2375-40D4-8F09-DBC209B3CDBF}" dt="2021-03-06T15:42:40.431" v="5126"/>
          <ac:spMkLst>
            <pc:docMk/>
            <pc:sldMk cId="1855793032" sldId="489"/>
            <ac:spMk id="149" creationId="{D7A7A5EC-5145-43D0-8EB8-E74D50A5D5D9}"/>
          </ac:spMkLst>
        </pc:spChg>
        <pc:spChg chg="add mod">
          <ac:chgData name="MOUAMMAR Matthieu" userId="a28de245-dc05-4206-b24f-6f403ed1344a" providerId="ADAL" clId="{97AE8C35-2375-40D4-8F09-DBC209B3CDBF}" dt="2021-03-06T15:42:40.431" v="5126"/>
          <ac:spMkLst>
            <pc:docMk/>
            <pc:sldMk cId="1855793032" sldId="489"/>
            <ac:spMk id="150" creationId="{27C1C46B-B78F-4594-B667-26522E750EDE}"/>
          </ac:spMkLst>
        </pc:spChg>
        <pc:spChg chg="add mod">
          <ac:chgData name="MOUAMMAR Matthieu" userId="a28de245-dc05-4206-b24f-6f403ed1344a" providerId="ADAL" clId="{97AE8C35-2375-40D4-8F09-DBC209B3CDBF}" dt="2021-03-06T15:42:40.431" v="5126"/>
          <ac:spMkLst>
            <pc:docMk/>
            <pc:sldMk cId="1855793032" sldId="489"/>
            <ac:spMk id="151" creationId="{8DF84549-6B4F-45A7-BBF1-7EAC2289C5D4}"/>
          </ac:spMkLst>
        </pc:spChg>
        <pc:spChg chg="add mod">
          <ac:chgData name="MOUAMMAR Matthieu" userId="a28de245-dc05-4206-b24f-6f403ed1344a" providerId="ADAL" clId="{97AE8C35-2375-40D4-8F09-DBC209B3CDBF}" dt="2021-03-06T15:42:40.431" v="5126"/>
          <ac:spMkLst>
            <pc:docMk/>
            <pc:sldMk cId="1855793032" sldId="489"/>
            <ac:spMk id="152" creationId="{2515D79F-9CE5-430F-A6CC-6AB1B1599972}"/>
          </ac:spMkLst>
        </pc:spChg>
        <pc:spChg chg="add mod">
          <ac:chgData name="MOUAMMAR Matthieu" userId="a28de245-dc05-4206-b24f-6f403ed1344a" providerId="ADAL" clId="{97AE8C35-2375-40D4-8F09-DBC209B3CDBF}" dt="2021-03-06T15:42:40.431" v="5126"/>
          <ac:spMkLst>
            <pc:docMk/>
            <pc:sldMk cId="1855793032" sldId="489"/>
            <ac:spMk id="153" creationId="{182EBD61-569E-40D9-A64D-A967ACD25367}"/>
          </ac:spMkLst>
        </pc:spChg>
        <pc:spChg chg="add mod">
          <ac:chgData name="MOUAMMAR Matthieu" userId="a28de245-dc05-4206-b24f-6f403ed1344a" providerId="ADAL" clId="{97AE8C35-2375-40D4-8F09-DBC209B3CDBF}" dt="2021-03-06T15:42:40.431" v="5126"/>
          <ac:spMkLst>
            <pc:docMk/>
            <pc:sldMk cId="1855793032" sldId="489"/>
            <ac:spMk id="154" creationId="{70757781-D3EA-45EC-BCBB-3EE41F643417}"/>
          </ac:spMkLst>
        </pc:spChg>
        <pc:spChg chg="add mod">
          <ac:chgData name="MOUAMMAR Matthieu" userId="a28de245-dc05-4206-b24f-6f403ed1344a" providerId="ADAL" clId="{97AE8C35-2375-40D4-8F09-DBC209B3CDBF}" dt="2021-03-06T15:42:40.431" v="5126"/>
          <ac:spMkLst>
            <pc:docMk/>
            <pc:sldMk cId="1855793032" sldId="489"/>
            <ac:spMk id="155" creationId="{7068B50C-C00F-4206-ABB7-B7013CF36CDF}"/>
          </ac:spMkLst>
        </pc:spChg>
        <pc:spChg chg="add mod">
          <ac:chgData name="MOUAMMAR Matthieu" userId="a28de245-dc05-4206-b24f-6f403ed1344a" providerId="ADAL" clId="{97AE8C35-2375-40D4-8F09-DBC209B3CDBF}" dt="2021-03-06T15:42:40.431" v="5126"/>
          <ac:spMkLst>
            <pc:docMk/>
            <pc:sldMk cId="1855793032" sldId="489"/>
            <ac:spMk id="156" creationId="{1052CF63-BDA6-4891-9D4A-86287D0E6C3F}"/>
          </ac:spMkLst>
        </pc:spChg>
        <pc:spChg chg="add mod">
          <ac:chgData name="MOUAMMAR Matthieu" userId="a28de245-dc05-4206-b24f-6f403ed1344a" providerId="ADAL" clId="{97AE8C35-2375-40D4-8F09-DBC209B3CDBF}" dt="2021-03-06T15:42:40.431" v="5126"/>
          <ac:spMkLst>
            <pc:docMk/>
            <pc:sldMk cId="1855793032" sldId="489"/>
            <ac:spMk id="157" creationId="{D7C6102A-D7F0-4E7A-BA51-FA3841DBAF91}"/>
          </ac:spMkLst>
        </pc:spChg>
        <pc:spChg chg="add mod">
          <ac:chgData name="MOUAMMAR Matthieu" userId="a28de245-dc05-4206-b24f-6f403ed1344a" providerId="ADAL" clId="{97AE8C35-2375-40D4-8F09-DBC209B3CDBF}" dt="2021-03-06T15:42:40.431" v="5126"/>
          <ac:spMkLst>
            <pc:docMk/>
            <pc:sldMk cId="1855793032" sldId="489"/>
            <ac:spMk id="158" creationId="{FA0EDC11-8FDD-4D14-BCC5-2F2D4EA5B387}"/>
          </ac:spMkLst>
        </pc:spChg>
        <pc:spChg chg="add mod">
          <ac:chgData name="MOUAMMAR Matthieu" userId="a28de245-dc05-4206-b24f-6f403ed1344a" providerId="ADAL" clId="{97AE8C35-2375-40D4-8F09-DBC209B3CDBF}" dt="2021-03-06T15:42:40.431" v="5126"/>
          <ac:spMkLst>
            <pc:docMk/>
            <pc:sldMk cId="1855793032" sldId="489"/>
            <ac:spMk id="160" creationId="{51DE0857-51A8-4FFB-BD70-B278761860DB}"/>
          </ac:spMkLst>
        </pc:spChg>
        <pc:spChg chg="add mod">
          <ac:chgData name="MOUAMMAR Matthieu" userId="a28de245-dc05-4206-b24f-6f403ed1344a" providerId="ADAL" clId="{97AE8C35-2375-40D4-8F09-DBC209B3CDBF}" dt="2021-03-06T15:42:40.431" v="5126"/>
          <ac:spMkLst>
            <pc:docMk/>
            <pc:sldMk cId="1855793032" sldId="489"/>
            <ac:spMk id="161" creationId="{6FCE34F4-EC92-420B-ABDB-E3FE2FAA4F8C}"/>
          </ac:spMkLst>
        </pc:spChg>
        <pc:spChg chg="add mod">
          <ac:chgData name="MOUAMMAR Matthieu" userId="a28de245-dc05-4206-b24f-6f403ed1344a" providerId="ADAL" clId="{97AE8C35-2375-40D4-8F09-DBC209B3CDBF}" dt="2021-03-06T15:42:40.431" v="5126"/>
          <ac:spMkLst>
            <pc:docMk/>
            <pc:sldMk cId="1855793032" sldId="489"/>
            <ac:spMk id="162" creationId="{18177A3B-AF19-4F19-BA39-8A8C0B87DC4C}"/>
          </ac:spMkLst>
        </pc:spChg>
        <pc:spChg chg="add mod">
          <ac:chgData name="MOUAMMAR Matthieu" userId="a28de245-dc05-4206-b24f-6f403ed1344a" providerId="ADAL" clId="{97AE8C35-2375-40D4-8F09-DBC209B3CDBF}" dt="2021-03-06T15:42:40.431" v="5126"/>
          <ac:spMkLst>
            <pc:docMk/>
            <pc:sldMk cId="1855793032" sldId="489"/>
            <ac:spMk id="163" creationId="{ADC96036-2652-49EC-896C-D94FA950C2B1}"/>
          </ac:spMkLst>
        </pc:spChg>
        <pc:spChg chg="add mod">
          <ac:chgData name="MOUAMMAR Matthieu" userId="a28de245-dc05-4206-b24f-6f403ed1344a" providerId="ADAL" clId="{97AE8C35-2375-40D4-8F09-DBC209B3CDBF}" dt="2021-03-06T15:42:40.431" v="5126"/>
          <ac:spMkLst>
            <pc:docMk/>
            <pc:sldMk cId="1855793032" sldId="489"/>
            <ac:spMk id="164" creationId="{A38567BE-1FD8-484B-B06E-E6C97173A709}"/>
          </ac:spMkLst>
        </pc:spChg>
        <pc:spChg chg="add mod">
          <ac:chgData name="MOUAMMAR Matthieu" userId="a28de245-dc05-4206-b24f-6f403ed1344a" providerId="ADAL" clId="{97AE8C35-2375-40D4-8F09-DBC209B3CDBF}" dt="2021-03-06T15:42:40.431" v="5126"/>
          <ac:spMkLst>
            <pc:docMk/>
            <pc:sldMk cId="1855793032" sldId="489"/>
            <ac:spMk id="165" creationId="{D26EC195-A669-420F-AC4C-47675C8E66E9}"/>
          </ac:spMkLst>
        </pc:spChg>
        <pc:spChg chg="add mod">
          <ac:chgData name="MOUAMMAR Matthieu" userId="a28de245-dc05-4206-b24f-6f403ed1344a" providerId="ADAL" clId="{97AE8C35-2375-40D4-8F09-DBC209B3CDBF}" dt="2021-03-06T15:42:40.431" v="5126"/>
          <ac:spMkLst>
            <pc:docMk/>
            <pc:sldMk cId="1855793032" sldId="489"/>
            <ac:spMk id="166" creationId="{4C88AE6F-6966-4E73-BD9D-BB828543A99B}"/>
          </ac:spMkLst>
        </pc:spChg>
        <pc:spChg chg="add mod">
          <ac:chgData name="MOUAMMAR Matthieu" userId="a28de245-dc05-4206-b24f-6f403ed1344a" providerId="ADAL" clId="{97AE8C35-2375-40D4-8F09-DBC209B3CDBF}" dt="2021-03-06T15:42:40.431" v="5126"/>
          <ac:spMkLst>
            <pc:docMk/>
            <pc:sldMk cId="1855793032" sldId="489"/>
            <ac:spMk id="167" creationId="{5954C1DE-3B35-4D4D-B2A8-8EAF3D79D5D2}"/>
          </ac:spMkLst>
        </pc:spChg>
        <pc:spChg chg="add mod">
          <ac:chgData name="MOUAMMAR Matthieu" userId="a28de245-dc05-4206-b24f-6f403ed1344a" providerId="ADAL" clId="{97AE8C35-2375-40D4-8F09-DBC209B3CDBF}" dt="2021-03-06T15:42:40.431" v="5126"/>
          <ac:spMkLst>
            <pc:docMk/>
            <pc:sldMk cId="1855793032" sldId="489"/>
            <ac:spMk id="168" creationId="{4C12F0DE-473C-4DF1-B606-43C546EE4510}"/>
          </ac:spMkLst>
        </pc:spChg>
        <pc:spChg chg="add mod">
          <ac:chgData name="MOUAMMAR Matthieu" userId="a28de245-dc05-4206-b24f-6f403ed1344a" providerId="ADAL" clId="{97AE8C35-2375-40D4-8F09-DBC209B3CDBF}" dt="2021-03-06T15:42:40.431" v="5126"/>
          <ac:spMkLst>
            <pc:docMk/>
            <pc:sldMk cId="1855793032" sldId="489"/>
            <ac:spMk id="169" creationId="{08B8B3EC-F3E6-47DA-8EC9-61F2BA8DC822}"/>
          </ac:spMkLst>
        </pc:spChg>
        <pc:spChg chg="add mod">
          <ac:chgData name="MOUAMMAR Matthieu" userId="a28de245-dc05-4206-b24f-6f403ed1344a" providerId="ADAL" clId="{97AE8C35-2375-40D4-8F09-DBC209B3CDBF}" dt="2021-03-06T15:42:40.431" v="5126"/>
          <ac:spMkLst>
            <pc:docMk/>
            <pc:sldMk cId="1855793032" sldId="489"/>
            <ac:spMk id="170" creationId="{B754C4ED-9C16-4B39-A49A-7B78D38CDB82}"/>
          </ac:spMkLst>
        </pc:spChg>
        <pc:spChg chg="add mod">
          <ac:chgData name="MOUAMMAR Matthieu" userId="a28de245-dc05-4206-b24f-6f403ed1344a" providerId="ADAL" clId="{97AE8C35-2375-40D4-8F09-DBC209B3CDBF}" dt="2021-03-06T15:42:40.431" v="5126"/>
          <ac:spMkLst>
            <pc:docMk/>
            <pc:sldMk cId="1855793032" sldId="489"/>
            <ac:spMk id="171" creationId="{3CA187B2-8A0D-47DF-86E8-CB78DA64CCAE}"/>
          </ac:spMkLst>
        </pc:spChg>
        <pc:spChg chg="add mod">
          <ac:chgData name="MOUAMMAR Matthieu" userId="a28de245-dc05-4206-b24f-6f403ed1344a" providerId="ADAL" clId="{97AE8C35-2375-40D4-8F09-DBC209B3CDBF}" dt="2021-03-06T15:42:40.431" v="5126"/>
          <ac:spMkLst>
            <pc:docMk/>
            <pc:sldMk cId="1855793032" sldId="489"/>
            <ac:spMk id="172" creationId="{EF951D5F-BC95-4A5D-8074-8435F808A48E}"/>
          </ac:spMkLst>
        </pc:spChg>
        <pc:spChg chg="add mod">
          <ac:chgData name="MOUAMMAR Matthieu" userId="a28de245-dc05-4206-b24f-6f403ed1344a" providerId="ADAL" clId="{97AE8C35-2375-40D4-8F09-DBC209B3CDBF}" dt="2021-03-06T15:42:40.431" v="5126"/>
          <ac:spMkLst>
            <pc:docMk/>
            <pc:sldMk cId="1855793032" sldId="489"/>
            <ac:spMk id="173" creationId="{8BECCF69-5DD5-4883-98C7-29EA95EC4503}"/>
          </ac:spMkLst>
        </pc:spChg>
        <pc:spChg chg="add mod">
          <ac:chgData name="MOUAMMAR Matthieu" userId="a28de245-dc05-4206-b24f-6f403ed1344a" providerId="ADAL" clId="{97AE8C35-2375-40D4-8F09-DBC209B3CDBF}" dt="2021-03-06T15:42:40.431" v="5126"/>
          <ac:spMkLst>
            <pc:docMk/>
            <pc:sldMk cId="1855793032" sldId="489"/>
            <ac:spMk id="174" creationId="{246651B7-06AC-4BCB-AC1C-145F12326F6D}"/>
          </ac:spMkLst>
        </pc:spChg>
        <pc:spChg chg="add mod">
          <ac:chgData name="MOUAMMAR Matthieu" userId="a28de245-dc05-4206-b24f-6f403ed1344a" providerId="ADAL" clId="{97AE8C35-2375-40D4-8F09-DBC209B3CDBF}" dt="2021-03-06T15:42:40.431" v="5126"/>
          <ac:spMkLst>
            <pc:docMk/>
            <pc:sldMk cId="1855793032" sldId="489"/>
            <ac:spMk id="175" creationId="{B45A47E2-F1E3-4092-A7FD-154B7D73871B}"/>
          </ac:spMkLst>
        </pc:spChg>
        <pc:spChg chg="add mod">
          <ac:chgData name="MOUAMMAR Matthieu" userId="a28de245-dc05-4206-b24f-6f403ed1344a" providerId="ADAL" clId="{97AE8C35-2375-40D4-8F09-DBC209B3CDBF}" dt="2021-03-06T15:42:40.431" v="5126"/>
          <ac:spMkLst>
            <pc:docMk/>
            <pc:sldMk cId="1855793032" sldId="489"/>
            <ac:spMk id="176" creationId="{D00681D8-6868-478E-813B-38B9D3E8DD11}"/>
          </ac:spMkLst>
        </pc:spChg>
        <pc:spChg chg="add mod">
          <ac:chgData name="MOUAMMAR Matthieu" userId="a28de245-dc05-4206-b24f-6f403ed1344a" providerId="ADAL" clId="{97AE8C35-2375-40D4-8F09-DBC209B3CDBF}" dt="2021-03-06T15:42:40.431" v="5126"/>
          <ac:spMkLst>
            <pc:docMk/>
            <pc:sldMk cId="1855793032" sldId="489"/>
            <ac:spMk id="177" creationId="{0A461A55-D4F3-4618-BCBB-E21072B54F65}"/>
          </ac:spMkLst>
        </pc:spChg>
        <pc:spChg chg="add mod">
          <ac:chgData name="MOUAMMAR Matthieu" userId="a28de245-dc05-4206-b24f-6f403ed1344a" providerId="ADAL" clId="{97AE8C35-2375-40D4-8F09-DBC209B3CDBF}" dt="2021-03-06T15:42:40.431" v="5126"/>
          <ac:spMkLst>
            <pc:docMk/>
            <pc:sldMk cId="1855793032" sldId="489"/>
            <ac:spMk id="178" creationId="{966B727D-CB83-40C6-BB7F-38AD584C3084}"/>
          </ac:spMkLst>
        </pc:spChg>
        <pc:spChg chg="add mod">
          <ac:chgData name="MOUAMMAR Matthieu" userId="a28de245-dc05-4206-b24f-6f403ed1344a" providerId="ADAL" clId="{97AE8C35-2375-40D4-8F09-DBC209B3CDBF}" dt="2021-03-06T15:42:40.431" v="5126"/>
          <ac:spMkLst>
            <pc:docMk/>
            <pc:sldMk cId="1855793032" sldId="489"/>
            <ac:spMk id="179" creationId="{5A00DF3B-64C5-4BAD-A42B-0924B727ADA3}"/>
          </ac:spMkLst>
        </pc:spChg>
        <pc:spChg chg="add mod">
          <ac:chgData name="MOUAMMAR Matthieu" userId="a28de245-dc05-4206-b24f-6f403ed1344a" providerId="ADAL" clId="{97AE8C35-2375-40D4-8F09-DBC209B3CDBF}" dt="2021-03-06T15:42:40.431" v="5126"/>
          <ac:spMkLst>
            <pc:docMk/>
            <pc:sldMk cId="1855793032" sldId="489"/>
            <ac:spMk id="180" creationId="{5D698366-D304-4D1C-9064-0AAD0AE44C25}"/>
          </ac:spMkLst>
        </pc:spChg>
        <pc:spChg chg="add mod">
          <ac:chgData name="MOUAMMAR Matthieu" userId="a28de245-dc05-4206-b24f-6f403ed1344a" providerId="ADAL" clId="{97AE8C35-2375-40D4-8F09-DBC209B3CDBF}" dt="2021-03-06T15:42:40.431" v="5126"/>
          <ac:spMkLst>
            <pc:docMk/>
            <pc:sldMk cId="1855793032" sldId="489"/>
            <ac:spMk id="181" creationId="{22D9CE5C-88ED-4DB3-B348-CA94E73A16A7}"/>
          </ac:spMkLst>
        </pc:spChg>
        <pc:spChg chg="add mod">
          <ac:chgData name="MOUAMMAR Matthieu" userId="a28de245-dc05-4206-b24f-6f403ed1344a" providerId="ADAL" clId="{97AE8C35-2375-40D4-8F09-DBC209B3CDBF}" dt="2021-03-06T15:42:40.431" v="5126"/>
          <ac:spMkLst>
            <pc:docMk/>
            <pc:sldMk cId="1855793032" sldId="489"/>
            <ac:spMk id="182" creationId="{7662CA8A-05A5-4B22-A9E9-DD1437198293}"/>
          </ac:spMkLst>
        </pc:spChg>
        <pc:spChg chg="add mod">
          <ac:chgData name="MOUAMMAR Matthieu" userId="a28de245-dc05-4206-b24f-6f403ed1344a" providerId="ADAL" clId="{97AE8C35-2375-40D4-8F09-DBC209B3CDBF}" dt="2021-03-06T15:42:40.431" v="5126"/>
          <ac:spMkLst>
            <pc:docMk/>
            <pc:sldMk cId="1855793032" sldId="489"/>
            <ac:spMk id="183" creationId="{12969876-A558-4A24-9AC2-AEC258C06A6C}"/>
          </ac:spMkLst>
        </pc:spChg>
        <pc:spChg chg="add mod">
          <ac:chgData name="MOUAMMAR Matthieu" userId="a28de245-dc05-4206-b24f-6f403ed1344a" providerId="ADAL" clId="{97AE8C35-2375-40D4-8F09-DBC209B3CDBF}" dt="2021-03-06T15:42:40.431" v="5126"/>
          <ac:spMkLst>
            <pc:docMk/>
            <pc:sldMk cId="1855793032" sldId="489"/>
            <ac:spMk id="184" creationId="{F61C51F7-B1FA-432D-87F5-74AFBD07FBDD}"/>
          </ac:spMkLst>
        </pc:spChg>
        <pc:spChg chg="add mod">
          <ac:chgData name="MOUAMMAR Matthieu" userId="a28de245-dc05-4206-b24f-6f403ed1344a" providerId="ADAL" clId="{97AE8C35-2375-40D4-8F09-DBC209B3CDBF}" dt="2021-03-06T15:42:40.431" v="5126"/>
          <ac:spMkLst>
            <pc:docMk/>
            <pc:sldMk cId="1855793032" sldId="489"/>
            <ac:spMk id="185" creationId="{C41CB8D2-FBD8-4AE2-8E8D-2CAAC01B4D66}"/>
          </ac:spMkLst>
        </pc:spChg>
        <pc:spChg chg="add mod">
          <ac:chgData name="MOUAMMAR Matthieu" userId="a28de245-dc05-4206-b24f-6f403ed1344a" providerId="ADAL" clId="{97AE8C35-2375-40D4-8F09-DBC209B3CDBF}" dt="2021-03-06T15:42:40.431" v="5126"/>
          <ac:spMkLst>
            <pc:docMk/>
            <pc:sldMk cId="1855793032" sldId="489"/>
            <ac:spMk id="186" creationId="{F019CB38-8DD5-468F-8EC2-EAA692840ECC}"/>
          </ac:spMkLst>
        </pc:spChg>
        <pc:spChg chg="add mod">
          <ac:chgData name="MOUAMMAR Matthieu" userId="a28de245-dc05-4206-b24f-6f403ed1344a" providerId="ADAL" clId="{97AE8C35-2375-40D4-8F09-DBC209B3CDBF}" dt="2021-03-06T15:42:40.431" v="5126"/>
          <ac:spMkLst>
            <pc:docMk/>
            <pc:sldMk cId="1855793032" sldId="489"/>
            <ac:spMk id="187" creationId="{55AE0D0B-DEEE-42F0-84AA-227A68189A22}"/>
          </ac:spMkLst>
        </pc:spChg>
        <pc:spChg chg="add mod">
          <ac:chgData name="MOUAMMAR Matthieu" userId="a28de245-dc05-4206-b24f-6f403ed1344a" providerId="ADAL" clId="{97AE8C35-2375-40D4-8F09-DBC209B3CDBF}" dt="2021-03-06T15:42:40.431" v="5126"/>
          <ac:spMkLst>
            <pc:docMk/>
            <pc:sldMk cId="1855793032" sldId="489"/>
            <ac:spMk id="188" creationId="{1CDD36F2-79A8-4051-9E8E-A5917C6932F6}"/>
          </ac:spMkLst>
        </pc:spChg>
        <pc:spChg chg="add mod">
          <ac:chgData name="MOUAMMAR Matthieu" userId="a28de245-dc05-4206-b24f-6f403ed1344a" providerId="ADAL" clId="{97AE8C35-2375-40D4-8F09-DBC209B3CDBF}" dt="2021-03-06T15:42:40.431" v="5126"/>
          <ac:spMkLst>
            <pc:docMk/>
            <pc:sldMk cId="1855793032" sldId="489"/>
            <ac:spMk id="189" creationId="{FABAD7F5-65FD-4040-89AD-4D01BA49FF98}"/>
          </ac:spMkLst>
        </pc:spChg>
        <pc:spChg chg="add mod">
          <ac:chgData name="MOUAMMAR Matthieu" userId="a28de245-dc05-4206-b24f-6f403ed1344a" providerId="ADAL" clId="{97AE8C35-2375-40D4-8F09-DBC209B3CDBF}" dt="2021-03-06T15:42:40.431" v="5126"/>
          <ac:spMkLst>
            <pc:docMk/>
            <pc:sldMk cId="1855793032" sldId="489"/>
            <ac:spMk id="190" creationId="{9E0ABC57-A951-4B21-86B9-69F83C41A3C5}"/>
          </ac:spMkLst>
        </pc:spChg>
        <pc:spChg chg="add mod">
          <ac:chgData name="MOUAMMAR Matthieu" userId="a28de245-dc05-4206-b24f-6f403ed1344a" providerId="ADAL" clId="{97AE8C35-2375-40D4-8F09-DBC209B3CDBF}" dt="2021-03-06T15:42:40.431" v="5126"/>
          <ac:spMkLst>
            <pc:docMk/>
            <pc:sldMk cId="1855793032" sldId="489"/>
            <ac:spMk id="191" creationId="{E901C9C7-B074-48CF-8DCE-33B4B2219AE4}"/>
          </ac:spMkLst>
        </pc:spChg>
        <pc:spChg chg="add mod">
          <ac:chgData name="MOUAMMAR Matthieu" userId="a28de245-dc05-4206-b24f-6f403ed1344a" providerId="ADAL" clId="{97AE8C35-2375-40D4-8F09-DBC209B3CDBF}" dt="2021-03-06T15:42:40.431" v="5126"/>
          <ac:spMkLst>
            <pc:docMk/>
            <pc:sldMk cId="1855793032" sldId="489"/>
            <ac:spMk id="192" creationId="{BFF1FC50-2188-4817-B8C3-554B22D133E4}"/>
          </ac:spMkLst>
        </pc:spChg>
        <pc:spChg chg="add mod">
          <ac:chgData name="MOUAMMAR Matthieu" userId="a28de245-dc05-4206-b24f-6f403ed1344a" providerId="ADAL" clId="{97AE8C35-2375-40D4-8F09-DBC209B3CDBF}" dt="2021-03-06T15:42:40.431" v="5126"/>
          <ac:spMkLst>
            <pc:docMk/>
            <pc:sldMk cId="1855793032" sldId="489"/>
            <ac:spMk id="193" creationId="{E182B4B3-6D79-4F82-8A7C-BD7685A4BE17}"/>
          </ac:spMkLst>
        </pc:spChg>
        <pc:spChg chg="add mod">
          <ac:chgData name="MOUAMMAR Matthieu" userId="a28de245-dc05-4206-b24f-6f403ed1344a" providerId="ADAL" clId="{97AE8C35-2375-40D4-8F09-DBC209B3CDBF}" dt="2021-03-06T15:42:40.431" v="5126"/>
          <ac:spMkLst>
            <pc:docMk/>
            <pc:sldMk cId="1855793032" sldId="489"/>
            <ac:spMk id="194" creationId="{8D713901-4295-434C-8733-BF6A840A61A6}"/>
          </ac:spMkLst>
        </pc:spChg>
        <pc:spChg chg="add mod">
          <ac:chgData name="MOUAMMAR Matthieu" userId="a28de245-dc05-4206-b24f-6f403ed1344a" providerId="ADAL" clId="{97AE8C35-2375-40D4-8F09-DBC209B3CDBF}" dt="2021-03-06T15:42:40.431" v="5126"/>
          <ac:spMkLst>
            <pc:docMk/>
            <pc:sldMk cId="1855793032" sldId="489"/>
            <ac:spMk id="195" creationId="{4B1C4E92-60AB-4439-81B4-CEA20250C037}"/>
          </ac:spMkLst>
        </pc:spChg>
        <pc:spChg chg="add mod">
          <ac:chgData name="MOUAMMAR Matthieu" userId="a28de245-dc05-4206-b24f-6f403ed1344a" providerId="ADAL" clId="{97AE8C35-2375-40D4-8F09-DBC209B3CDBF}" dt="2021-03-06T15:42:40.431" v="5126"/>
          <ac:spMkLst>
            <pc:docMk/>
            <pc:sldMk cId="1855793032" sldId="489"/>
            <ac:spMk id="196" creationId="{0012CB51-F066-4508-9C0C-9C9880EF1F7D}"/>
          </ac:spMkLst>
        </pc:spChg>
        <pc:spChg chg="add mod">
          <ac:chgData name="MOUAMMAR Matthieu" userId="a28de245-dc05-4206-b24f-6f403ed1344a" providerId="ADAL" clId="{97AE8C35-2375-40D4-8F09-DBC209B3CDBF}" dt="2021-03-06T15:42:40.431" v="5126"/>
          <ac:spMkLst>
            <pc:docMk/>
            <pc:sldMk cId="1855793032" sldId="489"/>
            <ac:spMk id="197" creationId="{CEA64033-E934-418C-88D6-C5C992BD4839}"/>
          </ac:spMkLst>
        </pc:spChg>
        <pc:spChg chg="add mod">
          <ac:chgData name="MOUAMMAR Matthieu" userId="a28de245-dc05-4206-b24f-6f403ed1344a" providerId="ADAL" clId="{97AE8C35-2375-40D4-8F09-DBC209B3CDBF}" dt="2021-03-06T15:42:40.431" v="5126"/>
          <ac:spMkLst>
            <pc:docMk/>
            <pc:sldMk cId="1855793032" sldId="489"/>
            <ac:spMk id="198" creationId="{05E8E1D6-B486-47B2-B7EB-10E31D769215}"/>
          </ac:spMkLst>
        </pc:spChg>
        <pc:spChg chg="add mod">
          <ac:chgData name="MOUAMMAR Matthieu" userId="a28de245-dc05-4206-b24f-6f403ed1344a" providerId="ADAL" clId="{97AE8C35-2375-40D4-8F09-DBC209B3CDBF}" dt="2021-03-06T15:42:40.431" v="5126"/>
          <ac:spMkLst>
            <pc:docMk/>
            <pc:sldMk cId="1855793032" sldId="489"/>
            <ac:spMk id="199" creationId="{CD303C1C-ECB2-47B7-AFCC-D0EE19E0CC91}"/>
          </ac:spMkLst>
        </pc:spChg>
        <pc:spChg chg="add mod">
          <ac:chgData name="MOUAMMAR Matthieu" userId="a28de245-dc05-4206-b24f-6f403ed1344a" providerId="ADAL" clId="{97AE8C35-2375-40D4-8F09-DBC209B3CDBF}" dt="2021-03-06T15:42:40.431" v="5126"/>
          <ac:spMkLst>
            <pc:docMk/>
            <pc:sldMk cId="1855793032" sldId="489"/>
            <ac:spMk id="200" creationId="{27B40639-9C89-4450-82F4-93E52E26DAE0}"/>
          </ac:spMkLst>
        </pc:spChg>
        <pc:spChg chg="add mod">
          <ac:chgData name="MOUAMMAR Matthieu" userId="a28de245-dc05-4206-b24f-6f403ed1344a" providerId="ADAL" clId="{97AE8C35-2375-40D4-8F09-DBC209B3CDBF}" dt="2021-03-06T15:42:40.431" v="5126"/>
          <ac:spMkLst>
            <pc:docMk/>
            <pc:sldMk cId="1855793032" sldId="489"/>
            <ac:spMk id="201" creationId="{37DB7532-9288-41AC-9382-6B642F49FDD7}"/>
          </ac:spMkLst>
        </pc:spChg>
        <pc:spChg chg="add mod">
          <ac:chgData name="MOUAMMAR Matthieu" userId="a28de245-dc05-4206-b24f-6f403ed1344a" providerId="ADAL" clId="{97AE8C35-2375-40D4-8F09-DBC209B3CDBF}" dt="2021-03-06T15:42:40.431" v="5126"/>
          <ac:spMkLst>
            <pc:docMk/>
            <pc:sldMk cId="1855793032" sldId="489"/>
            <ac:spMk id="202" creationId="{E4CC7A0A-8597-474E-BA43-075D6CB398AE}"/>
          </ac:spMkLst>
        </pc:spChg>
        <pc:spChg chg="add mod">
          <ac:chgData name="MOUAMMAR Matthieu" userId="a28de245-dc05-4206-b24f-6f403ed1344a" providerId="ADAL" clId="{97AE8C35-2375-40D4-8F09-DBC209B3CDBF}" dt="2021-03-06T15:42:40.431" v="5126"/>
          <ac:spMkLst>
            <pc:docMk/>
            <pc:sldMk cId="1855793032" sldId="489"/>
            <ac:spMk id="203" creationId="{042D7CF3-516D-4255-A38C-43AFC50EE056}"/>
          </ac:spMkLst>
        </pc:spChg>
        <pc:spChg chg="add mod">
          <ac:chgData name="MOUAMMAR Matthieu" userId="a28de245-dc05-4206-b24f-6f403ed1344a" providerId="ADAL" clId="{97AE8C35-2375-40D4-8F09-DBC209B3CDBF}" dt="2021-03-06T15:42:40.431" v="5126"/>
          <ac:spMkLst>
            <pc:docMk/>
            <pc:sldMk cId="1855793032" sldId="489"/>
            <ac:spMk id="204" creationId="{0426918C-7B47-46DD-86F2-344CAA0C2462}"/>
          </ac:spMkLst>
        </pc:spChg>
        <pc:spChg chg="add mod">
          <ac:chgData name="MOUAMMAR Matthieu" userId="a28de245-dc05-4206-b24f-6f403ed1344a" providerId="ADAL" clId="{97AE8C35-2375-40D4-8F09-DBC209B3CDBF}" dt="2021-03-06T15:42:40.431" v="5126"/>
          <ac:spMkLst>
            <pc:docMk/>
            <pc:sldMk cId="1855793032" sldId="489"/>
            <ac:spMk id="205" creationId="{4BEAD58D-FFBB-4911-ABC5-40D24E539597}"/>
          </ac:spMkLst>
        </pc:spChg>
        <pc:spChg chg="add mod">
          <ac:chgData name="MOUAMMAR Matthieu" userId="a28de245-dc05-4206-b24f-6f403ed1344a" providerId="ADAL" clId="{97AE8C35-2375-40D4-8F09-DBC209B3CDBF}" dt="2021-03-06T15:42:40.431" v="5126"/>
          <ac:spMkLst>
            <pc:docMk/>
            <pc:sldMk cId="1855793032" sldId="489"/>
            <ac:spMk id="206" creationId="{87969101-DB0D-4612-A239-E530684FF5C0}"/>
          </ac:spMkLst>
        </pc:spChg>
        <pc:spChg chg="add mod">
          <ac:chgData name="MOUAMMAR Matthieu" userId="a28de245-dc05-4206-b24f-6f403ed1344a" providerId="ADAL" clId="{97AE8C35-2375-40D4-8F09-DBC209B3CDBF}" dt="2021-03-06T15:42:40.431" v="5126"/>
          <ac:spMkLst>
            <pc:docMk/>
            <pc:sldMk cId="1855793032" sldId="489"/>
            <ac:spMk id="207" creationId="{118B57CA-BF91-4A1F-ADC2-0C665ADA306A}"/>
          </ac:spMkLst>
        </pc:spChg>
        <pc:spChg chg="add mod">
          <ac:chgData name="MOUAMMAR Matthieu" userId="a28de245-dc05-4206-b24f-6f403ed1344a" providerId="ADAL" clId="{97AE8C35-2375-40D4-8F09-DBC209B3CDBF}" dt="2021-03-06T15:42:40.431" v="5126"/>
          <ac:spMkLst>
            <pc:docMk/>
            <pc:sldMk cId="1855793032" sldId="489"/>
            <ac:spMk id="208" creationId="{31D5D0FB-0990-44EC-928C-668CB3455F86}"/>
          </ac:spMkLst>
        </pc:spChg>
        <pc:spChg chg="add mod">
          <ac:chgData name="MOUAMMAR Matthieu" userId="a28de245-dc05-4206-b24f-6f403ed1344a" providerId="ADAL" clId="{97AE8C35-2375-40D4-8F09-DBC209B3CDBF}" dt="2021-03-06T15:42:40.431" v="5126"/>
          <ac:spMkLst>
            <pc:docMk/>
            <pc:sldMk cId="1855793032" sldId="489"/>
            <ac:spMk id="209" creationId="{6AAD61C1-7786-4A85-A262-50DC2C74478E}"/>
          </ac:spMkLst>
        </pc:spChg>
        <pc:spChg chg="add mod">
          <ac:chgData name="MOUAMMAR Matthieu" userId="a28de245-dc05-4206-b24f-6f403ed1344a" providerId="ADAL" clId="{97AE8C35-2375-40D4-8F09-DBC209B3CDBF}" dt="2021-03-06T15:42:40.431" v="5126"/>
          <ac:spMkLst>
            <pc:docMk/>
            <pc:sldMk cId="1855793032" sldId="489"/>
            <ac:spMk id="210" creationId="{012463B5-0501-433C-8FF3-D118567680B6}"/>
          </ac:spMkLst>
        </pc:spChg>
        <pc:spChg chg="add mod">
          <ac:chgData name="MOUAMMAR Matthieu" userId="a28de245-dc05-4206-b24f-6f403ed1344a" providerId="ADAL" clId="{97AE8C35-2375-40D4-8F09-DBC209B3CDBF}" dt="2021-03-06T15:42:40.431" v="5126"/>
          <ac:spMkLst>
            <pc:docMk/>
            <pc:sldMk cId="1855793032" sldId="489"/>
            <ac:spMk id="211" creationId="{608CEB7F-425A-440C-96CE-638BD2BD75F9}"/>
          </ac:spMkLst>
        </pc:spChg>
        <pc:spChg chg="add mod">
          <ac:chgData name="MOUAMMAR Matthieu" userId="a28de245-dc05-4206-b24f-6f403ed1344a" providerId="ADAL" clId="{97AE8C35-2375-40D4-8F09-DBC209B3CDBF}" dt="2021-03-06T15:42:40.431" v="5126"/>
          <ac:spMkLst>
            <pc:docMk/>
            <pc:sldMk cId="1855793032" sldId="489"/>
            <ac:spMk id="212" creationId="{8FC5BE18-BE19-4180-A5D4-B46AD918438A}"/>
          </ac:spMkLst>
        </pc:spChg>
        <pc:grpChg chg="del">
          <ac:chgData name="MOUAMMAR Matthieu" userId="a28de245-dc05-4206-b24f-6f403ed1344a" providerId="ADAL" clId="{97AE8C35-2375-40D4-8F09-DBC209B3CDBF}" dt="2021-03-06T15:41:21.879" v="5116" actId="478"/>
          <ac:grpSpMkLst>
            <pc:docMk/>
            <pc:sldMk cId="1855793032" sldId="489"/>
            <ac:grpSpMk id="11" creationId="{89666329-6FBE-4626-9C7C-F5AB5992E1FA}"/>
          </ac:grpSpMkLst>
        </pc:grpChg>
        <pc:grpChg chg="add mod">
          <ac:chgData name="MOUAMMAR Matthieu" userId="a28de245-dc05-4206-b24f-6f403ed1344a" providerId="ADAL" clId="{97AE8C35-2375-40D4-8F09-DBC209B3CDBF}" dt="2021-03-06T15:41:37.289" v="5118" actId="1076"/>
          <ac:grpSpMkLst>
            <pc:docMk/>
            <pc:sldMk cId="1855793032" sldId="489"/>
            <ac:grpSpMk id="21" creationId="{E925A120-251E-4FCA-B924-726D52BCE80E}"/>
          </ac:grpSpMkLst>
        </pc:grpChg>
        <pc:grpChg chg="add mod">
          <ac:chgData name="MOUAMMAR Matthieu" userId="a28de245-dc05-4206-b24f-6f403ed1344a" providerId="ADAL" clId="{97AE8C35-2375-40D4-8F09-DBC209B3CDBF}" dt="2021-03-06T15:41:37.289" v="5118" actId="1076"/>
          <ac:grpSpMkLst>
            <pc:docMk/>
            <pc:sldMk cId="1855793032" sldId="489"/>
            <ac:grpSpMk id="24" creationId="{B0B82681-C024-4544-B041-62112A463C70}"/>
          </ac:grpSpMkLst>
        </pc:grpChg>
        <pc:grpChg chg="add mod">
          <ac:chgData name="MOUAMMAR Matthieu" userId="a28de245-dc05-4206-b24f-6f403ed1344a" providerId="ADAL" clId="{97AE8C35-2375-40D4-8F09-DBC209B3CDBF}" dt="2021-03-06T15:41:37.289" v="5118" actId="1076"/>
          <ac:grpSpMkLst>
            <pc:docMk/>
            <pc:sldMk cId="1855793032" sldId="489"/>
            <ac:grpSpMk id="26" creationId="{7CE7665D-2AF9-43ED-9234-E6C468ED41F5}"/>
          </ac:grpSpMkLst>
        </pc:grpChg>
        <pc:grpChg chg="add mod">
          <ac:chgData name="MOUAMMAR Matthieu" userId="a28de245-dc05-4206-b24f-6f403ed1344a" providerId="ADAL" clId="{97AE8C35-2375-40D4-8F09-DBC209B3CDBF}" dt="2021-03-06T15:41:37.289" v="5118" actId="1076"/>
          <ac:grpSpMkLst>
            <pc:docMk/>
            <pc:sldMk cId="1855793032" sldId="489"/>
            <ac:grpSpMk id="28" creationId="{0740D0FE-BB4B-46B9-B76E-2ABBA4F6792A}"/>
          </ac:grpSpMkLst>
        </pc:grpChg>
        <pc:grpChg chg="add mod">
          <ac:chgData name="MOUAMMAR Matthieu" userId="a28de245-dc05-4206-b24f-6f403ed1344a" providerId="ADAL" clId="{97AE8C35-2375-40D4-8F09-DBC209B3CDBF}" dt="2021-03-06T15:41:37.289" v="5118" actId="1076"/>
          <ac:grpSpMkLst>
            <pc:docMk/>
            <pc:sldMk cId="1855793032" sldId="489"/>
            <ac:grpSpMk id="29" creationId="{1412F976-4380-4A7C-BD09-B3DC32D5C610}"/>
          </ac:grpSpMkLst>
        </pc:grpChg>
        <pc:grpChg chg="add mod">
          <ac:chgData name="MOUAMMAR Matthieu" userId="a28de245-dc05-4206-b24f-6f403ed1344a" providerId="ADAL" clId="{97AE8C35-2375-40D4-8F09-DBC209B3CDBF}" dt="2021-03-06T15:41:37.289" v="5118" actId="1076"/>
          <ac:grpSpMkLst>
            <pc:docMk/>
            <pc:sldMk cId="1855793032" sldId="489"/>
            <ac:grpSpMk id="30" creationId="{2D924AD1-FDAA-4535-98EF-912CA8A7FF6E}"/>
          </ac:grpSpMkLst>
        </pc:grpChg>
        <pc:grpChg chg="add mod">
          <ac:chgData name="MOUAMMAR Matthieu" userId="a28de245-dc05-4206-b24f-6f403ed1344a" providerId="ADAL" clId="{97AE8C35-2375-40D4-8F09-DBC209B3CDBF}" dt="2021-03-06T15:41:37.289" v="5118" actId="1076"/>
          <ac:grpSpMkLst>
            <pc:docMk/>
            <pc:sldMk cId="1855793032" sldId="489"/>
            <ac:grpSpMk id="31" creationId="{0CDD83DF-E501-4392-9211-FA4FB4ED45F8}"/>
          </ac:grpSpMkLst>
        </pc:grpChg>
        <pc:grpChg chg="add mod">
          <ac:chgData name="MOUAMMAR Matthieu" userId="a28de245-dc05-4206-b24f-6f403ed1344a" providerId="ADAL" clId="{97AE8C35-2375-40D4-8F09-DBC209B3CDBF}" dt="2021-03-06T15:41:37.289" v="5118" actId="1076"/>
          <ac:grpSpMkLst>
            <pc:docMk/>
            <pc:sldMk cId="1855793032" sldId="489"/>
            <ac:grpSpMk id="32" creationId="{216B3BD3-FEE3-41D5-AD2F-95EF84F88E42}"/>
          </ac:grpSpMkLst>
        </pc:grpChg>
        <pc:grpChg chg="add mod">
          <ac:chgData name="MOUAMMAR Matthieu" userId="a28de245-dc05-4206-b24f-6f403ed1344a" providerId="ADAL" clId="{97AE8C35-2375-40D4-8F09-DBC209B3CDBF}" dt="2021-03-06T15:41:37.289" v="5118" actId="1076"/>
          <ac:grpSpMkLst>
            <pc:docMk/>
            <pc:sldMk cId="1855793032" sldId="489"/>
            <ac:grpSpMk id="65" creationId="{BC4AD13C-853A-442A-990A-B6F3A2F20790}"/>
          </ac:grpSpMkLst>
        </pc:grpChg>
        <pc:grpChg chg="add mod">
          <ac:chgData name="MOUAMMAR Matthieu" userId="a28de245-dc05-4206-b24f-6f403ed1344a" providerId="ADAL" clId="{97AE8C35-2375-40D4-8F09-DBC209B3CDBF}" dt="2021-03-06T15:42:40.431" v="5126"/>
          <ac:grpSpMkLst>
            <pc:docMk/>
            <pc:sldMk cId="1855793032" sldId="489"/>
            <ac:grpSpMk id="119" creationId="{4832DCEC-EC5C-4D1A-919B-23D5FC61BC97}"/>
          </ac:grpSpMkLst>
        </pc:grpChg>
        <pc:grpChg chg="add mod">
          <ac:chgData name="MOUAMMAR Matthieu" userId="a28de245-dc05-4206-b24f-6f403ed1344a" providerId="ADAL" clId="{97AE8C35-2375-40D4-8F09-DBC209B3CDBF}" dt="2021-03-06T15:42:40.431" v="5126"/>
          <ac:grpSpMkLst>
            <pc:docMk/>
            <pc:sldMk cId="1855793032" sldId="489"/>
            <ac:grpSpMk id="120" creationId="{AA105842-A48E-47A0-AC4A-0BDE42035B23}"/>
          </ac:grpSpMkLst>
        </pc:grpChg>
        <pc:grpChg chg="add mod">
          <ac:chgData name="MOUAMMAR Matthieu" userId="a28de245-dc05-4206-b24f-6f403ed1344a" providerId="ADAL" clId="{97AE8C35-2375-40D4-8F09-DBC209B3CDBF}" dt="2021-03-06T15:42:40.431" v="5126"/>
          <ac:grpSpMkLst>
            <pc:docMk/>
            <pc:sldMk cId="1855793032" sldId="489"/>
            <ac:grpSpMk id="121" creationId="{71222164-BBCD-4968-96FB-7C0ABE8010D1}"/>
          </ac:grpSpMkLst>
        </pc:grpChg>
        <pc:grpChg chg="add mod">
          <ac:chgData name="MOUAMMAR Matthieu" userId="a28de245-dc05-4206-b24f-6f403ed1344a" providerId="ADAL" clId="{97AE8C35-2375-40D4-8F09-DBC209B3CDBF}" dt="2021-03-06T15:42:40.431" v="5126"/>
          <ac:grpSpMkLst>
            <pc:docMk/>
            <pc:sldMk cId="1855793032" sldId="489"/>
            <ac:grpSpMk id="122" creationId="{FCD40429-B0A8-4E59-A838-98CD350605AC}"/>
          </ac:grpSpMkLst>
        </pc:grpChg>
        <pc:grpChg chg="add mod">
          <ac:chgData name="MOUAMMAR Matthieu" userId="a28de245-dc05-4206-b24f-6f403ed1344a" providerId="ADAL" clId="{97AE8C35-2375-40D4-8F09-DBC209B3CDBF}" dt="2021-03-06T15:42:40.431" v="5126"/>
          <ac:grpSpMkLst>
            <pc:docMk/>
            <pc:sldMk cId="1855793032" sldId="489"/>
            <ac:grpSpMk id="123" creationId="{CA501323-0254-4E92-8682-FD49301B545E}"/>
          </ac:grpSpMkLst>
        </pc:grpChg>
        <pc:grpChg chg="add mod">
          <ac:chgData name="MOUAMMAR Matthieu" userId="a28de245-dc05-4206-b24f-6f403ed1344a" providerId="ADAL" clId="{97AE8C35-2375-40D4-8F09-DBC209B3CDBF}" dt="2021-03-06T15:42:40.431" v="5126"/>
          <ac:grpSpMkLst>
            <pc:docMk/>
            <pc:sldMk cId="1855793032" sldId="489"/>
            <ac:grpSpMk id="124" creationId="{B0595D8C-8F92-4B8C-A4BA-A5B5CA28E7B4}"/>
          </ac:grpSpMkLst>
        </pc:grpChg>
        <pc:grpChg chg="add mod">
          <ac:chgData name="MOUAMMAR Matthieu" userId="a28de245-dc05-4206-b24f-6f403ed1344a" providerId="ADAL" clId="{97AE8C35-2375-40D4-8F09-DBC209B3CDBF}" dt="2021-03-06T15:42:40.431" v="5126"/>
          <ac:grpSpMkLst>
            <pc:docMk/>
            <pc:sldMk cId="1855793032" sldId="489"/>
            <ac:grpSpMk id="125" creationId="{F0CD9B37-A762-471E-9189-0B54C909D83A}"/>
          </ac:grpSpMkLst>
        </pc:grpChg>
        <pc:grpChg chg="add mod">
          <ac:chgData name="MOUAMMAR Matthieu" userId="a28de245-dc05-4206-b24f-6f403ed1344a" providerId="ADAL" clId="{97AE8C35-2375-40D4-8F09-DBC209B3CDBF}" dt="2021-03-06T15:42:40.431" v="5126"/>
          <ac:grpSpMkLst>
            <pc:docMk/>
            <pc:sldMk cId="1855793032" sldId="489"/>
            <ac:grpSpMk id="126" creationId="{23767499-0529-4FAA-A6BF-63922B303CE1}"/>
          </ac:grpSpMkLst>
        </pc:grpChg>
        <pc:grpChg chg="add mod">
          <ac:chgData name="MOUAMMAR Matthieu" userId="a28de245-dc05-4206-b24f-6f403ed1344a" providerId="ADAL" clId="{97AE8C35-2375-40D4-8F09-DBC209B3CDBF}" dt="2021-03-06T15:42:40.431" v="5126"/>
          <ac:grpSpMkLst>
            <pc:docMk/>
            <pc:sldMk cId="1855793032" sldId="489"/>
            <ac:grpSpMk id="159" creationId="{3217AF09-0CFC-4BF7-8598-2D38EE7DD4A0}"/>
          </ac:grpSpMkLst>
        </pc:grpChg>
        <pc:picChg chg="add mod">
          <ac:chgData name="MOUAMMAR Matthieu" userId="a28de245-dc05-4206-b24f-6f403ed1344a" providerId="ADAL" clId="{97AE8C35-2375-40D4-8F09-DBC209B3CDBF}" dt="2021-03-06T15:41:37.289" v="5118" actId="1076"/>
          <ac:picMkLst>
            <pc:docMk/>
            <pc:sldMk cId="1855793032" sldId="489"/>
            <ac:picMk id="33" creationId="{FF348203-65E4-4655-B18F-F27FE1869F6F}"/>
          </ac:picMkLst>
        </pc:picChg>
        <pc:picChg chg="add mod">
          <ac:chgData name="MOUAMMAR Matthieu" userId="a28de245-dc05-4206-b24f-6f403ed1344a" providerId="ADAL" clId="{97AE8C35-2375-40D4-8F09-DBC209B3CDBF}" dt="2021-03-06T15:41:37.289" v="5118" actId="1076"/>
          <ac:picMkLst>
            <pc:docMk/>
            <pc:sldMk cId="1855793032" sldId="489"/>
            <ac:picMk id="34" creationId="{80F47961-AC4A-4137-9758-A0282B06C505}"/>
          </ac:picMkLst>
        </pc:picChg>
        <pc:picChg chg="add mod">
          <ac:chgData name="MOUAMMAR Matthieu" userId="a28de245-dc05-4206-b24f-6f403ed1344a" providerId="ADAL" clId="{97AE8C35-2375-40D4-8F09-DBC209B3CDBF}" dt="2021-03-06T15:41:37.289" v="5118" actId="1076"/>
          <ac:picMkLst>
            <pc:docMk/>
            <pc:sldMk cId="1855793032" sldId="489"/>
            <ac:picMk id="35" creationId="{BA9BE7A0-7B7A-477C-A426-7A7E322EB7F8}"/>
          </ac:picMkLst>
        </pc:picChg>
        <pc:picChg chg="add mod">
          <ac:chgData name="MOUAMMAR Matthieu" userId="a28de245-dc05-4206-b24f-6f403ed1344a" providerId="ADAL" clId="{97AE8C35-2375-40D4-8F09-DBC209B3CDBF}" dt="2021-03-06T15:41:37.289" v="5118" actId="1076"/>
          <ac:picMkLst>
            <pc:docMk/>
            <pc:sldMk cId="1855793032" sldId="489"/>
            <ac:picMk id="36" creationId="{5A37063C-1668-4DAD-B2B8-C6A530B7106E}"/>
          </ac:picMkLst>
        </pc:picChg>
        <pc:picChg chg="add mod">
          <ac:chgData name="MOUAMMAR Matthieu" userId="a28de245-dc05-4206-b24f-6f403ed1344a" providerId="ADAL" clId="{97AE8C35-2375-40D4-8F09-DBC209B3CDBF}" dt="2021-03-06T15:41:37.289" v="5118" actId="1076"/>
          <ac:picMkLst>
            <pc:docMk/>
            <pc:sldMk cId="1855793032" sldId="489"/>
            <ac:picMk id="37" creationId="{5F393925-7DBE-40A2-B156-C4F660F98F28}"/>
          </ac:picMkLst>
        </pc:picChg>
        <pc:picChg chg="add mod">
          <ac:chgData name="MOUAMMAR Matthieu" userId="a28de245-dc05-4206-b24f-6f403ed1344a" providerId="ADAL" clId="{97AE8C35-2375-40D4-8F09-DBC209B3CDBF}" dt="2021-03-06T15:41:37.289" v="5118" actId="1076"/>
          <ac:picMkLst>
            <pc:docMk/>
            <pc:sldMk cId="1855793032" sldId="489"/>
            <ac:picMk id="38" creationId="{EA750388-914B-493B-9F7B-9D6DB140E0FD}"/>
          </ac:picMkLst>
        </pc:picChg>
        <pc:picChg chg="add mod">
          <ac:chgData name="MOUAMMAR Matthieu" userId="a28de245-dc05-4206-b24f-6f403ed1344a" providerId="ADAL" clId="{97AE8C35-2375-40D4-8F09-DBC209B3CDBF}" dt="2021-03-06T15:41:37.289" v="5118" actId="1076"/>
          <ac:picMkLst>
            <pc:docMk/>
            <pc:sldMk cId="1855793032" sldId="489"/>
            <ac:picMk id="39" creationId="{6620EEBF-BFFA-4B6E-B313-DF4F1F1EC859}"/>
          </ac:picMkLst>
        </pc:picChg>
        <pc:picChg chg="add mod">
          <ac:chgData name="MOUAMMAR Matthieu" userId="a28de245-dc05-4206-b24f-6f403ed1344a" providerId="ADAL" clId="{97AE8C35-2375-40D4-8F09-DBC209B3CDBF}" dt="2021-03-06T15:41:37.289" v="5118" actId="1076"/>
          <ac:picMkLst>
            <pc:docMk/>
            <pc:sldMk cId="1855793032" sldId="489"/>
            <ac:picMk id="49" creationId="{94FD0626-71EC-4659-A69A-2533F8D7E61F}"/>
          </ac:picMkLst>
        </pc:picChg>
        <pc:picChg chg="add mod">
          <ac:chgData name="MOUAMMAR Matthieu" userId="a28de245-dc05-4206-b24f-6f403ed1344a" providerId="ADAL" clId="{97AE8C35-2375-40D4-8F09-DBC209B3CDBF}" dt="2021-03-06T15:42:40.431" v="5126"/>
          <ac:picMkLst>
            <pc:docMk/>
            <pc:sldMk cId="1855793032" sldId="489"/>
            <ac:picMk id="127" creationId="{23A52C18-C9BD-4D23-B601-600B697E3535}"/>
          </ac:picMkLst>
        </pc:picChg>
        <pc:picChg chg="add mod">
          <ac:chgData name="MOUAMMAR Matthieu" userId="a28de245-dc05-4206-b24f-6f403ed1344a" providerId="ADAL" clId="{97AE8C35-2375-40D4-8F09-DBC209B3CDBF}" dt="2021-03-06T15:42:40.431" v="5126"/>
          <ac:picMkLst>
            <pc:docMk/>
            <pc:sldMk cId="1855793032" sldId="489"/>
            <ac:picMk id="128" creationId="{EB68E9B6-316F-486D-BFE1-D1496169322D}"/>
          </ac:picMkLst>
        </pc:picChg>
        <pc:picChg chg="add mod">
          <ac:chgData name="MOUAMMAR Matthieu" userId="a28de245-dc05-4206-b24f-6f403ed1344a" providerId="ADAL" clId="{97AE8C35-2375-40D4-8F09-DBC209B3CDBF}" dt="2021-03-06T15:42:40.431" v="5126"/>
          <ac:picMkLst>
            <pc:docMk/>
            <pc:sldMk cId="1855793032" sldId="489"/>
            <ac:picMk id="129" creationId="{69740A89-1918-473F-A879-22259B427314}"/>
          </ac:picMkLst>
        </pc:picChg>
        <pc:picChg chg="add mod">
          <ac:chgData name="MOUAMMAR Matthieu" userId="a28de245-dc05-4206-b24f-6f403ed1344a" providerId="ADAL" clId="{97AE8C35-2375-40D4-8F09-DBC209B3CDBF}" dt="2021-03-06T15:42:40.431" v="5126"/>
          <ac:picMkLst>
            <pc:docMk/>
            <pc:sldMk cId="1855793032" sldId="489"/>
            <ac:picMk id="130" creationId="{AE1F3B51-9264-424E-8AD6-60A9FBA73079}"/>
          </ac:picMkLst>
        </pc:picChg>
        <pc:picChg chg="add mod">
          <ac:chgData name="MOUAMMAR Matthieu" userId="a28de245-dc05-4206-b24f-6f403ed1344a" providerId="ADAL" clId="{97AE8C35-2375-40D4-8F09-DBC209B3CDBF}" dt="2021-03-06T15:42:40.431" v="5126"/>
          <ac:picMkLst>
            <pc:docMk/>
            <pc:sldMk cId="1855793032" sldId="489"/>
            <ac:picMk id="131" creationId="{F15A69EA-5054-4B68-8A43-C1C75D538AE5}"/>
          </ac:picMkLst>
        </pc:picChg>
        <pc:picChg chg="add mod">
          <ac:chgData name="MOUAMMAR Matthieu" userId="a28de245-dc05-4206-b24f-6f403ed1344a" providerId="ADAL" clId="{97AE8C35-2375-40D4-8F09-DBC209B3CDBF}" dt="2021-03-06T15:42:40.431" v="5126"/>
          <ac:picMkLst>
            <pc:docMk/>
            <pc:sldMk cId="1855793032" sldId="489"/>
            <ac:picMk id="132" creationId="{118364D0-D7B7-4B42-9FAB-22E5990CDF0E}"/>
          </ac:picMkLst>
        </pc:picChg>
        <pc:picChg chg="add mod">
          <ac:chgData name="MOUAMMAR Matthieu" userId="a28de245-dc05-4206-b24f-6f403ed1344a" providerId="ADAL" clId="{97AE8C35-2375-40D4-8F09-DBC209B3CDBF}" dt="2021-03-06T15:42:40.431" v="5126"/>
          <ac:picMkLst>
            <pc:docMk/>
            <pc:sldMk cId="1855793032" sldId="489"/>
            <ac:picMk id="133" creationId="{2D6C2177-6A84-41A2-A911-2E0919EAB746}"/>
          </ac:picMkLst>
        </pc:picChg>
        <pc:picChg chg="add mod">
          <ac:chgData name="MOUAMMAR Matthieu" userId="a28de245-dc05-4206-b24f-6f403ed1344a" providerId="ADAL" clId="{97AE8C35-2375-40D4-8F09-DBC209B3CDBF}" dt="2021-03-06T15:42:40.431" v="5126"/>
          <ac:picMkLst>
            <pc:docMk/>
            <pc:sldMk cId="1855793032" sldId="489"/>
            <ac:picMk id="143" creationId="{E401CF15-A4A7-4F02-807A-AD7C9261C603}"/>
          </ac:picMkLst>
        </pc:picChg>
        <pc:cxnChg chg="add mod">
          <ac:chgData name="MOUAMMAR Matthieu" userId="a28de245-dc05-4206-b24f-6f403ed1344a" providerId="ADAL" clId="{97AE8C35-2375-40D4-8F09-DBC209B3CDBF}" dt="2021-03-06T15:41:37.289" v="5118" actId="1076"/>
          <ac:cxnSpMkLst>
            <pc:docMk/>
            <pc:sldMk cId="1855793032" sldId="489"/>
            <ac:cxnSpMk id="48" creationId="{4239914B-E517-4C91-A466-8F9117E7D550}"/>
          </ac:cxnSpMkLst>
        </pc:cxnChg>
        <pc:cxnChg chg="add mod">
          <ac:chgData name="MOUAMMAR Matthieu" userId="a28de245-dc05-4206-b24f-6f403ed1344a" providerId="ADAL" clId="{97AE8C35-2375-40D4-8F09-DBC209B3CDBF}" dt="2021-03-06T15:42:40.431" v="5126"/>
          <ac:cxnSpMkLst>
            <pc:docMk/>
            <pc:sldMk cId="1855793032" sldId="489"/>
            <ac:cxnSpMk id="142" creationId="{54870CE1-ACCF-4CC5-80F9-AE1EAA5BA0CD}"/>
          </ac:cxnSpMkLst>
        </pc:cxnChg>
      </pc:sldChg>
      <pc:sldChg chg="addSp delSp modSp add mod">
        <pc:chgData name="MOUAMMAR Matthieu" userId="a28de245-dc05-4206-b24f-6f403ed1344a" providerId="ADAL" clId="{97AE8C35-2375-40D4-8F09-DBC209B3CDBF}" dt="2021-03-06T15:43:31.395" v="5165" actId="478"/>
        <pc:sldMkLst>
          <pc:docMk/>
          <pc:sldMk cId="705062173" sldId="490"/>
        </pc:sldMkLst>
        <pc:spChg chg="mod">
          <ac:chgData name="MOUAMMAR Matthieu" userId="a28de245-dc05-4206-b24f-6f403ed1344a" providerId="ADAL" clId="{97AE8C35-2375-40D4-8F09-DBC209B3CDBF}" dt="2021-03-06T15:42:51.654" v="5157" actId="20577"/>
          <ac:spMkLst>
            <pc:docMk/>
            <pc:sldMk cId="705062173" sldId="490"/>
            <ac:spMk id="5" creationId="{00000000-0000-0000-0000-000000000000}"/>
          </ac:spMkLst>
        </pc:spChg>
        <pc:spChg chg="del">
          <ac:chgData name="MOUAMMAR Matthieu" userId="a28de245-dc05-4206-b24f-6f403ed1344a" providerId="ADAL" clId="{97AE8C35-2375-40D4-8F09-DBC209B3CDBF}" dt="2021-03-06T15:43:01.090" v="5160" actId="478"/>
          <ac:spMkLst>
            <pc:docMk/>
            <pc:sldMk cId="705062173" sldId="490"/>
            <ac:spMk id="27" creationId="{9A07D346-A9CC-429A-9642-40453700E4C3}"/>
          </ac:spMkLst>
        </pc:spChg>
        <pc:spChg chg="del">
          <ac:chgData name="MOUAMMAR Matthieu" userId="a28de245-dc05-4206-b24f-6f403ed1344a" providerId="ADAL" clId="{97AE8C35-2375-40D4-8F09-DBC209B3CDBF}" dt="2021-03-06T15:42:58.554" v="5158" actId="478"/>
          <ac:spMkLst>
            <pc:docMk/>
            <pc:sldMk cId="705062173" sldId="490"/>
            <ac:spMk id="40" creationId="{DA27EFDA-2B41-45A0-B9B7-EC0F5C9BE3EA}"/>
          </ac:spMkLst>
        </pc:spChg>
        <pc:spChg chg="del">
          <ac:chgData name="MOUAMMAR Matthieu" userId="a28de245-dc05-4206-b24f-6f403ed1344a" providerId="ADAL" clId="{97AE8C35-2375-40D4-8F09-DBC209B3CDBF}" dt="2021-03-06T15:42:58.554" v="5158" actId="478"/>
          <ac:spMkLst>
            <pc:docMk/>
            <pc:sldMk cId="705062173" sldId="490"/>
            <ac:spMk id="41" creationId="{C0D4D329-092C-4324-9602-569BF7E45022}"/>
          </ac:spMkLst>
        </pc:spChg>
        <pc:spChg chg="del">
          <ac:chgData name="MOUAMMAR Matthieu" userId="a28de245-dc05-4206-b24f-6f403ed1344a" providerId="ADAL" clId="{97AE8C35-2375-40D4-8F09-DBC209B3CDBF}" dt="2021-03-06T15:42:58.554" v="5158" actId="478"/>
          <ac:spMkLst>
            <pc:docMk/>
            <pc:sldMk cId="705062173" sldId="490"/>
            <ac:spMk id="42" creationId="{66FD1D26-170C-43BB-83F9-B60C93234AFB}"/>
          </ac:spMkLst>
        </pc:spChg>
        <pc:spChg chg="del">
          <ac:chgData name="MOUAMMAR Matthieu" userId="a28de245-dc05-4206-b24f-6f403ed1344a" providerId="ADAL" clId="{97AE8C35-2375-40D4-8F09-DBC209B3CDBF}" dt="2021-03-06T15:42:58.554" v="5158" actId="478"/>
          <ac:spMkLst>
            <pc:docMk/>
            <pc:sldMk cId="705062173" sldId="490"/>
            <ac:spMk id="43" creationId="{2AAE77EA-8907-4F7E-AD07-0AA0C2BA82AD}"/>
          </ac:spMkLst>
        </pc:spChg>
        <pc:spChg chg="del">
          <ac:chgData name="MOUAMMAR Matthieu" userId="a28de245-dc05-4206-b24f-6f403ed1344a" providerId="ADAL" clId="{97AE8C35-2375-40D4-8F09-DBC209B3CDBF}" dt="2021-03-06T15:42:58.554" v="5158" actId="478"/>
          <ac:spMkLst>
            <pc:docMk/>
            <pc:sldMk cId="705062173" sldId="490"/>
            <ac:spMk id="44" creationId="{105980B0-70F1-4069-AC1F-1E1E14C61868}"/>
          </ac:spMkLst>
        </pc:spChg>
        <pc:spChg chg="del">
          <ac:chgData name="MOUAMMAR Matthieu" userId="a28de245-dc05-4206-b24f-6f403ed1344a" providerId="ADAL" clId="{97AE8C35-2375-40D4-8F09-DBC209B3CDBF}" dt="2021-03-06T15:42:58.554" v="5158" actId="478"/>
          <ac:spMkLst>
            <pc:docMk/>
            <pc:sldMk cId="705062173" sldId="490"/>
            <ac:spMk id="45" creationId="{91A36834-0F27-4515-BE2D-76BD582C85AF}"/>
          </ac:spMkLst>
        </pc:spChg>
        <pc:spChg chg="del">
          <ac:chgData name="MOUAMMAR Matthieu" userId="a28de245-dc05-4206-b24f-6f403ed1344a" providerId="ADAL" clId="{97AE8C35-2375-40D4-8F09-DBC209B3CDBF}" dt="2021-03-06T15:42:58.554" v="5158" actId="478"/>
          <ac:spMkLst>
            <pc:docMk/>
            <pc:sldMk cId="705062173" sldId="490"/>
            <ac:spMk id="46" creationId="{80C23769-4F30-44A3-A881-B1ABC681B565}"/>
          </ac:spMkLst>
        </pc:spChg>
        <pc:spChg chg="del">
          <ac:chgData name="MOUAMMAR Matthieu" userId="a28de245-dc05-4206-b24f-6f403ed1344a" providerId="ADAL" clId="{97AE8C35-2375-40D4-8F09-DBC209B3CDBF}" dt="2021-03-06T15:42:58.554" v="5158" actId="478"/>
          <ac:spMkLst>
            <pc:docMk/>
            <pc:sldMk cId="705062173" sldId="490"/>
            <ac:spMk id="47" creationId="{E6BD019C-12EC-444D-9C5D-BEE951378149}"/>
          </ac:spMkLst>
        </pc:spChg>
        <pc:spChg chg="del">
          <ac:chgData name="MOUAMMAR Matthieu" userId="a28de245-dc05-4206-b24f-6f403ed1344a" providerId="ADAL" clId="{97AE8C35-2375-40D4-8F09-DBC209B3CDBF}" dt="2021-03-06T15:42:58.554" v="5158" actId="478"/>
          <ac:spMkLst>
            <pc:docMk/>
            <pc:sldMk cId="705062173" sldId="490"/>
            <ac:spMk id="50" creationId="{B27B5705-4006-4BCB-81A9-FDC614F0E26E}"/>
          </ac:spMkLst>
        </pc:spChg>
        <pc:spChg chg="del">
          <ac:chgData name="MOUAMMAR Matthieu" userId="a28de245-dc05-4206-b24f-6f403ed1344a" providerId="ADAL" clId="{97AE8C35-2375-40D4-8F09-DBC209B3CDBF}" dt="2021-03-06T15:42:58.554" v="5158" actId="478"/>
          <ac:spMkLst>
            <pc:docMk/>
            <pc:sldMk cId="705062173" sldId="490"/>
            <ac:spMk id="51" creationId="{E72D3CA2-EB62-43B7-B45B-9CC57A3FF565}"/>
          </ac:spMkLst>
        </pc:spChg>
        <pc:spChg chg="del">
          <ac:chgData name="MOUAMMAR Matthieu" userId="a28de245-dc05-4206-b24f-6f403ed1344a" providerId="ADAL" clId="{97AE8C35-2375-40D4-8F09-DBC209B3CDBF}" dt="2021-03-06T15:42:58.554" v="5158" actId="478"/>
          <ac:spMkLst>
            <pc:docMk/>
            <pc:sldMk cId="705062173" sldId="490"/>
            <ac:spMk id="52" creationId="{8AA30221-F304-4BDD-983B-536A2E518611}"/>
          </ac:spMkLst>
        </pc:spChg>
        <pc:spChg chg="del">
          <ac:chgData name="MOUAMMAR Matthieu" userId="a28de245-dc05-4206-b24f-6f403ed1344a" providerId="ADAL" clId="{97AE8C35-2375-40D4-8F09-DBC209B3CDBF}" dt="2021-03-06T15:42:58.554" v="5158" actId="478"/>
          <ac:spMkLst>
            <pc:docMk/>
            <pc:sldMk cId="705062173" sldId="490"/>
            <ac:spMk id="53" creationId="{D64C0514-AEC5-4EAA-8E72-0EDCFFBB04EC}"/>
          </ac:spMkLst>
        </pc:spChg>
        <pc:spChg chg="del">
          <ac:chgData name="MOUAMMAR Matthieu" userId="a28de245-dc05-4206-b24f-6f403ed1344a" providerId="ADAL" clId="{97AE8C35-2375-40D4-8F09-DBC209B3CDBF}" dt="2021-03-06T15:42:58.554" v="5158" actId="478"/>
          <ac:spMkLst>
            <pc:docMk/>
            <pc:sldMk cId="705062173" sldId="490"/>
            <ac:spMk id="54" creationId="{DA7B8A09-19F3-4A9D-B058-5F6074546183}"/>
          </ac:spMkLst>
        </pc:spChg>
        <pc:spChg chg="del">
          <ac:chgData name="MOUAMMAR Matthieu" userId="a28de245-dc05-4206-b24f-6f403ed1344a" providerId="ADAL" clId="{97AE8C35-2375-40D4-8F09-DBC209B3CDBF}" dt="2021-03-06T15:42:58.554" v="5158" actId="478"/>
          <ac:spMkLst>
            <pc:docMk/>
            <pc:sldMk cId="705062173" sldId="490"/>
            <ac:spMk id="55" creationId="{4807340A-8057-49E3-B387-9EA309D67084}"/>
          </ac:spMkLst>
        </pc:spChg>
        <pc:spChg chg="del">
          <ac:chgData name="MOUAMMAR Matthieu" userId="a28de245-dc05-4206-b24f-6f403ed1344a" providerId="ADAL" clId="{97AE8C35-2375-40D4-8F09-DBC209B3CDBF}" dt="2021-03-06T15:42:58.554" v="5158" actId="478"/>
          <ac:spMkLst>
            <pc:docMk/>
            <pc:sldMk cId="705062173" sldId="490"/>
            <ac:spMk id="56" creationId="{8F18E35E-5382-4499-A74F-8801E6D9F653}"/>
          </ac:spMkLst>
        </pc:spChg>
        <pc:spChg chg="del">
          <ac:chgData name="MOUAMMAR Matthieu" userId="a28de245-dc05-4206-b24f-6f403ed1344a" providerId="ADAL" clId="{97AE8C35-2375-40D4-8F09-DBC209B3CDBF}" dt="2021-03-06T15:43:00.218" v="5159" actId="478"/>
          <ac:spMkLst>
            <pc:docMk/>
            <pc:sldMk cId="705062173" sldId="490"/>
            <ac:spMk id="57" creationId="{20446EF9-4D6B-44E1-8DFF-9F253B976D36}"/>
          </ac:spMkLst>
        </pc:spChg>
        <pc:spChg chg="add del mod">
          <ac:chgData name="MOUAMMAR Matthieu" userId="a28de245-dc05-4206-b24f-6f403ed1344a" providerId="ADAL" clId="{97AE8C35-2375-40D4-8F09-DBC209B3CDBF}" dt="2021-03-06T15:43:31.395" v="5165" actId="478"/>
          <ac:spMkLst>
            <pc:docMk/>
            <pc:sldMk cId="705062173" sldId="490"/>
            <ac:spMk id="120" creationId="{AF07C365-2B2E-41B9-9E82-7D8948A3F962}"/>
          </ac:spMkLst>
        </pc:spChg>
        <pc:grpChg chg="del">
          <ac:chgData name="MOUAMMAR Matthieu" userId="a28de245-dc05-4206-b24f-6f403ed1344a" providerId="ADAL" clId="{97AE8C35-2375-40D4-8F09-DBC209B3CDBF}" dt="2021-03-06T15:42:58.554" v="5158" actId="478"/>
          <ac:grpSpMkLst>
            <pc:docMk/>
            <pc:sldMk cId="705062173" sldId="490"/>
            <ac:grpSpMk id="21" creationId="{E925A120-251E-4FCA-B924-726D52BCE80E}"/>
          </ac:grpSpMkLst>
        </pc:grpChg>
        <pc:grpChg chg="del">
          <ac:chgData name="MOUAMMAR Matthieu" userId="a28de245-dc05-4206-b24f-6f403ed1344a" providerId="ADAL" clId="{97AE8C35-2375-40D4-8F09-DBC209B3CDBF}" dt="2021-03-06T15:42:58.554" v="5158" actId="478"/>
          <ac:grpSpMkLst>
            <pc:docMk/>
            <pc:sldMk cId="705062173" sldId="490"/>
            <ac:grpSpMk id="24" creationId="{B0B82681-C024-4544-B041-62112A463C70}"/>
          </ac:grpSpMkLst>
        </pc:grpChg>
        <pc:grpChg chg="del">
          <ac:chgData name="MOUAMMAR Matthieu" userId="a28de245-dc05-4206-b24f-6f403ed1344a" providerId="ADAL" clId="{97AE8C35-2375-40D4-8F09-DBC209B3CDBF}" dt="2021-03-06T15:42:58.554" v="5158" actId="478"/>
          <ac:grpSpMkLst>
            <pc:docMk/>
            <pc:sldMk cId="705062173" sldId="490"/>
            <ac:grpSpMk id="26" creationId="{7CE7665D-2AF9-43ED-9234-E6C468ED41F5}"/>
          </ac:grpSpMkLst>
        </pc:grpChg>
        <pc:grpChg chg="del">
          <ac:chgData name="MOUAMMAR Matthieu" userId="a28de245-dc05-4206-b24f-6f403ed1344a" providerId="ADAL" clId="{97AE8C35-2375-40D4-8F09-DBC209B3CDBF}" dt="2021-03-06T15:42:58.554" v="5158" actId="478"/>
          <ac:grpSpMkLst>
            <pc:docMk/>
            <pc:sldMk cId="705062173" sldId="490"/>
            <ac:grpSpMk id="28" creationId="{0740D0FE-BB4B-46B9-B76E-2ABBA4F6792A}"/>
          </ac:grpSpMkLst>
        </pc:grpChg>
        <pc:grpChg chg="del">
          <ac:chgData name="MOUAMMAR Matthieu" userId="a28de245-dc05-4206-b24f-6f403ed1344a" providerId="ADAL" clId="{97AE8C35-2375-40D4-8F09-DBC209B3CDBF}" dt="2021-03-06T15:42:58.554" v="5158" actId="478"/>
          <ac:grpSpMkLst>
            <pc:docMk/>
            <pc:sldMk cId="705062173" sldId="490"/>
            <ac:grpSpMk id="29" creationId="{1412F976-4380-4A7C-BD09-B3DC32D5C610}"/>
          </ac:grpSpMkLst>
        </pc:grpChg>
        <pc:grpChg chg="del">
          <ac:chgData name="MOUAMMAR Matthieu" userId="a28de245-dc05-4206-b24f-6f403ed1344a" providerId="ADAL" clId="{97AE8C35-2375-40D4-8F09-DBC209B3CDBF}" dt="2021-03-06T15:42:58.554" v="5158" actId="478"/>
          <ac:grpSpMkLst>
            <pc:docMk/>
            <pc:sldMk cId="705062173" sldId="490"/>
            <ac:grpSpMk id="30" creationId="{2D924AD1-FDAA-4535-98EF-912CA8A7FF6E}"/>
          </ac:grpSpMkLst>
        </pc:grpChg>
        <pc:grpChg chg="del">
          <ac:chgData name="MOUAMMAR Matthieu" userId="a28de245-dc05-4206-b24f-6f403ed1344a" providerId="ADAL" clId="{97AE8C35-2375-40D4-8F09-DBC209B3CDBF}" dt="2021-03-06T15:42:58.554" v="5158" actId="478"/>
          <ac:grpSpMkLst>
            <pc:docMk/>
            <pc:sldMk cId="705062173" sldId="490"/>
            <ac:grpSpMk id="31" creationId="{0CDD83DF-E501-4392-9211-FA4FB4ED45F8}"/>
          </ac:grpSpMkLst>
        </pc:grpChg>
        <pc:grpChg chg="del">
          <ac:chgData name="MOUAMMAR Matthieu" userId="a28de245-dc05-4206-b24f-6f403ed1344a" providerId="ADAL" clId="{97AE8C35-2375-40D4-8F09-DBC209B3CDBF}" dt="2021-03-06T15:42:58.554" v="5158" actId="478"/>
          <ac:grpSpMkLst>
            <pc:docMk/>
            <pc:sldMk cId="705062173" sldId="490"/>
            <ac:grpSpMk id="32" creationId="{216B3BD3-FEE3-41D5-AD2F-95EF84F88E42}"/>
          </ac:grpSpMkLst>
        </pc:grpChg>
        <pc:picChg chg="del">
          <ac:chgData name="MOUAMMAR Matthieu" userId="a28de245-dc05-4206-b24f-6f403ed1344a" providerId="ADAL" clId="{97AE8C35-2375-40D4-8F09-DBC209B3CDBF}" dt="2021-03-06T15:42:58.554" v="5158" actId="478"/>
          <ac:picMkLst>
            <pc:docMk/>
            <pc:sldMk cId="705062173" sldId="490"/>
            <ac:picMk id="33" creationId="{FF348203-65E4-4655-B18F-F27FE1869F6F}"/>
          </ac:picMkLst>
        </pc:picChg>
        <pc:picChg chg="del">
          <ac:chgData name="MOUAMMAR Matthieu" userId="a28de245-dc05-4206-b24f-6f403ed1344a" providerId="ADAL" clId="{97AE8C35-2375-40D4-8F09-DBC209B3CDBF}" dt="2021-03-06T15:42:58.554" v="5158" actId="478"/>
          <ac:picMkLst>
            <pc:docMk/>
            <pc:sldMk cId="705062173" sldId="490"/>
            <ac:picMk id="34" creationId="{80F47961-AC4A-4137-9758-A0282B06C505}"/>
          </ac:picMkLst>
        </pc:picChg>
        <pc:picChg chg="del">
          <ac:chgData name="MOUAMMAR Matthieu" userId="a28de245-dc05-4206-b24f-6f403ed1344a" providerId="ADAL" clId="{97AE8C35-2375-40D4-8F09-DBC209B3CDBF}" dt="2021-03-06T15:42:58.554" v="5158" actId="478"/>
          <ac:picMkLst>
            <pc:docMk/>
            <pc:sldMk cId="705062173" sldId="490"/>
            <ac:picMk id="35" creationId="{BA9BE7A0-7B7A-477C-A426-7A7E322EB7F8}"/>
          </ac:picMkLst>
        </pc:picChg>
        <pc:picChg chg="del">
          <ac:chgData name="MOUAMMAR Matthieu" userId="a28de245-dc05-4206-b24f-6f403ed1344a" providerId="ADAL" clId="{97AE8C35-2375-40D4-8F09-DBC209B3CDBF}" dt="2021-03-06T15:42:58.554" v="5158" actId="478"/>
          <ac:picMkLst>
            <pc:docMk/>
            <pc:sldMk cId="705062173" sldId="490"/>
            <ac:picMk id="36" creationId="{5A37063C-1668-4DAD-B2B8-C6A530B7106E}"/>
          </ac:picMkLst>
        </pc:picChg>
        <pc:picChg chg="del">
          <ac:chgData name="MOUAMMAR Matthieu" userId="a28de245-dc05-4206-b24f-6f403ed1344a" providerId="ADAL" clId="{97AE8C35-2375-40D4-8F09-DBC209B3CDBF}" dt="2021-03-06T15:42:58.554" v="5158" actId="478"/>
          <ac:picMkLst>
            <pc:docMk/>
            <pc:sldMk cId="705062173" sldId="490"/>
            <ac:picMk id="37" creationId="{5F393925-7DBE-40A2-B156-C4F660F98F28}"/>
          </ac:picMkLst>
        </pc:picChg>
        <pc:picChg chg="del">
          <ac:chgData name="MOUAMMAR Matthieu" userId="a28de245-dc05-4206-b24f-6f403ed1344a" providerId="ADAL" clId="{97AE8C35-2375-40D4-8F09-DBC209B3CDBF}" dt="2021-03-06T15:42:58.554" v="5158" actId="478"/>
          <ac:picMkLst>
            <pc:docMk/>
            <pc:sldMk cId="705062173" sldId="490"/>
            <ac:picMk id="38" creationId="{EA750388-914B-493B-9F7B-9D6DB140E0FD}"/>
          </ac:picMkLst>
        </pc:picChg>
        <pc:picChg chg="del">
          <ac:chgData name="MOUAMMAR Matthieu" userId="a28de245-dc05-4206-b24f-6f403ed1344a" providerId="ADAL" clId="{97AE8C35-2375-40D4-8F09-DBC209B3CDBF}" dt="2021-03-06T15:42:58.554" v="5158" actId="478"/>
          <ac:picMkLst>
            <pc:docMk/>
            <pc:sldMk cId="705062173" sldId="490"/>
            <ac:picMk id="39" creationId="{6620EEBF-BFFA-4B6E-B313-DF4F1F1EC859}"/>
          </ac:picMkLst>
        </pc:picChg>
        <pc:picChg chg="del">
          <ac:chgData name="MOUAMMAR Matthieu" userId="a28de245-dc05-4206-b24f-6f403ed1344a" providerId="ADAL" clId="{97AE8C35-2375-40D4-8F09-DBC209B3CDBF}" dt="2021-03-06T15:42:58.554" v="5158" actId="478"/>
          <ac:picMkLst>
            <pc:docMk/>
            <pc:sldMk cId="705062173" sldId="490"/>
            <ac:picMk id="49" creationId="{94FD0626-71EC-4659-A69A-2533F8D7E61F}"/>
          </ac:picMkLst>
        </pc:picChg>
        <pc:picChg chg="add mod">
          <ac:chgData name="MOUAMMAR Matthieu" userId="a28de245-dc05-4206-b24f-6f403ed1344a" providerId="ADAL" clId="{97AE8C35-2375-40D4-8F09-DBC209B3CDBF}" dt="2021-03-06T15:43:10.606" v="5162" actId="1076"/>
          <ac:picMkLst>
            <pc:docMk/>
            <pc:sldMk cId="705062173" sldId="490"/>
            <ac:picMk id="119" creationId="{D1F6498C-EA91-455B-8244-316EAC935D50}"/>
          </ac:picMkLst>
        </pc:picChg>
        <pc:cxnChg chg="del">
          <ac:chgData name="MOUAMMAR Matthieu" userId="a28de245-dc05-4206-b24f-6f403ed1344a" providerId="ADAL" clId="{97AE8C35-2375-40D4-8F09-DBC209B3CDBF}" dt="2021-03-06T15:42:58.554" v="5158" actId="478"/>
          <ac:cxnSpMkLst>
            <pc:docMk/>
            <pc:sldMk cId="705062173" sldId="490"/>
            <ac:cxnSpMk id="48" creationId="{4239914B-E517-4C91-A466-8F9117E7D550}"/>
          </ac:cxnSpMkLst>
        </pc:cxnChg>
      </pc:sldChg>
      <pc:sldChg chg="addSp delSp modSp add mod">
        <pc:chgData name="MOUAMMAR Matthieu" userId="a28de245-dc05-4206-b24f-6f403ed1344a" providerId="ADAL" clId="{97AE8C35-2375-40D4-8F09-DBC209B3CDBF}" dt="2021-03-07T15:05:09.298" v="8322"/>
        <pc:sldMkLst>
          <pc:docMk/>
          <pc:sldMk cId="202325545" sldId="491"/>
        </pc:sldMkLst>
        <pc:spChg chg="mod">
          <ac:chgData name="MOUAMMAR Matthieu" userId="a28de245-dc05-4206-b24f-6f403ed1344a" providerId="ADAL" clId="{97AE8C35-2375-40D4-8F09-DBC209B3CDBF}" dt="2021-03-06T15:50:32.343" v="5395" actId="20577"/>
          <ac:spMkLst>
            <pc:docMk/>
            <pc:sldMk cId="202325545" sldId="491"/>
            <ac:spMk id="5" creationId="{00000000-0000-0000-0000-000000000000}"/>
          </ac:spMkLst>
        </pc:spChg>
        <pc:spChg chg="add mod">
          <ac:chgData name="MOUAMMAR Matthieu" userId="a28de245-dc05-4206-b24f-6f403ed1344a" providerId="ADAL" clId="{97AE8C35-2375-40D4-8F09-DBC209B3CDBF}" dt="2021-03-06T15:43:51.116" v="5171"/>
          <ac:spMkLst>
            <pc:docMk/>
            <pc:sldMk cId="202325545" sldId="491"/>
            <ac:spMk id="12" creationId="{32EAB56A-41ED-41A3-B3EB-BA81811FE2ED}"/>
          </ac:spMkLst>
        </pc:spChg>
        <pc:spChg chg="add mod">
          <ac:chgData name="MOUAMMAR Matthieu" userId="a28de245-dc05-4206-b24f-6f403ed1344a" providerId="ADAL" clId="{97AE8C35-2375-40D4-8F09-DBC209B3CDBF}" dt="2021-03-07T15:05:09.298" v="8322"/>
          <ac:spMkLst>
            <pc:docMk/>
            <pc:sldMk cId="202325545" sldId="491"/>
            <ac:spMk id="13" creationId="{A4876941-16CF-4B23-8CF2-C958C5A573B3}"/>
          </ac:spMkLst>
        </pc:spChg>
        <pc:spChg chg="mod">
          <ac:chgData name="MOUAMMAR Matthieu" userId="a28de245-dc05-4206-b24f-6f403ed1344a" providerId="ADAL" clId="{97AE8C35-2375-40D4-8F09-DBC209B3CDBF}" dt="2021-03-07T14:41:18.624" v="8065" actId="20577"/>
          <ac:spMkLst>
            <pc:docMk/>
            <pc:sldMk cId="202325545" sldId="491"/>
            <ac:spMk id="120" creationId="{AF07C365-2B2E-41B9-9E82-7D8948A3F962}"/>
          </ac:spMkLst>
        </pc:spChg>
        <pc:grpChg chg="add mod">
          <ac:chgData name="MOUAMMAR Matthieu" userId="a28de245-dc05-4206-b24f-6f403ed1344a" providerId="ADAL" clId="{97AE8C35-2375-40D4-8F09-DBC209B3CDBF}" dt="2021-03-06T15:44:26.752" v="5180" actId="1076"/>
          <ac:grpSpMkLst>
            <pc:docMk/>
            <pc:sldMk cId="202325545" sldId="491"/>
            <ac:grpSpMk id="8" creationId="{0DFB6221-A3E5-406B-B2D8-649C73D45DD8}"/>
          </ac:grpSpMkLst>
        </pc:grpChg>
        <pc:picChg chg="add mod">
          <ac:chgData name="MOUAMMAR Matthieu" userId="a28de245-dc05-4206-b24f-6f403ed1344a" providerId="ADAL" clId="{97AE8C35-2375-40D4-8F09-DBC209B3CDBF}" dt="2021-03-06T15:44:29.624" v="5181" actId="1076"/>
          <ac:picMkLst>
            <pc:docMk/>
            <pc:sldMk cId="202325545" sldId="491"/>
            <ac:picMk id="9" creationId="{CF4E9C32-2FE5-4984-A38D-A228A1E0AE4F}"/>
          </ac:picMkLst>
        </pc:picChg>
        <pc:picChg chg="add mod">
          <ac:chgData name="MOUAMMAR Matthieu" userId="a28de245-dc05-4206-b24f-6f403ed1344a" providerId="ADAL" clId="{97AE8C35-2375-40D4-8F09-DBC209B3CDBF}" dt="2021-03-06T15:44:23.488" v="5179" actId="1076"/>
          <ac:picMkLst>
            <pc:docMk/>
            <pc:sldMk cId="202325545" sldId="491"/>
            <ac:picMk id="10" creationId="{21F134B6-1D01-44F6-AAB5-92CC5236A8D3}"/>
          </ac:picMkLst>
        </pc:picChg>
        <pc:picChg chg="add mod">
          <ac:chgData name="MOUAMMAR Matthieu" userId="a28de245-dc05-4206-b24f-6f403ed1344a" providerId="ADAL" clId="{97AE8C35-2375-40D4-8F09-DBC209B3CDBF}" dt="2021-03-06T15:43:51.116" v="5171"/>
          <ac:picMkLst>
            <pc:docMk/>
            <pc:sldMk cId="202325545" sldId="491"/>
            <ac:picMk id="11" creationId="{E86EFB21-0FE2-491E-8369-EA503D71FBE0}"/>
          </ac:picMkLst>
        </pc:picChg>
        <pc:picChg chg="add mod">
          <ac:chgData name="MOUAMMAR Matthieu" userId="a28de245-dc05-4206-b24f-6f403ed1344a" providerId="ADAL" clId="{97AE8C35-2375-40D4-8F09-DBC209B3CDBF}" dt="2021-03-07T15:05:09.298" v="8322"/>
          <ac:picMkLst>
            <pc:docMk/>
            <pc:sldMk cId="202325545" sldId="491"/>
            <ac:picMk id="14" creationId="{93A5A177-08AC-4B64-AC79-150F0DD40345}"/>
          </ac:picMkLst>
        </pc:picChg>
        <pc:picChg chg="add mod">
          <ac:chgData name="MOUAMMAR Matthieu" userId="a28de245-dc05-4206-b24f-6f403ed1344a" providerId="ADAL" clId="{97AE8C35-2375-40D4-8F09-DBC209B3CDBF}" dt="2021-03-07T15:05:09.298" v="8322"/>
          <ac:picMkLst>
            <pc:docMk/>
            <pc:sldMk cId="202325545" sldId="491"/>
            <ac:picMk id="15" creationId="{E421B6DB-5829-45C3-92D5-DE8B0EA2B611}"/>
          </ac:picMkLst>
        </pc:picChg>
        <pc:picChg chg="del">
          <ac:chgData name="MOUAMMAR Matthieu" userId="a28de245-dc05-4206-b24f-6f403ed1344a" providerId="ADAL" clId="{97AE8C35-2375-40D4-8F09-DBC209B3CDBF}" dt="2021-03-06T15:43:33.732" v="5166" actId="478"/>
          <ac:picMkLst>
            <pc:docMk/>
            <pc:sldMk cId="202325545" sldId="491"/>
            <ac:picMk id="119" creationId="{D1F6498C-EA91-455B-8244-316EAC935D50}"/>
          </ac:picMkLst>
        </pc:picChg>
      </pc:sldChg>
      <pc:sldChg chg="addSp delSp modSp add mod">
        <pc:chgData name="MOUAMMAR Matthieu" userId="a28de245-dc05-4206-b24f-6f403ed1344a" providerId="ADAL" clId="{97AE8C35-2375-40D4-8F09-DBC209B3CDBF}" dt="2021-03-06T15:45:15.818" v="5189"/>
        <pc:sldMkLst>
          <pc:docMk/>
          <pc:sldMk cId="2227146923" sldId="492"/>
        </pc:sldMkLst>
        <pc:picChg chg="add mod">
          <ac:chgData name="MOUAMMAR Matthieu" userId="a28de245-dc05-4206-b24f-6f403ed1344a" providerId="ADAL" clId="{97AE8C35-2375-40D4-8F09-DBC209B3CDBF}" dt="2021-03-06T15:44:54.362" v="5187" actId="1076"/>
          <ac:picMkLst>
            <pc:docMk/>
            <pc:sldMk cId="2227146923" sldId="492"/>
            <ac:picMk id="7" creationId="{E04C311E-E58C-47D0-9B3F-E4DE9A0F35FB}"/>
          </ac:picMkLst>
        </pc:picChg>
        <pc:picChg chg="add mod">
          <ac:chgData name="MOUAMMAR Matthieu" userId="a28de245-dc05-4206-b24f-6f403ed1344a" providerId="ADAL" clId="{97AE8C35-2375-40D4-8F09-DBC209B3CDBF}" dt="2021-03-06T15:45:15.818" v="5189"/>
          <ac:picMkLst>
            <pc:docMk/>
            <pc:sldMk cId="2227146923" sldId="492"/>
            <ac:picMk id="8" creationId="{B9CFC4B8-8D88-4B87-A42F-C1ABFC607AF9}"/>
          </ac:picMkLst>
        </pc:picChg>
        <pc:picChg chg="del">
          <ac:chgData name="MOUAMMAR Matthieu" userId="a28de245-dc05-4206-b24f-6f403ed1344a" providerId="ADAL" clId="{97AE8C35-2375-40D4-8F09-DBC209B3CDBF}" dt="2021-03-06T15:44:49.150" v="5184" actId="478"/>
          <ac:picMkLst>
            <pc:docMk/>
            <pc:sldMk cId="2227146923" sldId="492"/>
            <ac:picMk id="119" creationId="{D1F6498C-EA91-455B-8244-316EAC935D50}"/>
          </ac:picMkLst>
        </pc:picChg>
      </pc:sldChg>
      <pc:sldChg chg="addSp delSp modSp add mod">
        <pc:chgData name="MOUAMMAR Matthieu" userId="a28de245-dc05-4206-b24f-6f403ed1344a" providerId="ADAL" clId="{97AE8C35-2375-40D4-8F09-DBC209B3CDBF}" dt="2021-03-06T15:55:15.487" v="5459" actId="20577"/>
        <pc:sldMkLst>
          <pc:docMk/>
          <pc:sldMk cId="735275288" sldId="493"/>
        </pc:sldMkLst>
        <pc:spChg chg="mod">
          <ac:chgData name="MOUAMMAR Matthieu" userId="a28de245-dc05-4206-b24f-6f403ed1344a" providerId="ADAL" clId="{97AE8C35-2375-40D4-8F09-DBC209B3CDBF}" dt="2021-03-06T15:55:15.487" v="5459" actId="20577"/>
          <ac:spMkLst>
            <pc:docMk/>
            <pc:sldMk cId="735275288" sldId="493"/>
            <ac:spMk id="5" creationId="{00000000-0000-0000-0000-000000000000}"/>
          </ac:spMkLst>
        </pc:spChg>
        <pc:spChg chg="add mod">
          <ac:chgData name="MOUAMMAR Matthieu" userId="a28de245-dc05-4206-b24f-6f403ed1344a" providerId="ADAL" clId="{97AE8C35-2375-40D4-8F09-DBC209B3CDBF}" dt="2021-03-06T15:45:27.906" v="5193"/>
          <ac:spMkLst>
            <pc:docMk/>
            <pc:sldMk cId="735275288" sldId="493"/>
            <ac:spMk id="13" creationId="{90EA530E-250F-46A2-817B-FE4098BE9507}"/>
          </ac:spMkLst>
        </pc:spChg>
        <pc:spChg chg="add del mod">
          <ac:chgData name="MOUAMMAR Matthieu" userId="a28de245-dc05-4206-b24f-6f403ed1344a" providerId="ADAL" clId="{97AE8C35-2375-40D4-8F09-DBC209B3CDBF}" dt="2021-03-06T15:45:36.404" v="5196" actId="478"/>
          <ac:spMkLst>
            <pc:docMk/>
            <pc:sldMk cId="735275288" sldId="493"/>
            <ac:spMk id="14" creationId="{851035DF-C07B-4936-B476-62B1DC9D9C03}"/>
          </ac:spMkLst>
        </pc:spChg>
        <pc:spChg chg="add mod">
          <ac:chgData name="MOUAMMAR Matthieu" userId="a28de245-dc05-4206-b24f-6f403ed1344a" providerId="ADAL" clId="{97AE8C35-2375-40D4-8F09-DBC209B3CDBF}" dt="2021-03-06T15:49:19.972" v="5342" actId="1076"/>
          <ac:spMkLst>
            <pc:docMk/>
            <pc:sldMk cId="735275288" sldId="493"/>
            <ac:spMk id="15" creationId="{A4992FC0-985C-41FF-B8BC-B8D2CDAE8D33}"/>
          </ac:spMkLst>
        </pc:spChg>
        <pc:spChg chg="add del mod">
          <ac:chgData name="MOUAMMAR Matthieu" userId="a28de245-dc05-4206-b24f-6f403ed1344a" providerId="ADAL" clId="{97AE8C35-2375-40D4-8F09-DBC209B3CDBF}" dt="2021-03-06T15:46:08.007" v="5206" actId="478"/>
          <ac:spMkLst>
            <pc:docMk/>
            <pc:sldMk cId="735275288" sldId="493"/>
            <ac:spMk id="16" creationId="{07B80178-9395-4F60-B285-A7E51699D6C3}"/>
          </ac:spMkLst>
        </pc:spChg>
        <pc:spChg chg="add del mod">
          <ac:chgData name="MOUAMMAR Matthieu" userId="a28de245-dc05-4206-b24f-6f403ed1344a" providerId="ADAL" clId="{97AE8C35-2375-40D4-8F09-DBC209B3CDBF}" dt="2021-03-06T15:46:23.596" v="5212" actId="478"/>
          <ac:spMkLst>
            <pc:docMk/>
            <pc:sldMk cId="735275288" sldId="493"/>
            <ac:spMk id="17" creationId="{AB61CA6D-B971-4900-B317-0B39E70CC743}"/>
          </ac:spMkLst>
        </pc:spChg>
        <pc:spChg chg="add mod">
          <ac:chgData name="MOUAMMAR Matthieu" userId="a28de245-dc05-4206-b24f-6f403ed1344a" providerId="ADAL" clId="{97AE8C35-2375-40D4-8F09-DBC209B3CDBF}" dt="2021-03-06T15:49:53.670" v="5352" actId="1076"/>
          <ac:spMkLst>
            <pc:docMk/>
            <pc:sldMk cId="735275288" sldId="493"/>
            <ac:spMk id="18" creationId="{A3EA8172-7CDE-4459-B9A3-A8C201193A61}"/>
          </ac:spMkLst>
        </pc:spChg>
        <pc:spChg chg="del">
          <ac:chgData name="MOUAMMAR Matthieu" userId="a28de245-dc05-4206-b24f-6f403ed1344a" providerId="ADAL" clId="{97AE8C35-2375-40D4-8F09-DBC209B3CDBF}" dt="2021-03-06T15:45:21.252" v="5191" actId="478"/>
          <ac:spMkLst>
            <pc:docMk/>
            <pc:sldMk cId="735275288" sldId="493"/>
            <ac:spMk id="120" creationId="{AF07C365-2B2E-41B9-9E82-7D8948A3F962}"/>
          </ac:spMkLst>
        </pc:spChg>
        <pc:grpChg chg="del">
          <ac:chgData name="MOUAMMAR Matthieu" userId="a28de245-dc05-4206-b24f-6f403ed1344a" providerId="ADAL" clId="{97AE8C35-2375-40D4-8F09-DBC209B3CDBF}" dt="2021-03-06T15:47:02.199" v="5242" actId="478"/>
          <ac:grpSpMkLst>
            <pc:docMk/>
            <pc:sldMk cId="735275288" sldId="493"/>
            <ac:grpSpMk id="8" creationId="{0DFB6221-A3E5-406B-B2D8-649C73D45DD8}"/>
          </ac:grpSpMkLst>
        </pc:grpChg>
        <pc:picChg chg="del">
          <ac:chgData name="MOUAMMAR Matthieu" userId="a28de245-dc05-4206-b24f-6f403ed1344a" providerId="ADAL" clId="{97AE8C35-2375-40D4-8F09-DBC209B3CDBF}" dt="2021-03-06T15:47:02.199" v="5242" actId="478"/>
          <ac:picMkLst>
            <pc:docMk/>
            <pc:sldMk cId="735275288" sldId="493"/>
            <ac:picMk id="9" creationId="{CF4E9C32-2FE5-4984-A38D-A228A1E0AE4F}"/>
          </ac:picMkLst>
        </pc:picChg>
        <pc:picChg chg="del">
          <ac:chgData name="MOUAMMAR Matthieu" userId="a28de245-dc05-4206-b24f-6f403ed1344a" providerId="ADAL" clId="{97AE8C35-2375-40D4-8F09-DBC209B3CDBF}" dt="2021-03-06T15:47:02.199" v="5242" actId="478"/>
          <ac:picMkLst>
            <pc:docMk/>
            <pc:sldMk cId="735275288" sldId="493"/>
            <ac:picMk id="10" creationId="{21F134B6-1D01-44F6-AAB5-92CC5236A8D3}"/>
          </ac:picMkLst>
        </pc:picChg>
        <pc:picChg chg="add mod">
          <ac:chgData name="MOUAMMAR Matthieu" userId="a28de245-dc05-4206-b24f-6f403ed1344a" providerId="ADAL" clId="{97AE8C35-2375-40D4-8F09-DBC209B3CDBF}" dt="2021-03-06T15:49:49.271" v="5351" actId="1076"/>
          <ac:picMkLst>
            <pc:docMk/>
            <pc:sldMk cId="735275288" sldId="493"/>
            <ac:picMk id="19" creationId="{FA8890DB-49B0-4A76-BBDA-D1709442DA4C}"/>
          </ac:picMkLst>
        </pc:picChg>
        <pc:picChg chg="add mod">
          <ac:chgData name="MOUAMMAR Matthieu" userId="a28de245-dc05-4206-b24f-6f403ed1344a" providerId="ADAL" clId="{97AE8C35-2375-40D4-8F09-DBC209B3CDBF}" dt="2021-03-06T15:47:45.205" v="5256" actId="1076"/>
          <ac:picMkLst>
            <pc:docMk/>
            <pc:sldMk cId="735275288" sldId="493"/>
            <ac:picMk id="20" creationId="{4B2DAC3F-F5C0-4A60-8119-8B878444C5F4}"/>
          </ac:picMkLst>
        </pc:picChg>
      </pc:sldChg>
      <pc:sldChg chg="addSp delSp modSp add mod">
        <pc:chgData name="MOUAMMAR Matthieu" userId="a28de245-dc05-4206-b24f-6f403ed1344a" providerId="ADAL" clId="{97AE8C35-2375-40D4-8F09-DBC209B3CDBF}" dt="2021-03-07T14:46:21.293" v="8259" actId="20577"/>
        <pc:sldMkLst>
          <pc:docMk/>
          <pc:sldMk cId="34521680" sldId="494"/>
        </pc:sldMkLst>
        <pc:spChg chg="add mod">
          <ac:chgData name="MOUAMMAR Matthieu" userId="a28de245-dc05-4206-b24f-6f403ed1344a" providerId="ADAL" clId="{97AE8C35-2375-40D4-8F09-DBC209B3CDBF}" dt="2021-03-07T14:46:21.293" v="8259" actId="20577"/>
          <ac:spMkLst>
            <pc:docMk/>
            <pc:sldMk cId="34521680" sldId="494"/>
            <ac:spMk id="2" creationId="{ADAAFE5D-2354-4CE1-95C8-3CD7D24F3585}"/>
          </ac:spMkLst>
        </pc:spChg>
        <pc:spChg chg="mod">
          <ac:chgData name="MOUAMMAR Matthieu" userId="a28de245-dc05-4206-b24f-6f403ed1344a" providerId="ADAL" clId="{97AE8C35-2375-40D4-8F09-DBC209B3CDBF}" dt="2021-03-06T15:55:13.472" v="5458" actId="20577"/>
          <ac:spMkLst>
            <pc:docMk/>
            <pc:sldMk cId="34521680" sldId="494"/>
            <ac:spMk id="5" creationId="{00000000-0000-0000-0000-000000000000}"/>
          </ac:spMkLst>
        </pc:spChg>
        <pc:picChg chg="del">
          <ac:chgData name="MOUAMMAR Matthieu" userId="a28de245-dc05-4206-b24f-6f403ed1344a" providerId="ADAL" clId="{97AE8C35-2375-40D4-8F09-DBC209B3CDBF}" dt="2021-03-06T15:55:18.650" v="5460" actId="478"/>
          <ac:picMkLst>
            <pc:docMk/>
            <pc:sldMk cId="34521680" sldId="494"/>
            <ac:picMk id="7" creationId="{E04C311E-E58C-47D0-9B3F-E4DE9A0F35FB}"/>
          </ac:picMkLst>
        </pc:picChg>
        <pc:picChg chg="add mod">
          <ac:chgData name="MOUAMMAR Matthieu" userId="a28de245-dc05-4206-b24f-6f403ed1344a" providerId="ADAL" clId="{97AE8C35-2375-40D4-8F09-DBC209B3CDBF}" dt="2021-03-06T15:55:44.019" v="5463" actId="1076"/>
          <ac:picMkLst>
            <pc:docMk/>
            <pc:sldMk cId="34521680" sldId="494"/>
            <ac:picMk id="8" creationId="{D0FEAEA3-5979-4218-B846-3D5E4AD7FC67}"/>
          </ac:picMkLst>
        </pc:picChg>
      </pc:sldChg>
      <pc:sldChg chg="addSp delSp modSp add mod">
        <pc:chgData name="MOUAMMAR Matthieu" userId="a28de245-dc05-4206-b24f-6f403ed1344a" providerId="ADAL" clId="{97AE8C35-2375-40D4-8F09-DBC209B3CDBF}" dt="2021-03-06T15:57:09.161" v="5521"/>
        <pc:sldMkLst>
          <pc:docMk/>
          <pc:sldMk cId="3162414915" sldId="495"/>
        </pc:sldMkLst>
        <pc:spChg chg="mod">
          <ac:chgData name="MOUAMMAR Matthieu" userId="a28de245-dc05-4206-b24f-6f403ed1344a" providerId="ADAL" clId="{97AE8C35-2375-40D4-8F09-DBC209B3CDBF}" dt="2021-03-06T15:56:26.371" v="5508" actId="20577"/>
          <ac:spMkLst>
            <pc:docMk/>
            <pc:sldMk cId="3162414915" sldId="495"/>
            <ac:spMk id="5" creationId="{00000000-0000-0000-0000-000000000000}"/>
          </ac:spMkLst>
        </pc:spChg>
        <pc:spChg chg="mod">
          <ac:chgData name="MOUAMMAR Matthieu" userId="a28de245-dc05-4206-b24f-6f403ed1344a" providerId="ADAL" clId="{97AE8C35-2375-40D4-8F09-DBC209B3CDBF}" dt="2021-03-06T15:56:48.737" v="5517" actId="14100"/>
          <ac:spMkLst>
            <pc:docMk/>
            <pc:sldMk cId="3162414915" sldId="495"/>
            <ac:spMk id="15" creationId="{A4992FC0-985C-41FF-B8BC-B8D2CDAE8D33}"/>
          </ac:spMkLst>
        </pc:spChg>
        <pc:spChg chg="del">
          <ac:chgData name="MOUAMMAR Matthieu" userId="a28de245-dc05-4206-b24f-6f403ed1344a" providerId="ADAL" clId="{97AE8C35-2375-40D4-8F09-DBC209B3CDBF}" dt="2021-03-06T15:56:34.141" v="5511" actId="478"/>
          <ac:spMkLst>
            <pc:docMk/>
            <pc:sldMk cId="3162414915" sldId="495"/>
            <ac:spMk id="18" creationId="{A3EA8172-7CDE-4459-B9A3-A8C201193A61}"/>
          </ac:spMkLst>
        </pc:spChg>
        <pc:picChg chg="add mod">
          <ac:chgData name="MOUAMMAR Matthieu" userId="a28de245-dc05-4206-b24f-6f403ed1344a" providerId="ADAL" clId="{97AE8C35-2375-40D4-8F09-DBC209B3CDBF}" dt="2021-03-06T15:56:55.729" v="5519" actId="1076"/>
          <ac:picMkLst>
            <pc:docMk/>
            <pc:sldMk cId="3162414915" sldId="495"/>
            <ac:picMk id="10" creationId="{7F8A32ED-6A12-429F-98E7-80CF3D0FD520}"/>
          </ac:picMkLst>
        </pc:picChg>
        <pc:picChg chg="add mod">
          <ac:chgData name="MOUAMMAR Matthieu" userId="a28de245-dc05-4206-b24f-6f403ed1344a" providerId="ADAL" clId="{97AE8C35-2375-40D4-8F09-DBC209B3CDBF}" dt="2021-03-06T15:56:55.729" v="5519" actId="1076"/>
          <ac:picMkLst>
            <pc:docMk/>
            <pc:sldMk cId="3162414915" sldId="495"/>
            <ac:picMk id="11" creationId="{F283F2B5-A147-4A70-887C-85FC8710CB93}"/>
          </ac:picMkLst>
        </pc:picChg>
        <pc:picChg chg="add mod">
          <ac:chgData name="MOUAMMAR Matthieu" userId="a28de245-dc05-4206-b24f-6f403ed1344a" providerId="ADAL" clId="{97AE8C35-2375-40D4-8F09-DBC209B3CDBF}" dt="2021-03-06T15:57:09.161" v="5521"/>
          <ac:picMkLst>
            <pc:docMk/>
            <pc:sldMk cId="3162414915" sldId="495"/>
            <ac:picMk id="12" creationId="{CEFFFEA7-D151-4278-ABD2-01FE14873487}"/>
          </ac:picMkLst>
        </pc:picChg>
        <pc:picChg chg="add mod">
          <ac:chgData name="MOUAMMAR Matthieu" userId="a28de245-dc05-4206-b24f-6f403ed1344a" providerId="ADAL" clId="{97AE8C35-2375-40D4-8F09-DBC209B3CDBF}" dt="2021-03-06T15:57:09.161" v="5521"/>
          <ac:picMkLst>
            <pc:docMk/>
            <pc:sldMk cId="3162414915" sldId="495"/>
            <ac:picMk id="13" creationId="{8A3926D6-B2DF-4661-9411-3036F72298D9}"/>
          </ac:picMkLst>
        </pc:picChg>
        <pc:picChg chg="del">
          <ac:chgData name="MOUAMMAR Matthieu" userId="a28de245-dc05-4206-b24f-6f403ed1344a" providerId="ADAL" clId="{97AE8C35-2375-40D4-8F09-DBC209B3CDBF}" dt="2021-03-06T15:56:34.557" v="5512" actId="478"/>
          <ac:picMkLst>
            <pc:docMk/>
            <pc:sldMk cId="3162414915" sldId="495"/>
            <ac:picMk id="19" creationId="{FA8890DB-49B0-4A76-BBDA-D1709442DA4C}"/>
          </ac:picMkLst>
        </pc:picChg>
        <pc:picChg chg="del">
          <ac:chgData name="MOUAMMAR Matthieu" userId="a28de245-dc05-4206-b24f-6f403ed1344a" providerId="ADAL" clId="{97AE8C35-2375-40D4-8F09-DBC209B3CDBF}" dt="2021-03-06T15:56:32.753" v="5510" actId="478"/>
          <ac:picMkLst>
            <pc:docMk/>
            <pc:sldMk cId="3162414915" sldId="495"/>
            <ac:picMk id="20" creationId="{4B2DAC3F-F5C0-4A60-8119-8B878444C5F4}"/>
          </ac:picMkLst>
        </pc:picChg>
      </pc:sldChg>
      <pc:sldChg chg="addSp delSp modSp add mod">
        <pc:chgData name="MOUAMMAR Matthieu" userId="a28de245-dc05-4206-b24f-6f403ed1344a" providerId="ADAL" clId="{97AE8C35-2375-40D4-8F09-DBC209B3CDBF}" dt="2021-03-07T14:47:36.462" v="8263" actId="255"/>
        <pc:sldMkLst>
          <pc:docMk/>
          <pc:sldMk cId="1457980768" sldId="496"/>
        </pc:sldMkLst>
        <pc:spChg chg="mod">
          <ac:chgData name="MOUAMMAR Matthieu" userId="a28de245-dc05-4206-b24f-6f403ed1344a" providerId="ADAL" clId="{97AE8C35-2375-40D4-8F09-DBC209B3CDBF}" dt="2021-03-06T15:57:21.601" v="5550" actId="20577"/>
          <ac:spMkLst>
            <pc:docMk/>
            <pc:sldMk cId="1457980768" sldId="496"/>
            <ac:spMk id="5" creationId="{00000000-0000-0000-0000-000000000000}"/>
          </ac:spMkLst>
        </pc:spChg>
        <pc:spChg chg="add mod">
          <ac:chgData name="MOUAMMAR Matthieu" userId="a28de245-dc05-4206-b24f-6f403ed1344a" providerId="ADAL" clId="{97AE8C35-2375-40D4-8F09-DBC209B3CDBF}" dt="2021-03-07T09:50:17.061" v="7689" actId="164"/>
          <ac:spMkLst>
            <pc:docMk/>
            <pc:sldMk cId="1457980768" sldId="496"/>
            <ac:spMk id="13" creationId="{B19EA34F-1382-43F6-BBF1-9FC91F028E2D}"/>
          </ac:spMkLst>
        </pc:spChg>
        <pc:spChg chg="del">
          <ac:chgData name="MOUAMMAR Matthieu" userId="a28de245-dc05-4206-b24f-6f403ed1344a" providerId="ADAL" clId="{97AE8C35-2375-40D4-8F09-DBC209B3CDBF}" dt="2021-03-06T15:57:24.361" v="5551" actId="478"/>
          <ac:spMkLst>
            <pc:docMk/>
            <pc:sldMk cId="1457980768" sldId="496"/>
            <ac:spMk id="15" creationId="{A4992FC0-985C-41FF-B8BC-B8D2CDAE8D33}"/>
          </ac:spMkLst>
        </pc:spChg>
        <pc:spChg chg="add mod">
          <ac:chgData name="MOUAMMAR Matthieu" userId="a28de245-dc05-4206-b24f-6f403ed1344a" providerId="ADAL" clId="{97AE8C35-2375-40D4-8F09-DBC209B3CDBF}" dt="2021-03-07T09:50:17.061" v="7689" actId="164"/>
          <ac:spMkLst>
            <pc:docMk/>
            <pc:sldMk cId="1457980768" sldId="496"/>
            <ac:spMk id="25" creationId="{E01A84A6-AB44-41E1-8D1C-948C127E7CEE}"/>
          </ac:spMkLst>
        </pc:spChg>
        <pc:spChg chg="add mod">
          <ac:chgData name="MOUAMMAR Matthieu" userId="a28de245-dc05-4206-b24f-6f403ed1344a" providerId="ADAL" clId="{97AE8C35-2375-40D4-8F09-DBC209B3CDBF}" dt="2021-03-07T09:50:17.061" v="7689" actId="164"/>
          <ac:spMkLst>
            <pc:docMk/>
            <pc:sldMk cId="1457980768" sldId="496"/>
            <ac:spMk id="26" creationId="{1097D2F1-DC2B-43C2-8D94-977E061C455A}"/>
          </ac:spMkLst>
        </pc:spChg>
        <pc:spChg chg="add mod">
          <ac:chgData name="MOUAMMAR Matthieu" userId="a28de245-dc05-4206-b24f-6f403ed1344a" providerId="ADAL" clId="{97AE8C35-2375-40D4-8F09-DBC209B3CDBF}" dt="2021-03-07T09:50:17.061" v="7689" actId="164"/>
          <ac:spMkLst>
            <pc:docMk/>
            <pc:sldMk cId="1457980768" sldId="496"/>
            <ac:spMk id="27" creationId="{9F1EC74E-23F0-4A0B-B721-60C5D41C401E}"/>
          </ac:spMkLst>
        </pc:spChg>
        <pc:spChg chg="add mod">
          <ac:chgData name="MOUAMMAR Matthieu" userId="a28de245-dc05-4206-b24f-6f403ed1344a" providerId="ADAL" clId="{97AE8C35-2375-40D4-8F09-DBC209B3CDBF}" dt="2021-03-07T09:50:17.061" v="7689" actId="164"/>
          <ac:spMkLst>
            <pc:docMk/>
            <pc:sldMk cId="1457980768" sldId="496"/>
            <ac:spMk id="28" creationId="{740FAEE9-8191-4ACB-A634-01D1B4DC4397}"/>
          </ac:spMkLst>
        </pc:spChg>
        <pc:spChg chg="add mod">
          <ac:chgData name="MOUAMMAR Matthieu" userId="a28de245-dc05-4206-b24f-6f403ed1344a" providerId="ADAL" clId="{97AE8C35-2375-40D4-8F09-DBC209B3CDBF}" dt="2021-03-07T14:47:36.462" v="8263" actId="255"/>
          <ac:spMkLst>
            <pc:docMk/>
            <pc:sldMk cId="1457980768" sldId="496"/>
            <ac:spMk id="29" creationId="{4E684882-19C2-4714-810B-64A19FE21AF4}"/>
          </ac:spMkLst>
        </pc:spChg>
        <pc:spChg chg="add mod">
          <ac:chgData name="MOUAMMAR Matthieu" userId="a28de245-dc05-4206-b24f-6f403ed1344a" providerId="ADAL" clId="{97AE8C35-2375-40D4-8F09-DBC209B3CDBF}" dt="2021-03-07T09:50:17.061" v="7689" actId="164"/>
          <ac:spMkLst>
            <pc:docMk/>
            <pc:sldMk cId="1457980768" sldId="496"/>
            <ac:spMk id="30" creationId="{900A8774-D333-4D03-A8D9-41E7199B01AC}"/>
          </ac:spMkLst>
        </pc:spChg>
        <pc:spChg chg="add mod">
          <ac:chgData name="MOUAMMAR Matthieu" userId="a28de245-dc05-4206-b24f-6f403ed1344a" providerId="ADAL" clId="{97AE8C35-2375-40D4-8F09-DBC209B3CDBF}" dt="2021-03-07T09:50:17.061" v="7689" actId="164"/>
          <ac:spMkLst>
            <pc:docMk/>
            <pc:sldMk cId="1457980768" sldId="496"/>
            <ac:spMk id="31" creationId="{594292AA-02FF-4C77-B5D6-25ABA48D2256}"/>
          </ac:spMkLst>
        </pc:spChg>
        <pc:spChg chg="add mod">
          <ac:chgData name="MOUAMMAR Matthieu" userId="a28de245-dc05-4206-b24f-6f403ed1344a" providerId="ADAL" clId="{97AE8C35-2375-40D4-8F09-DBC209B3CDBF}" dt="2021-03-07T09:50:17.061" v="7689" actId="164"/>
          <ac:spMkLst>
            <pc:docMk/>
            <pc:sldMk cId="1457980768" sldId="496"/>
            <ac:spMk id="32" creationId="{2CE68FC0-D652-44E1-94C1-8B03689FD061}"/>
          </ac:spMkLst>
        </pc:spChg>
        <pc:spChg chg="add mod">
          <ac:chgData name="MOUAMMAR Matthieu" userId="a28de245-dc05-4206-b24f-6f403ed1344a" providerId="ADAL" clId="{97AE8C35-2375-40D4-8F09-DBC209B3CDBF}" dt="2021-03-07T09:50:17.061" v="7689" actId="164"/>
          <ac:spMkLst>
            <pc:docMk/>
            <pc:sldMk cId="1457980768" sldId="496"/>
            <ac:spMk id="33" creationId="{92840DEA-B9A4-4902-9C14-9081E33093A4}"/>
          </ac:spMkLst>
        </pc:spChg>
        <pc:spChg chg="add mod">
          <ac:chgData name="MOUAMMAR Matthieu" userId="a28de245-dc05-4206-b24f-6f403ed1344a" providerId="ADAL" clId="{97AE8C35-2375-40D4-8F09-DBC209B3CDBF}" dt="2021-03-07T09:50:17.061" v="7689" actId="164"/>
          <ac:spMkLst>
            <pc:docMk/>
            <pc:sldMk cId="1457980768" sldId="496"/>
            <ac:spMk id="34" creationId="{0FA929F6-AE1F-4169-AD55-AD220014C2F7}"/>
          </ac:spMkLst>
        </pc:spChg>
        <pc:spChg chg="add mod">
          <ac:chgData name="MOUAMMAR Matthieu" userId="a28de245-dc05-4206-b24f-6f403ed1344a" providerId="ADAL" clId="{97AE8C35-2375-40D4-8F09-DBC209B3CDBF}" dt="2021-03-07T09:50:17.061" v="7689" actId="164"/>
          <ac:spMkLst>
            <pc:docMk/>
            <pc:sldMk cId="1457980768" sldId="496"/>
            <ac:spMk id="35" creationId="{16E1AFDC-1737-4E66-A666-D00F22B5960D}"/>
          </ac:spMkLst>
        </pc:spChg>
        <pc:spChg chg="add mod">
          <ac:chgData name="MOUAMMAR Matthieu" userId="a28de245-dc05-4206-b24f-6f403ed1344a" providerId="ADAL" clId="{97AE8C35-2375-40D4-8F09-DBC209B3CDBF}" dt="2021-03-07T09:50:17.061" v="7689" actId="164"/>
          <ac:spMkLst>
            <pc:docMk/>
            <pc:sldMk cId="1457980768" sldId="496"/>
            <ac:spMk id="36" creationId="{6BC0158F-8D7E-4A4F-8673-36862F20E6D7}"/>
          </ac:spMkLst>
        </pc:spChg>
        <pc:spChg chg="add mod">
          <ac:chgData name="MOUAMMAR Matthieu" userId="a28de245-dc05-4206-b24f-6f403ed1344a" providerId="ADAL" clId="{97AE8C35-2375-40D4-8F09-DBC209B3CDBF}" dt="2021-03-07T09:50:17.061" v="7689" actId="164"/>
          <ac:spMkLst>
            <pc:docMk/>
            <pc:sldMk cId="1457980768" sldId="496"/>
            <ac:spMk id="38" creationId="{242649F3-56A8-4CDF-A475-B727954379F1}"/>
          </ac:spMkLst>
        </pc:spChg>
        <pc:spChg chg="add mod">
          <ac:chgData name="MOUAMMAR Matthieu" userId="a28de245-dc05-4206-b24f-6f403ed1344a" providerId="ADAL" clId="{97AE8C35-2375-40D4-8F09-DBC209B3CDBF}" dt="2021-03-07T09:50:17.061" v="7689" actId="164"/>
          <ac:spMkLst>
            <pc:docMk/>
            <pc:sldMk cId="1457980768" sldId="496"/>
            <ac:spMk id="40" creationId="{A3E72AF5-1905-4EC5-B2E5-1B9A497B6CD6}"/>
          </ac:spMkLst>
        </pc:spChg>
        <pc:spChg chg="add mod">
          <ac:chgData name="MOUAMMAR Matthieu" userId="a28de245-dc05-4206-b24f-6f403ed1344a" providerId="ADAL" clId="{97AE8C35-2375-40D4-8F09-DBC209B3CDBF}" dt="2021-03-07T09:50:17.061" v="7689" actId="164"/>
          <ac:spMkLst>
            <pc:docMk/>
            <pc:sldMk cId="1457980768" sldId="496"/>
            <ac:spMk id="42" creationId="{87040581-950D-4A2B-B9F9-53CCD07FF520}"/>
          </ac:spMkLst>
        </pc:spChg>
        <pc:spChg chg="add mod">
          <ac:chgData name="MOUAMMAR Matthieu" userId="a28de245-dc05-4206-b24f-6f403ed1344a" providerId="ADAL" clId="{97AE8C35-2375-40D4-8F09-DBC209B3CDBF}" dt="2021-03-07T09:50:17.061" v="7689" actId="164"/>
          <ac:spMkLst>
            <pc:docMk/>
            <pc:sldMk cId="1457980768" sldId="496"/>
            <ac:spMk id="43" creationId="{06F4B6C2-07C7-4710-91BB-FFA0452CB494}"/>
          </ac:spMkLst>
        </pc:spChg>
        <pc:spChg chg="add mod">
          <ac:chgData name="MOUAMMAR Matthieu" userId="a28de245-dc05-4206-b24f-6f403ed1344a" providerId="ADAL" clId="{97AE8C35-2375-40D4-8F09-DBC209B3CDBF}" dt="2021-03-07T14:47:16.915" v="8261" actId="255"/>
          <ac:spMkLst>
            <pc:docMk/>
            <pc:sldMk cId="1457980768" sldId="496"/>
            <ac:spMk id="46" creationId="{99BD4296-5299-4FC2-BF03-965E891E463A}"/>
          </ac:spMkLst>
        </pc:spChg>
        <pc:spChg chg="add mod">
          <ac:chgData name="MOUAMMAR Matthieu" userId="a28de245-dc05-4206-b24f-6f403ed1344a" providerId="ADAL" clId="{97AE8C35-2375-40D4-8F09-DBC209B3CDBF}" dt="2021-03-07T09:50:17.061" v="7689" actId="164"/>
          <ac:spMkLst>
            <pc:docMk/>
            <pc:sldMk cId="1457980768" sldId="496"/>
            <ac:spMk id="47" creationId="{86328340-0D6D-48D2-8974-749036EA8C4E}"/>
          </ac:spMkLst>
        </pc:spChg>
        <pc:spChg chg="add mod">
          <ac:chgData name="MOUAMMAR Matthieu" userId="a28de245-dc05-4206-b24f-6f403ed1344a" providerId="ADAL" clId="{97AE8C35-2375-40D4-8F09-DBC209B3CDBF}" dt="2021-03-07T09:50:17.061" v="7689" actId="164"/>
          <ac:spMkLst>
            <pc:docMk/>
            <pc:sldMk cId="1457980768" sldId="496"/>
            <ac:spMk id="48" creationId="{08F84291-DFEA-4A76-8614-7E8CE1622FBC}"/>
          </ac:spMkLst>
        </pc:spChg>
        <pc:spChg chg="add mod">
          <ac:chgData name="MOUAMMAR Matthieu" userId="a28de245-dc05-4206-b24f-6f403ed1344a" providerId="ADAL" clId="{97AE8C35-2375-40D4-8F09-DBC209B3CDBF}" dt="2021-03-07T09:50:43.366" v="7697" actId="20577"/>
          <ac:spMkLst>
            <pc:docMk/>
            <pc:sldMk cId="1457980768" sldId="496"/>
            <ac:spMk id="49" creationId="{81D2B3FE-F685-4BD9-8AEA-9A7B0F4D2E3A}"/>
          </ac:spMkLst>
        </pc:spChg>
        <pc:spChg chg="add mod">
          <ac:chgData name="MOUAMMAR Matthieu" userId="a28de245-dc05-4206-b24f-6f403ed1344a" providerId="ADAL" clId="{97AE8C35-2375-40D4-8F09-DBC209B3CDBF}" dt="2021-03-07T09:50:17.061" v="7689" actId="164"/>
          <ac:spMkLst>
            <pc:docMk/>
            <pc:sldMk cId="1457980768" sldId="496"/>
            <ac:spMk id="50" creationId="{BFB7737C-BBE0-4542-A2E7-A0B8CF31FB76}"/>
          </ac:spMkLst>
        </pc:spChg>
        <pc:spChg chg="add mod">
          <ac:chgData name="MOUAMMAR Matthieu" userId="a28de245-dc05-4206-b24f-6f403ed1344a" providerId="ADAL" clId="{97AE8C35-2375-40D4-8F09-DBC209B3CDBF}" dt="2021-03-07T09:50:17.061" v="7689" actId="164"/>
          <ac:spMkLst>
            <pc:docMk/>
            <pc:sldMk cId="1457980768" sldId="496"/>
            <ac:spMk id="52" creationId="{A5AE7BA4-873A-4EB8-B9A3-EF474673B60F}"/>
          </ac:spMkLst>
        </pc:spChg>
        <pc:spChg chg="add mod">
          <ac:chgData name="MOUAMMAR Matthieu" userId="a28de245-dc05-4206-b24f-6f403ed1344a" providerId="ADAL" clId="{97AE8C35-2375-40D4-8F09-DBC209B3CDBF}" dt="2021-03-07T09:50:17.061" v="7689" actId="164"/>
          <ac:spMkLst>
            <pc:docMk/>
            <pc:sldMk cId="1457980768" sldId="496"/>
            <ac:spMk id="53" creationId="{353F4653-F445-48CC-8756-06B2C00ED38C}"/>
          </ac:spMkLst>
        </pc:spChg>
        <pc:spChg chg="add mod">
          <ac:chgData name="MOUAMMAR Matthieu" userId="a28de245-dc05-4206-b24f-6f403ed1344a" providerId="ADAL" clId="{97AE8C35-2375-40D4-8F09-DBC209B3CDBF}" dt="2021-03-07T09:50:17.061" v="7689" actId="164"/>
          <ac:spMkLst>
            <pc:docMk/>
            <pc:sldMk cId="1457980768" sldId="496"/>
            <ac:spMk id="54" creationId="{73FA3278-E52B-4D1F-8858-F3EC122581F2}"/>
          </ac:spMkLst>
        </pc:spChg>
        <pc:spChg chg="add mod">
          <ac:chgData name="MOUAMMAR Matthieu" userId="a28de245-dc05-4206-b24f-6f403ed1344a" providerId="ADAL" clId="{97AE8C35-2375-40D4-8F09-DBC209B3CDBF}" dt="2021-03-07T09:50:17.061" v="7689" actId="164"/>
          <ac:spMkLst>
            <pc:docMk/>
            <pc:sldMk cId="1457980768" sldId="496"/>
            <ac:spMk id="55" creationId="{605B0DF0-4653-44E5-BEDE-6371B7D2DC5F}"/>
          </ac:spMkLst>
        </pc:spChg>
        <pc:spChg chg="add mod">
          <ac:chgData name="MOUAMMAR Matthieu" userId="a28de245-dc05-4206-b24f-6f403ed1344a" providerId="ADAL" clId="{97AE8C35-2375-40D4-8F09-DBC209B3CDBF}" dt="2021-03-07T09:50:17.061" v="7689" actId="164"/>
          <ac:spMkLst>
            <pc:docMk/>
            <pc:sldMk cId="1457980768" sldId="496"/>
            <ac:spMk id="56" creationId="{06D7C7D7-0437-43A0-9FE8-2B87C418D48E}"/>
          </ac:spMkLst>
        </pc:spChg>
        <pc:spChg chg="add mod">
          <ac:chgData name="MOUAMMAR Matthieu" userId="a28de245-dc05-4206-b24f-6f403ed1344a" providerId="ADAL" clId="{97AE8C35-2375-40D4-8F09-DBC209B3CDBF}" dt="2021-03-07T09:50:17.061" v="7689" actId="164"/>
          <ac:spMkLst>
            <pc:docMk/>
            <pc:sldMk cId="1457980768" sldId="496"/>
            <ac:spMk id="57" creationId="{DD60B1A0-C7A8-46BE-96D9-52DCE2D82214}"/>
          </ac:spMkLst>
        </pc:spChg>
        <pc:spChg chg="add mod">
          <ac:chgData name="MOUAMMAR Matthieu" userId="a28de245-dc05-4206-b24f-6f403ed1344a" providerId="ADAL" clId="{97AE8C35-2375-40D4-8F09-DBC209B3CDBF}" dt="2021-03-07T09:50:17.061" v="7689" actId="164"/>
          <ac:spMkLst>
            <pc:docMk/>
            <pc:sldMk cId="1457980768" sldId="496"/>
            <ac:spMk id="58" creationId="{D48A2050-997A-446F-8961-7F4150839C15}"/>
          </ac:spMkLst>
        </pc:spChg>
        <pc:spChg chg="add mod">
          <ac:chgData name="MOUAMMAR Matthieu" userId="a28de245-dc05-4206-b24f-6f403ed1344a" providerId="ADAL" clId="{97AE8C35-2375-40D4-8F09-DBC209B3CDBF}" dt="2021-03-07T09:50:17.061" v="7689" actId="164"/>
          <ac:spMkLst>
            <pc:docMk/>
            <pc:sldMk cId="1457980768" sldId="496"/>
            <ac:spMk id="59" creationId="{35864A0A-DEF2-4338-9387-8E4D8CA1055C}"/>
          </ac:spMkLst>
        </pc:spChg>
        <pc:spChg chg="add mod">
          <ac:chgData name="MOUAMMAR Matthieu" userId="a28de245-dc05-4206-b24f-6f403ed1344a" providerId="ADAL" clId="{97AE8C35-2375-40D4-8F09-DBC209B3CDBF}" dt="2021-03-07T09:50:17.061" v="7689" actId="164"/>
          <ac:spMkLst>
            <pc:docMk/>
            <pc:sldMk cId="1457980768" sldId="496"/>
            <ac:spMk id="60" creationId="{2B01ABF8-29A3-47B5-A279-DD2646E15CA5}"/>
          </ac:spMkLst>
        </pc:spChg>
        <pc:spChg chg="add mod">
          <ac:chgData name="MOUAMMAR Matthieu" userId="a28de245-dc05-4206-b24f-6f403ed1344a" providerId="ADAL" clId="{97AE8C35-2375-40D4-8F09-DBC209B3CDBF}" dt="2021-03-07T09:50:17.061" v="7689" actId="164"/>
          <ac:spMkLst>
            <pc:docMk/>
            <pc:sldMk cId="1457980768" sldId="496"/>
            <ac:spMk id="61" creationId="{678B1F89-6B5D-4704-BFFA-170731FA4584}"/>
          </ac:spMkLst>
        </pc:spChg>
        <pc:spChg chg="add mod">
          <ac:chgData name="MOUAMMAR Matthieu" userId="a28de245-dc05-4206-b24f-6f403ed1344a" providerId="ADAL" clId="{97AE8C35-2375-40D4-8F09-DBC209B3CDBF}" dt="2021-03-07T09:50:17.061" v="7689" actId="164"/>
          <ac:spMkLst>
            <pc:docMk/>
            <pc:sldMk cId="1457980768" sldId="496"/>
            <ac:spMk id="62" creationId="{E55D0741-20A3-4392-B33E-02E5F6DE8A20}"/>
          </ac:spMkLst>
        </pc:spChg>
        <pc:spChg chg="add mod">
          <ac:chgData name="MOUAMMAR Matthieu" userId="a28de245-dc05-4206-b24f-6f403ed1344a" providerId="ADAL" clId="{97AE8C35-2375-40D4-8F09-DBC209B3CDBF}" dt="2021-03-07T09:50:17.061" v="7689" actId="164"/>
          <ac:spMkLst>
            <pc:docMk/>
            <pc:sldMk cId="1457980768" sldId="496"/>
            <ac:spMk id="63" creationId="{3E4CC65E-16A5-45C1-91F3-B2D84D7ED0C3}"/>
          </ac:spMkLst>
        </pc:spChg>
        <pc:spChg chg="add mod">
          <ac:chgData name="MOUAMMAR Matthieu" userId="a28de245-dc05-4206-b24f-6f403ed1344a" providerId="ADAL" clId="{97AE8C35-2375-40D4-8F09-DBC209B3CDBF}" dt="2021-03-07T09:50:17.061" v="7689" actId="164"/>
          <ac:spMkLst>
            <pc:docMk/>
            <pc:sldMk cId="1457980768" sldId="496"/>
            <ac:spMk id="64" creationId="{4AB64AA9-BDBF-467E-B236-B4F81A4CBD0C}"/>
          </ac:spMkLst>
        </pc:spChg>
        <pc:spChg chg="add mod">
          <ac:chgData name="MOUAMMAR Matthieu" userId="a28de245-dc05-4206-b24f-6f403ed1344a" providerId="ADAL" clId="{97AE8C35-2375-40D4-8F09-DBC209B3CDBF}" dt="2021-03-07T09:50:17.061" v="7689" actId="164"/>
          <ac:spMkLst>
            <pc:docMk/>
            <pc:sldMk cId="1457980768" sldId="496"/>
            <ac:spMk id="65" creationId="{AA589FE7-76A9-406A-AE0E-961DD37C48C5}"/>
          </ac:spMkLst>
        </pc:spChg>
        <pc:spChg chg="add mod">
          <ac:chgData name="MOUAMMAR Matthieu" userId="a28de245-dc05-4206-b24f-6f403ed1344a" providerId="ADAL" clId="{97AE8C35-2375-40D4-8F09-DBC209B3CDBF}" dt="2021-03-07T09:50:17.061" v="7689" actId="164"/>
          <ac:spMkLst>
            <pc:docMk/>
            <pc:sldMk cId="1457980768" sldId="496"/>
            <ac:spMk id="66" creationId="{D6497CA6-FB47-471C-9A1D-12BBDA531658}"/>
          </ac:spMkLst>
        </pc:spChg>
        <pc:spChg chg="add mod">
          <ac:chgData name="MOUAMMAR Matthieu" userId="a28de245-dc05-4206-b24f-6f403ed1344a" providerId="ADAL" clId="{97AE8C35-2375-40D4-8F09-DBC209B3CDBF}" dt="2021-03-07T09:50:17.061" v="7689" actId="164"/>
          <ac:spMkLst>
            <pc:docMk/>
            <pc:sldMk cId="1457980768" sldId="496"/>
            <ac:spMk id="67" creationId="{C17BB7F6-7F13-44C6-A22D-B95058465EE2}"/>
          </ac:spMkLst>
        </pc:spChg>
        <pc:spChg chg="add mod">
          <ac:chgData name="MOUAMMAR Matthieu" userId="a28de245-dc05-4206-b24f-6f403ed1344a" providerId="ADAL" clId="{97AE8C35-2375-40D4-8F09-DBC209B3CDBF}" dt="2021-03-07T09:50:17.061" v="7689" actId="164"/>
          <ac:spMkLst>
            <pc:docMk/>
            <pc:sldMk cId="1457980768" sldId="496"/>
            <ac:spMk id="68" creationId="{3097608E-E1A7-4E4F-8E04-FB8B3304B432}"/>
          </ac:spMkLst>
        </pc:spChg>
        <pc:spChg chg="add mod">
          <ac:chgData name="MOUAMMAR Matthieu" userId="a28de245-dc05-4206-b24f-6f403ed1344a" providerId="ADAL" clId="{97AE8C35-2375-40D4-8F09-DBC209B3CDBF}" dt="2021-03-07T09:50:17.061" v="7689" actId="164"/>
          <ac:spMkLst>
            <pc:docMk/>
            <pc:sldMk cId="1457980768" sldId="496"/>
            <ac:spMk id="69" creationId="{EAAD78AC-9D66-4190-8F02-755E23854B1A}"/>
          </ac:spMkLst>
        </pc:spChg>
        <pc:spChg chg="add mod">
          <ac:chgData name="MOUAMMAR Matthieu" userId="a28de245-dc05-4206-b24f-6f403ed1344a" providerId="ADAL" clId="{97AE8C35-2375-40D4-8F09-DBC209B3CDBF}" dt="2021-03-07T09:50:17.061" v="7689" actId="164"/>
          <ac:spMkLst>
            <pc:docMk/>
            <pc:sldMk cId="1457980768" sldId="496"/>
            <ac:spMk id="70" creationId="{236A0E05-99EC-49E4-B730-889714A3C228}"/>
          </ac:spMkLst>
        </pc:spChg>
        <pc:spChg chg="add mod">
          <ac:chgData name="MOUAMMAR Matthieu" userId="a28de245-dc05-4206-b24f-6f403ed1344a" providerId="ADAL" clId="{97AE8C35-2375-40D4-8F09-DBC209B3CDBF}" dt="2021-03-07T09:50:17.061" v="7689" actId="164"/>
          <ac:spMkLst>
            <pc:docMk/>
            <pc:sldMk cId="1457980768" sldId="496"/>
            <ac:spMk id="71" creationId="{9B4C22DC-81F9-4158-9619-82D5300FB386}"/>
          </ac:spMkLst>
        </pc:spChg>
        <pc:spChg chg="add mod">
          <ac:chgData name="MOUAMMAR Matthieu" userId="a28de245-dc05-4206-b24f-6f403ed1344a" providerId="ADAL" clId="{97AE8C35-2375-40D4-8F09-DBC209B3CDBF}" dt="2021-03-07T09:50:17.061" v="7689" actId="164"/>
          <ac:spMkLst>
            <pc:docMk/>
            <pc:sldMk cId="1457980768" sldId="496"/>
            <ac:spMk id="72" creationId="{313EFF4B-79DB-4ED4-B354-9D058A917B99}"/>
          </ac:spMkLst>
        </pc:spChg>
        <pc:spChg chg="add mod">
          <ac:chgData name="MOUAMMAR Matthieu" userId="a28de245-dc05-4206-b24f-6f403ed1344a" providerId="ADAL" clId="{97AE8C35-2375-40D4-8F09-DBC209B3CDBF}" dt="2021-03-07T09:50:17.061" v="7689" actId="164"/>
          <ac:spMkLst>
            <pc:docMk/>
            <pc:sldMk cId="1457980768" sldId="496"/>
            <ac:spMk id="73" creationId="{C8383800-C85D-4CD7-8765-92A4D9E87BEB}"/>
          </ac:spMkLst>
        </pc:spChg>
        <pc:spChg chg="add mod">
          <ac:chgData name="MOUAMMAR Matthieu" userId="a28de245-dc05-4206-b24f-6f403ed1344a" providerId="ADAL" clId="{97AE8C35-2375-40D4-8F09-DBC209B3CDBF}" dt="2021-03-07T09:50:17.061" v="7689" actId="164"/>
          <ac:spMkLst>
            <pc:docMk/>
            <pc:sldMk cId="1457980768" sldId="496"/>
            <ac:spMk id="74" creationId="{A83799ED-C79C-45F2-BC0D-16D3C1F8F1AC}"/>
          </ac:spMkLst>
        </pc:spChg>
        <pc:spChg chg="add mod">
          <ac:chgData name="MOUAMMAR Matthieu" userId="a28de245-dc05-4206-b24f-6f403ed1344a" providerId="ADAL" clId="{97AE8C35-2375-40D4-8F09-DBC209B3CDBF}" dt="2021-03-07T09:50:17.061" v="7689" actId="164"/>
          <ac:spMkLst>
            <pc:docMk/>
            <pc:sldMk cId="1457980768" sldId="496"/>
            <ac:spMk id="75" creationId="{E5774388-DDF5-4384-88D7-B930C0F2EA3D}"/>
          </ac:spMkLst>
        </pc:spChg>
        <pc:spChg chg="add mod">
          <ac:chgData name="MOUAMMAR Matthieu" userId="a28de245-dc05-4206-b24f-6f403ed1344a" providerId="ADAL" clId="{97AE8C35-2375-40D4-8F09-DBC209B3CDBF}" dt="2021-03-07T09:50:17.061" v="7689" actId="164"/>
          <ac:spMkLst>
            <pc:docMk/>
            <pc:sldMk cId="1457980768" sldId="496"/>
            <ac:spMk id="76" creationId="{7CF1FB20-7EB4-41E2-8939-75D52EED5283}"/>
          </ac:spMkLst>
        </pc:spChg>
        <pc:spChg chg="add mod">
          <ac:chgData name="MOUAMMAR Matthieu" userId="a28de245-dc05-4206-b24f-6f403ed1344a" providerId="ADAL" clId="{97AE8C35-2375-40D4-8F09-DBC209B3CDBF}" dt="2021-03-07T09:50:17.061" v="7689" actId="164"/>
          <ac:spMkLst>
            <pc:docMk/>
            <pc:sldMk cId="1457980768" sldId="496"/>
            <ac:spMk id="77" creationId="{B45E71CF-0F58-4574-B50B-277F6ABD3679}"/>
          </ac:spMkLst>
        </pc:spChg>
        <pc:spChg chg="add mod">
          <ac:chgData name="MOUAMMAR Matthieu" userId="a28de245-dc05-4206-b24f-6f403ed1344a" providerId="ADAL" clId="{97AE8C35-2375-40D4-8F09-DBC209B3CDBF}" dt="2021-03-07T09:50:17.061" v="7689" actId="164"/>
          <ac:spMkLst>
            <pc:docMk/>
            <pc:sldMk cId="1457980768" sldId="496"/>
            <ac:spMk id="78" creationId="{48BB1543-CCF4-4B77-ADD0-8BF86AA3CA7F}"/>
          </ac:spMkLst>
        </pc:spChg>
        <pc:spChg chg="add mod">
          <ac:chgData name="MOUAMMAR Matthieu" userId="a28de245-dc05-4206-b24f-6f403ed1344a" providerId="ADAL" clId="{97AE8C35-2375-40D4-8F09-DBC209B3CDBF}" dt="2021-03-07T09:50:17.061" v="7689" actId="164"/>
          <ac:spMkLst>
            <pc:docMk/>
            <pc:sldMk cId="1457980768" sldId="496"/>
            <ac:spMk id="79" creationId="{E6CA48AF-4106-45D0-8E10-1B3E3CDCB88F}"/>
          </ac:spMkLst>
        </pc:spChg>
        <pc:spChg chg="add mod">
          <ac:chgData name="MOUAMMAR Matthieu" userId="a28de245-dc05-4206-b24f-6f403ed1344a" providerId="ADAL" clId="{97AE8C35-2375-40D4-8F09-DBC209B3CDBF}" dt="2021-03-07T09:50:17.061" v="7689" actId="164"/>
          <ac:spMkLst>
            <pc:docMk/>
            <pc:sldMk cId="1457980768" sldId="496"/>
            <ac:spMk id="93" creationId="{34FE4315-B99B-4D2B-8610-C9B8D3CA7B48}"/>
          </ac:spMkLst>
        </pc:spChg>
        <pc:spChg chg="add mod">
          <ac:chgData name="MOUAMMAR Matthieu" userId="a28de245-dc05-4206-b24f-6f403ed1344a" providerId="ADAL" clId="{97AE8C35-2375-40D4-8F09-DBC209B3CDBF}" dt="2021-03-07T09:50:17.061" v="7689" actId="164"/>
          <ac:spMkLst>
            <pc:docMk/>
            <pc:sldMk cId="1457980768" sldId="496"/>
            <ac:spMk id="95" creationId="{DBB44814-5D03-4D8B-AEA7-1B2D5AEC8A71}"/>
          </ac:spMkLst>
        </pc:spChg>
        <pc:spChg chg="add mod">
          <ac:chgData name="MOUAMMAR Matthieu" userId="a28de245-dc05-4206-b24f-6f403ed1344a" providerId="ADAL" clId="{97AE8C35-2375-40D4-8F09-DBC209B3CDBF}" dt="2021-03-07T09:50:17.061" v="7689" actId="164"/>
          <ac:spMkLst>
            <pc:docMk/>
            <pc:sldMk cId="1457980768" sldId="496"/>
            <ac:spMk id="96" creationId="{20AE29D2-9F6B-4E5D-BEE0-6AEA8A863F6B}"/>
          </ac:spMkLst>
        </pc:spChg>
        <pc:spChg chg="add mod">
          <ac:chgData name="MOUAMMAR Matthieu" userId="a28de245-dc05-4206-b24f-6f403ed1344a" providerId="ADAL" clId="{97AE8C35-2375-40D4-8F09-DBC209B3CDBF}" dt="2021-03-07T09:50:17.061" v="7689" actId="164"/>
          <ac:spMkLst>
            <pc:docMk/>
            <pc:sldMk cId="1457980768" sldId="496"/>
            <ac:spMk id="97" creationId="{E5F78406-D212-4C38-B3B0-1A8C10A68FFE}"/>
          </ac:spMkLst>
        </pc:spChg>
        <pc:spChg chg="add mod">
          <ac:chgData name="MOUAMMAR Matthieu" userId="a28de245-dc05-4206-b24f-6f403ed1344a" providerId="ADAL" clId="{97AE8C35-2375-40D4-8F09-DBC209B3CDBF}" dt="2021-03-07T09:50:17.061" v="7689" actId="164"/>
          <ac:spMkLst>
            <pc:docMk/>
            <pc:sldMk cId="1457980768" sldId="496"/>
            <ac:spMk id="99" creationId="{5F82530E-925F-4EA1-B53D-2BF8EF54FD4A}"/>
          </ac:spMkLst>
        </pc:spChg>
        <pc:spChg chg="add mod">
          <ac:chgData name="MOUAMMAR Matthieu" userId="a28de245-dc05-4206-b24f-6f403ed1344a" providerId="ADAL" clId="{97AE8C35-2375-40D4-8F09-DBC209B3CDBF}" dt="2021-03-07T09:50:17.061" v="7689" actId="164"/>
          <ac:spMkLst>
            <pc:docMk/>
            <pc:sldMk cId="1457980768" sldId="496"/>
            <ac:spMk id="101" creationId="{F7BE25B8-3F27-4DB5-927C-2EE6B6E2A11F}"/>
          </ac:spMkLst>
        </pc:spChg>
        <pc:spChg chg="add mod">
          <ac:chgData name="MOUAMMAR Matthieu" userId="a28de245-dc05-4206-b24f-6f403ed1344a" providerId="ADAL" clId="{97AE8C35-2375-40D4-8F09-DBC209B3CDBF}" dt="2021-03-07T09:50:17.061" v="7689" actId="164"/>
          <ac:spMkLst>
            <pc:docMk/>
            <pc:sldMk cId="1457980768" sldId="496"/>
            <ac:spMk id="104" creationId="{D9BE5EA9-6178-4476-BA98-FBC119A1DE82}"/>
          </ac:spMkLst>
        </pc:spChg>
        <pc:spChg chg="add del mod">
          <ac:chgData name="MOUAMMAR Matthieu" userId="a28de245-dc05-4206-b24f-6f403ed1344a" providerId="ADAL" clId="{97AE8C35-2375-40D4-8F09-DBC209B3CDBF}" dt="2021-03-06T15:57:32.964" v="5555" actId="478"/>
          <ac:spMkLst>
            <pc:docMk/>
            <pc:sldMk cId="1457980768" sldId="496"/>
            <ac:spMk id="106" creationId="{5EE7BDC8-6007-438C-84D8-F0F19E6FF435}"/>
          </ac:spMkLst>
        </pc:spChg>
        <pc:spChg chg="add del mod">
          <ac:chgData name="MOUAMMAR Matthieu" userId="a28de245-dc05-4206-b24f-6f403ed1344a" providerId="ADAL" clId="{97AE8C35-2375-40D4-8F09-DBC209B3CDBF}" dt="2021-03-06T15:57:34.407" v="5556" actId="478"/>
          <ac:spMkLst>
            <pc:docMk/>
            <pc:sldMk cId="1457980768" sldId="496"/>
            <ac:spMk id="107" creationId="{3998FA2A-00AF-470E-BED8-40D89D6864B7}"/>
          </ac:spMkLst>
        </pc:spChg>
        <pc:grpChg chg="add mod">
          <ac:chgData name="MOUAMMAR Matthieu" userId="a28de245-dc05-4206-b24f-6f403ed1344a" providerId="ADAL" clId="{97AE8C35-2375-40D4-8F09-DBC209B3CDBF}" dt="2021-03-07T09:50:34.308" v="7694" actId="14100"/>
          <ac:grpSpMkLst>
            <pc:docMk/>
            <pc:sldMk cId="1457980768" sldId="496"/>
            <ac:grpSpMk id="2" creationId="{E80AA9FC-285D-454B-BD09-AC2D0B1A2797}"/>
          </ac:grpSpMkLst>
        </pc:grpChg>
        <pc:picChg chg="del">
          <ac:chgData name="MOUAMMAR Matthieu" userId="a28de245-dc05-4206-b24f-6f403ed1344a" providerId="ADAL" clId="{97AE8C35-2375-40D4-8F09-DBC209B3CDBF}" dt="2021-03-06T15:57:25.242" v="5553" actId="478"/>
          <ac:picMkLst>
            <pc:docMk/>
            <pc:sldMk cId="1457980768" sldId="496"/>
            <ac:picMk id="10" creationId="{7F8A32ED-6A12-429F-98E7-80CF3D0FD520}"/>
          </ac:picMkLst>
        </pc:picChg>
        <pc:picChg chg="del">
          <ac:chgData name="MOUAMMAR Matthieu" userId="a28de245-dc05-4206-b24f-6f403ed1344a" providerId="ADAL" clId="{97AE8C35-2375-40D4-8F09-DBC209B3CDBF}" dt="2021-03-06T15:57:24.942" v="5552" actId="478"/>
          <ac:picMkLst>
            <pc:docMk/>
            <pc:sldMk cId="1457980768" sldId="496"/>
            <ac:picMk id="11" creationId="{F283F2B5-A147-4A70-887C-85FC8710CB93}"/>
          </ac:picMkLst>
        </pc:picChg>
        <pc:picChg chg="add mod">
          <ac:chgData name="MOUAMMAR Matthieu" userId="a28de245-dc05-4206-b24f-6f403ed1344a" providerId="ADAL" clId="{97AE8C35-2375-40D4-8F09-DBC209B3CDBF}" dt="2021-03-07T09:50:17.061" v="7689" actId="164"/>
          <ac:picMkLst>
            <pc:docMk/>
            <pc:sldMk cId="1457980768" sldId="496"/>
            <ac:picMk id="12" creationId="{9447789E-2A3F-4839-A68E-F34A24290D03}"/>
          </ac:picMkLst>
        </pc:picChg>
        <pc:cxnChg chg="add mod">
          <ac:chgData name="MOUAMMAR Matthieu" userId="a28de245-dc05-4206-b24f-6f403ed1344a" providerId="ADAL" clId="{97AE8C35-2375-40D4-8F09-DBC209B3CDBF}" dt="2021-03-07T09:50:17.061" v="7689" actId="164"/>
          <ac:cxnSpMkLst>
            <pc:docMk/>
            <pc:sldMk cId="1457980768" sldId="496"/>
            <ac:cxnSpMk id="9" creationId="{07369A7F-4911-4576-9665-01939879DC38}"/>
          </ac:cxnSpMkLst>
        </pc:cxnChg>
        <pc:cxnChg chg="add mod">
          <ac:chgData name="MOUAMMAR Matthieu" userId="a28de245-dc05-4206-b24f-6f403ed1344a" providerId="ADAL" clId="{97AE8C35-2375-40D4-8F09-DBC209B3CDBF}" dt="2021-03-07T09:50:17.061" v="7689" actId="164"/>
          <ac:cxnSpMkLst>
            <pc:docMk/>
            <pc:sldMk cId="1457980768" sldId="496"/>
            <ac:cxnSpMk id="14" creationId="{D04A8A3B-E607-41D5-B39A-F2E19C8D8140}"/>
          </ac:cxnSpMkLst>
        </pc:cxnChg>
        <pc:cxnChg chg="add mod">
          <ac:chgData name="MOUAMMAR Matthieu" userId="a28de245-dc05-4206-b24f-6f403ed1344a" providerId="ADAL" clId="{97AE8C35-2375-40D4-8F09-DBC209B3CDBF}" dt="2021-03-07T09:50:17.061" v="7689" actId="164"/>
          <ac:cxnSpMkLst>
            <pc:docMk/>
            <pc:sldMk cId="1457980768" sldId="496"/>
            <ac:cxnSpMk id="16" creationId="{7DC6677E-5C1D-40B8-9B99-BDE3750AD5D2}"/>
          </ac:cxnSpMkLst>
        </pc:cxnChg>
        <pc:cxnChg chg="add mod">
          <ac:chgData name="MOUAMMAR Matthieu" userId="a28de245-dc05-4206-b24f-6f403ed1344a" providerId="ADAL" clId="{97AE8C35-2375-40D4-8F09-DBC209B3CDBF}" dt="2021-03-07T09:50:17.061" v="7689" actId="164"/>
          <ac:cxnSpMkLst>
            <pc:docMk/>
            <pc:sldMk cId="1457980768" sldId="496"/>
            <ac:cxnSpMk id="17" creationId="{E7DBA2FC-F736-45D9-821B-CE288C13A419}"/>
          </ac:cxnSpMkLst>
        </pc:cxnChg>
        <pc:cxnChg chg="add mod">
          <ac:chgData name="MOUAMMAR Matthieu" userId="a28de245-dc05-4206-b24f-6f403ed1344a" providerId="ADAL" clId="{97AE8C35-2375-40D4-8F09-DBC209B3CDBF}" dt="2021-03-07T09:50:17.061" v="7689" actId="164"/>
          <ac:cxnSpMkLst>
            <pc:docMk/>
            <pc:sldMk cId="1457980768" sldId="496"/>
            <ac:cxnSpMk id="18" creationId="{19470DC4-4BE7-42CE-9D43-BD9DD1F19F3A}"/>
          </ac:cxnSpMkLst>
        </pc:cxnChg>
        <pc:cxnChg chg="add mod">
          <ac:chgData name="MOUAMMAR Matthieu" userId="a28de245-dc05-4206-b24f-6f403ed1344a" providerId="ADAL" clId="{97AE8C35-2375-40D4-8F09-DBC209B3CDBF}" dt="2021-03-07T09:50:17.061" v="7689" actId="164"/>
          <ac:cxnSpMkLst>
            <pc:docMk/>
            <pc:sldMk cId="1457980768" sldId="496"/>
            <ac:cxnSpMk id="19" creationId="{04E4ED3D-29CE-48E1-BC81-4AB6E23D45AB}"/>
          </ac:cxnSpMkLst>
        </pc:cxnChg>
        <pc:cxnChg chg="add mod">
          <ac:chgData name="MOUAMMAR Matthieu" userId="a28de245-dc05-4206-b24f-6f403ed1344a" providerId="ADAL" clId="{97AE8C35-2375-40D4-8F09-DBC209B3CDBF}" dt="2021-03-07T09:50:17.061" v="7689" actId="164"/>
          <ac:cxnSpMkLst>
            <pc:docMk/>
            <pc:sldMk cId="1457980768" sldId="496"/>
            <ac:cxnSpMk id="20" creationId="{F2AE9724-4DAA-4F5D-8DFE-8585589F9922}"/>
          </ac:cxnSpMkLst>
        </pc:cxnChg>
        <pc:cxnChg chg="add mod">
          <ac:chgData name="MOUAMMAR Matthieu" userId="a28de245-dc05-4206-b24f-6f403ed1344a" providerId="ADAL" clId="{97AE8C35-2375-40D4-8F09-DBC209B3CDBF}" dt="2021-03-07T09:50:17.061" v="7689" actId="164"/>
          <ac:cxnSpMkLst>
            <pc:docMk/>
            <pc:sldMk cId="1457980768" sldId="496"/>
            <ac:cxnSpMk id="21" creationId="{266C25A5-B950-458B-97DB-88A55A1281C6}"/>
          </ac:cxnSpMkLst>
        </pc:cxnChg>
        <pc:cxnChg chg="add mod">
          <ac:chgData name="MOUAMMAR Matthieu" userId="a28de245-dc05-4206-b24f-6f403ed1344a" providerId="ADAL" clId="{97AE8C35-2375-40D4-8F09-DBC209B3CDBF}" dt="2021-03-07T09:50:17.061" v="7689" actId="164"/>
          <ac:cxnSpMkLst>
            <pc:docMk/>
            <pc:sldMk cId="1457980768" sldId="496"/>
            <ac:cxnSpMk id="22" creationId="{2D9B3E45-E3B4-4295-BE8A-8CC0AA581C7F}"/>
          </ac:cxnSpMkLst>
        </pc:cxnChg>
        <pc:cxnChg chg="add mod">
          <ac:chgData name="MOUAMMAR Matthieu" userId="a28de245-dc05-4206-b24f-6f403ed1344a" providerId="ADAL" clId="{97AE8C35-2375-40D4-8F09-DBC209B3CDBF}" dt="2021-03-07T09:50:17.061" v="7689" actId="164"/>
          <ac:cxnSpMkLst>
            <pc:docMk/>
            <pc:sldMk cId="1457980768" sldId="496"/>
            <ac:cxnSpMk id="23" creationId="{86C0844D-7B46-4122-A1E6-CCD8BB233D7F}"/>
          </ac:cxnSpMkLst>
        </pc:cxnChg>
        <pc:cxnChg chg="add mod">
          <ac:chgData name="MOUAMMAR Matthieu" userId="a28de245-dc05-4206-b24f-6f403ed1344a" providerId="ADAL" clId="{97AE8C35-2375-40D4-8F09-DBC209B3CDBF}" dt="2021-03-07T09:50:17.061" v="7689" actId="164"/>
          <ac:cxnSpMkLst>
            <pc:docMk/>
            <pc:sldMk cId="1457980768" sldId="496"/>
            <ac:cxnSpMk id="24" creationId="{269C59D6-9DC2-4A4A-B28A-582B17B1CD37}"/>
          </ac:cxnSpMkLst>
        </pc:cxnChg>
        <pc:cxnChg chg="add mod">
          <ac:chgData name="MOUAMMAR Matthieu" userId="a28de245-dc05-4206-b24f-6f403ed1344a" providerId="ADAL" clId="{97AE8C35-2375-40D4-8F09-DBC209B3CDBF}" dt="2021-03-07T09:50:17.061" v="7689" actId="164"/>
          <ac:cxnSpMkLst>
            <pc:docMk/>
            <pc:sldMk cId="1457980768" sldId="496"/>
            <ac:cxnSpMk id="37" creationId="{6C4D14DC-FA10-49EC-B086-0E3093C38B74}"/>
          </ac:cxnSpMkLst>
        </pc:cxnChg>
        <pc:cxnChg chg="add mod">
          <ac:chgData name="MOUAMMAR Matthieu" userId="a28de245-dc05-4206-b24f-6f403ed1344a" providerId="ADAL" clId="{97AE8C35-2375-40D4-8F09-DBC209B3CDBF}" dt="2021-03-07T09:50:17.061" v="7689" actId="164"/>
          <ac:cxnSpMkLst>
            <pc:docMk/>
            <pc:sldMk cId="1457980768" sldId="496"/>
            <ac:cxnSpMk id="39" creationId="{D14BC6F2-1737-4644-9CDB-1E28FAE844FC}"/>
          </ac:cxnSpMkLst>
        </pc:cxnChg>
        <pc:cxnChg chg="add mod">
          <ac:chgData name="MOUAMMAR Matthieu" userId="a28de245-dc05-4206-b24f-6f403ed1344a" providerId="ADAL" clId="{97AE8C35-2375-40D4-8F09-DBC209B3CDBF}" dt="2021-03-07T09:50:17.061" v="7689" actId="164"/>
          <ac:cxnSpMkLst>
            <pc:docMk/>
            <pc:sldMk cId="1457980768" sldId="496"/>
            <ac:cxnSpMk id="41" creationId="{D52C4D02-4E6A-45DF-AAE9-64E91A9535EC}"/>
          </ac:cxnSpMkLst>
        </pc:cxnChg>
        <pc:cxnChg chg="add mod">
          <ac:chgData name="MOUAMMAR Matthieu" userId="a28de245-dc05-4206-b24f-6f403ed1344a" providerId="ADAL" clId="{97AE8C35-2375-40D4-8F09-DBC209B3CDBF}" dt="2021-03-07T09:50:17.061" v="7689" actId="164"/>
          <ac:cxnSpMkLst>
            <pc:docMk/>
            <pc:sldMk cId="1457980768" sldId="496"/>
            <ac:cxnSpMk id="44" creationId="{AE2E1E4A-DF4F-4B76-BFE8-A3D32A25A98F}"/>
          </ac:cxnSpMkLst>
        </pc:cxnChg>
        <pc:cxnChg chg="add mod">
          <ac:chgData name="MOUAMMAR Matthieu" userId="a28de245-dc05-4206-b24f-6f403ed1344a" providerId="ADAL" clId="{97AE8C35-2375-40D4-8F09-DBC209B3CDBF}" dt="2021-03-07T09:50:17.061" v="7689" actId="164"/>
          <ac:cxnSpMkLst>
            <pc:docMk/>
            <pc:sldMk cId="1457980768" sldId="496"/>
            <ac:cxnSpMk id="45" creationId="{8D9969B1-C5AA-4078-9AD8-24C6CBEC2D68}"/>
          </ac:cxnSpMkLst>
        </pc:cxnChg>
        <pc:cxnChg chg="add mod">
          <ac:chgData name="MOUAMMAR Matthieu" userId="a28de245-dc05-4206-b24f-6f403ed1344a" providerId="ADAL" clId="{97AE8C35-2375-40D4-8F09-DBC209B3CDBF}" dt="2021-03-07T09:50:17.061" v="7689" actId="164"/>
          <ac:cxnSpMkLst>
            <pc:docMk/>
            <pc:sldMk cId="1457980768" sldId="496"/>
            <ac:cxnSpMk id="51" creationId="{9CFCDB4F-BCB7-46F3-8581-831A2F49B510}"/>
          </ac:cxnSpMkLst>
        </pc:cxnChg>
        <pc:cxnChg chg="add mod">
          <ac:chgData name="MOUAMMAR Matthieu" userId="a28de245-dc05-4206-b24f-6f403ed1344a" providerId="ADAL" clId="{97AE8C35-2375-40D4-8F09-DBC209B3CDBF}" dt="2021-03-07T09:50:17.061" v="7689" actId="164"/>
          <ac:cxnSpMkLst>
            <pc:docMk/>
            <pc:sldMk cId="1457980768" sldId="496"/>
            <ac:cxnSpMk id="80" creationId="{66EC4603-B5E9-4B2C-8B72-CECD42470F54}"/>
          </ac:cxnSpMkLst>
        </pc:cxnChg>
        <pc:cxnChg chg="add mod">
          <ac:chgData name="MOUAMMAR Matthieu" userId="a28de245-dc05-4206-b24f-6f403ed1344a" providerId="ADAL" clId="{97AE8C35-2375-40D4-8F09-DBC209B3CDBF}" dt="2021-03-07T09:50:17.061" v="7689" actId="164"/>
          <ac:cxnSpMkLst>
            <pc:docMk/>
            <pc:sldMk cId="1457980768" sldId="496"/>
            <ac:cxnSpMk id="81" creationId="{22BE4CAA-1D09-42F2-A3C3-A3A5D6441A63}"/>
          </ac:cxnSpMkLst>
        </pc:cxnChg>
        <pc:cxnChg chg="add mod">
          <ac:chgData name="MOUAMMAR Matthieu" userId="a28de245-dc05-4206-b24f-6f403ed1344a" providerId="ADAL" clId="{97AE8C35-2375-40D4-8F09-DBC209B3CDBF}" dt="2021-03-07T09:50:17.061" v="7689" actId="164"/>
          <ac:cxnSpMkLst>
            <pc:docMk/>
            <pc:sldMk cId="1457980768" sldId="496"/>
            <ac:cxnSpMk id="82" creationId="{F5CB23BF-9DBD-410A-B3DB-0F272C9B411E}"/>
          </ac:cxnSpMkLst>
        </pc:cxnChg>
        <pc:cxnChg chg="add mod">
          <ac:chgData name="MOUAMMAR Matthieu" userId="a28de245-dc05-4206-b24f-6f403ed1344a" providerId="ADAL" clId="{97AE8C35-2375-40D4-8F09-DBC209B3CDBF}" dt="2021-03-07T09:50:17.061" v="7689" actId="164"/>
          <ac:cxnSpMkLst>
            <pc:docMk/>
            <pc:sldMk cId="1457980768" sldId="496"/>
            <ac:cxnSpMk id="83" creationId="{1EFFD5D5-9C96-4B00-821A-15840FD097C8}"/>
          </ac:cxnSpMkLst>
        </pc:cxnChg>
        <pc:cxnChg chg="add mod">
          <ac:chgData name="MOUAMMAR Matthieu" userId="a28de245-dc05-4206-b24f-6f403ed1344a" providerId="ADAL" clId="{97AE8C35-2375-40D4-8F09-DBC209B3CDBF}" dt="2021-03-07T09:50:17.061" v="7689" actId="164"/>
          <ac:cxnSpMkLst>
            <pc:docMk/>
            <pc:sldMk cId="1457980768" sldId="496"/>
            <ac:cxnSpMk id="84" creationId="{A354A664-5DD2-4A43-97B0-13FB32022E43}"/>
          </ac:cxnSpMkLst>
        </pc:cxnChg>
        <pc:cxnChg chg="add mod">
          <ac:chgData name="MOUAMMAR Matthieu" userId="a28de245-dc05-4206-b24f-6f403ed1344a" providerId="ADAL" clId="{97AE8C35-2375-40D4-8F09-DBC209B3CDBF}" dt="2021-03-07T09:50:17.061" v="7689" actId="164"/>
          <ac:cxnSpMkLst>
            <pc:docMk/>
            <pc:sldMk cId="1457980768" sldId="496"/>
            <ac:cxnSpMk id="85" creationId="{5E27501C-AD02-4FA7-9498-BF6083402D3F}"/>
          </ac:cxnSpMkLst>
        </pc:cxnChg>
        <pc:cxnChg chg="add mod">
          <ac:chgData name="MOUAMMAR Matthieu" userId="a28de245-dc05-4206-b24f-6f403ed1344a" providerId="ADAL" clId="{97AE8C35-2375-40D4-8F09-DBC209B3CDBF}" dt="2021-03-07T09:50:17.061" v="7689" actId="164"/>
          <ac:cxnSpMkLst>
            <pc:docMk/>
            <pc:sldMk cId="1457980768" sldId="496"/>
            <ac:cxnSpMk id="86" creationId="{A955DA2B-F077-4E4A-8A4A-3726D5D1B914}"/>
          </ac:cxnSpMkLst>
        </pc:cxnChg>
        <pc:cxnChg chg="add mod">
          <ac:chgData name="MOUAMMAR Matthieu" userId="a28de245-dc05-4206-b24f-6f403ed1344a" providerId="ADAL" clId="{97AE8C35-2375-40D4-8F09-DBC209B3CDBF}" dt="2021-03-07T09:50:17.061" v="7689" actId="164"/>
          <ac:cxnSpMkLst>
            <pc:docMk/>
            <pc:sldMk cId="1457980768" sldId="496"/>
            <ac:cxnSpMk id="87" creationId="{4AB4DDA6-8CF5-466F-B720-438A0A5C84E5}"/>
          </ac:cxnSpMkLst>
        </pc:cxnChg>
        <pc:cxnChg chg="add mod">
          <ac:chgData name="MOUAMMAR Matthieu" userId="a28de245-dc05-4206-b24f-6f403ed1344a" providerId="ADAL" clId="{97AE8C35-2375-40D4-8F09-DBC209B3CDBF}" dt="2021-03-07T09:50:17.061" v="7689" actId="164"/>
          <ac:cxnSpMkLst>
            <pc:docMk/>
            <pc:sldMk cId="1457980768" sldId="496"/>
            <ac:cxnSpMk id="88" creationId="{8FAA64AC-4CB1-42C4-946F-1363F6FCEF19}"/>
          </ac:cxnSpMkLst>
        </pc:cxnChg>
        <pc:cxnChg chg="add mod">
          <ac:chgData name="MOUAMMAR Matthieu" userId="a28de245-dc05-4206-b24f-6f403ed1344a" providerId="ADAL" clId="{97AE8C35-2375-40D4-8F09-DBC209B3CDBF}" dt="2021-03-07T09:50:17.061" v="7689" actId="164"/>
          <ac:cxnSpMkLst>
            <pc:docMk/>
            <pc:sldMk cId="1457980768" sldId="496"/>
            <ac:cxnSpMk id="89" creationId="{1D8CD8A0-47F5-452A-B3EA-F1BADC89824B}"/>
          </ac:cxnSpMkLst>
        </pc:cxnChg>
        <pc:cxnChg chg="add mod">
          <ac:chgData name="MOUAMMAR Matthieu" userId="a28de245-dc05-4206-b24f-6f403ed1344a" providerId="ADAL" clId="{97AE8C35-2375-40D4-8F09-DBC209B3CDBF}" dt="2021-03-07T09:50:17.061" v="7689" actId="164"/>
          <ac:cxnSpMkLst>
            <pc:docMk/>
            <pc:sldMk cId="1457980768" sldId="496"/>
            <ac:cxnSpMk id="90" creationId="{17042BF6-43BD-4483-9E73-C8BDAC71E06D}"/>
          </ac:cxnSpMkLst>
        </pc:cxnChg>
        <pc:cxnChg chg="add mod">
          <ac:chgData name="MOUAMMAR Matthieu" userId="a28de245-dc05-4206-b24f-6f403ed1344a" providerId="ADAL" clId="{97AE8C35-2375-40D4-8F09-DBC209B3CDBF}" dt="2021-03-07T09:50:17.061" v="7689" actId="164"/>
          <ac:cxnSpMkLst>
            <pc:docMk/>
            <pc:sldMk cId="1457980768" sldId="496"/>
            <ac:cxnSpMk id="91" creationId="{27E89C2F-169A-48AF-B715-5D043E5A0529}"/>
          </ac:cxnSpMkLst>
        </pc:cxnChg>
        <pc:cxnChg chg="add mod">
          <ac:chgData name="MOUAMMAR Matthieu" userId="a28de245-dc05-4206-b24f-6f403ed1344a" providerId="ADAL" clId="{97AE8C35-2375-40D4-8F09-DBC209B3CDBF}" dt="2021-03-07T09:50:17.061" v="7689" actId="164"/>
          <ac:cxnSpMkLst>
            <pc:docMk/>
            <pc:sldMk cId="1457980768" sldId="496"/>
            <ac:cxnSpMk id="92" creationId="{A2259F7F-D8B0-454E-8E72-48BCE67094E8}"/>
          </ac:cxnSpMkLst>
        </pc:cxnChg>
        <pc:cxnChg chg="add mod">
          <ac:chgData name="MOUAMMAR Matthieu" userId="a28de245-dc05-4206-b24f-6f403ed1344a" providerId="ADAL" clId="{97AE8C35-2375-40D4-8F09-DBC209B3CDBF}" dt="2021-03-07T09:50:17.061" v="7689" actId="164"/>
          <ac:cxnSpMkLst>
            <pc:docMk/>
            <pc:sldMk cId="1457980768" sldId="496"/>
            <ac:cxnSpMk id="94" creationId="{374D13CA-E9EE-49FF-96A9-BEC1B2CAE5C3}"/>
          </ac:cxnSpMkLst>
        </pc:cxnChg>
        <pc:cxnChg chg="add mod">
          <ac:chgData name="MOUAMMAR Matthieu" userId="a28de245-dc05-4206-b24f-6f403ed1344a" providerId="ADAL" clId="{97AE8C35-2375-40D4-8F09-DBC209B3CDBF}" dt="2021-03-07T09:50:17.061" v="7689" actId="164"/>
          <ac:cxnSpMkLst>
            <pc:docMk/>
            <pc:sldMk cId="1457980768" sldId="496"/>
            <ac:cxnSpMk id="98" creationId="{C4846264-5DAF-4786-AE49-89798447CE2F}"/>
          </ac:cxnSpMkLst>
        </pc:cxnChg>
        <pc:cxnChg chg="add mod">
          <ac:chgData name="MOUAMMAR Matthieu" userId="a28de245-dc05-4206-b24f-6f403ed1344a" providerId="ADAL" clId="{97AE8C35-2375-40D4-8F09-DBC209B3CDBF}" dt="2021-03-07T09:50:17.061" v="7689" actId="164"/>
          <ac:cxnSpMkLst>
            <pc:docMk/>
            <pc:sldMk cId="1457980768" sldId="496"/>
            <ac:cxnSpMk id="100" creationId="{6EB53092-F3CA-414A-A0C5-55CF7B6CD92E}"/>
          </ac:cxnSpMkLst>
        </pc:cxnChg>
        <pc:cxnChg chg="add mod">
          <ac:chgData name="MOUAMMAR Matthieu" userId="a28de245-dc05-4206-b24f-6f403ed1344a" providerId="ADAL" clId="{97AE8C35-2375-40D4-8F09-DBC209B3CDBF}" dt="2021-03-07T09:50:17.061" v="7689" actId="164"/>
          <ac:cxnSpMkLst>
            <pc:docMk/>
            <pc:sldMk cId="1457980768" sldId="496"/>
            <ac:cxnSpMk id="102" creationId="{4A70BD01-F6FD-4ECE-80C1-A3F79CB4BA27}"/>
          </ac:cxnSpMkLst>
        </pc:cxnChg>
        <pc:cxnChg chg="add mod">
          <ac:chgData name="MOUAMMAR Matthieu" userId="a28de245-dc05-4206-b24f-6f403ed1344a" providerId="ADAL" clId="{97AE8C35-2375-40D4-8F09-DBC209B3CDBF}" dt="2021-03-07T09:50:17.061" v="7689" actId="164"/>
          <ac:cxnSpMkLst>
            <pc:docMk/>
            <pc:sldMk cId="1457980768" sldId="496"/>
            <ac:cxnSpMk id="103" creationId="{AC6E978B-B3E8-4FB9-8BFA-EA3E672041DE}"/>
          </ac:cxnSpMkLst>
        </pc:cxnChg>
        <pc:cxnChg chg="add mod">
          <ac:chgData name="MOUAMMAR Matthieu" userId="a28de245-dc05-4206-b24f-6f403ed1344a" providerId="ADAL" clId="{97AE8C35-2375-40D4-8F09-DBC209B3CDBF}" dt="2021-03-07T09:50:17.061" v="7689" actId="164"/>
          <ac:cxnSpMkLst>
            <pc:docMk/>
            <pc:sldMk cId="1457980768" sldId="496"/>
            <ac:cxnSpMk id="105" creationId="{0E77E8EC-DB41-4425-9A92-B576FD5F5820}"/>
          </ac:cxnSpMkLst>
        </pc:cxnChg>
      </pc:sldChg>
      <pc:sldChg chg="addSp delSp modSp add mod">
        <pc:chgData name="MOUAMMAR Matthieu" userId="a28de245-dc05-4206-b24f-6f403ed1344a" providerId="ADAL" clId="{97AE8C35-2375-40D4-8F09-DBC209B3CDBF}" dt="2021-03-07T10:46:06.030" v="7707" actId="6549"/>
        <pc:sldMkLst>
          <pc:docMk/>
          <pc:sldMk cId="256845988" sldId="497"/>
        </pc:sldMkLst>
        <pc:spChg chg="mod">
          <ac:chgData name="MOUAMMAR Matthieu" userId="a28de245-dc05-4206-b24f-6f403ed1344a" providerId="ADAL" clId="{97AE8C35-2375-40D4-8F09-DBC209B3CDBF}" dt="2021-03-06T16:01:12.895" v="5590" actId="20577"/>
          <ac:spMkLst>
            <pc:docMk/>
            <pc:sldMk cId="256845988" sldId="497"/>
            <ac:spMk id="5" creationId="{00000000-0000-0000-0000-000000000000}"/>
          </ac:spMkLst>
        </pc:spChg>
        <pc:spChg chg="del">
          <ac:chgData name="MOUAMMAR Matthieu" userId="a28de245-dc05-4206-b24f-6f403ed1344a" providerId="ADAL" clId="{97AE8C35-2375-40D4-8F09-DBC209B3CDBF}" dt="2021-03-06T16:00:55.619" v="5570" actId="478"/>
          <ac:spMkLst>
            <pc:docMk/>
            <pc:sldMk cId="256845988" sldId="497"/>
            <ac:spMk id="13" creationId="{B19EA34F-1382-43F6-BBF1-9FC91F028E2D}"/>
          </ac:spMkLst>
        </pc:spChg>
        <pc:spChg chg="del">
          <ac:chgData name="MOUAMMAR Matthieu" userId="a28de245-dc05-4206-b24f-6f403ed1344a" providerId="ADAL" clId="{97AE8C35-2375-40D4-8F09-DBC209B3CDBF}" dt="2021-03-06T16:00:57.293" v="5571" actId="478"/>
          <ac:spMkLst>
            <pc:docMk/>
            <pc:sldMk cId="256845988" sldId="497"/>
            <ac:spMk id="25" creationId="{E01A84A6-AB44-41E1-8D1C-948C127E7CEE}"/>
          </ac:spMkLst>
        </pc:spChg>
        <pc:spChg chg="del">
          <ac:chgData name="MOUAMMAR Matthieu" userId="a28de245-dc05-4206-b24f-6f403ed1344a" providerId="ADAL" clId="{97AE8C35-2375-40D4-8F09-DBC209B3CDBF}" dt="2021-03-06T16:00:58.296" v="5572" actId="478"/>
          <ac:spMkLst>
            <pc:docMk/>
            <pc:sldMk cId="256845988" sldId="497"/>
            <ac:spMk id="26" creationId="{1097D2F1-DC2B-43C2-8D94-977E061C455A}"/>
          </ac:spMkLst>
        </pc:spChg>
        <pc:spChg chg="del">
          <ac:chgData name="MOUAMMAR Matthieu" userId="a28de245-dc05-4206-b24f-6f403ed1344a" providerId="ADAL" clId="{97AE8C35-2375-40D4-8F09-DBC209B3CDBF}" dt="2021-03-06T16:00:50.608" v="5565" actId="478"/>
          <ac:spMkLst>
            <pc:docMk/>
            <pc:sldMk cId="256845988" sldId="497"/>
            <ac:spMk id="27" creationId="{9F1EC74E-23F0-4A0B-B721-60C5D41C401E}"/>
          </ac:spMkLst>
        </pc:spChg>
        <pc:spChg chg="del">
          <ac:chgData name="MOUAMMAR Matthieu" userId="a28de245-dc05-4206-b24f-6f403ed1344a" providerId="ADAL" clId="{97AE8C35-2375-40D4-8F09-DBC209B3CDBF}" dt="2021-03-06T16:00:49.774" v="5564" actId="478"/>
          <ac:spMkLst>
            <pc:docMk/>
            <pc:sldMk cId="256845988" sldId="497"/>
            <ac:spMk id="28" creationId="{740FAEE9-8191-4ACB-A634-01D1B4DC4397}"/>
          </ac:spMkLst>
        </pc:spChg>
        <pc:spChg chg="del">
          <ac:chgData name="MOUAMMAR Matthieu" userId="a28de245-dc05-4206-b24f-6f403ed1344a" providerId="ADAL" clId="{97AE8C35-2375-40D4-8F09-DBC209B3CDBF}" dt="2021-03-06T16:01:02.765" v="5576" actId="478"/>
          <ac:spMkLst>
            <pc:docMk/>
            <pc:sldMk cId="256845988" sldId="497"/>
            <ac:spMk id="29" creationId="{4E684882-19C2-4714-810B-64A19FE21AF4}"/>
          </ac:spMkLst>
        </pc:spChg>
        <pc:spChg chg="del">
          <ac:chgData name="MOUAMMAR Matthieu" userId="a28de245-dc05-4206-b24f-6f403ed1344a" providerId="ADAL" clId="{97AE8C35-2375-40D4-8F09-DBC209B3CDBF}" dt="2021-03-06T16:00:41.613" v="5561" actId="478"/>
          <ac:spMkLst>
            <pc:docMk/>
            <pc:sldMk cId="256845988" sldId="497"/>
            <ac:spMk id="30" creationId="{900A8774-D333-4D03-A8D9-41E7199B01AC}"/>
          </ac:spMkLst>
        </pc:spChg>
        <pc:spChg chg="del">
          <ac:chgData name="MOUAMMAR Matthieu" userId="a28de245-dc05-4206-b24f-6f403ed1344a" providerId="ADAL" clId="{97AE8C35-2375-40D4-8F09-DBC209B3CDBF}" dt="2021-03-06T16:00:41.613" v="5561" actId="478"/>
          <ac:spMkLst>
            <pc:docMk/>
            <pc:sldMk cId="256845988" sldId="497"/>
            <ac:spMk id="31" creationId="{594292AA-02FF-4C77-B5D6-25ABA48D2256}"/>
          </ac:spMkLst>
        </pc:spChg>
        <pc:spChg chg="del">
          <ac:chgData name="MOUAMMAR Matthieu" userId="a28de245-dc05-4206-b24f-6f403ed1344a" providerId="ADAL" clId="{97AE8C35-2375-40D4-8F09-DBC209B3CDBF}" dt="2021-03-06T16:00:41.613" v="5561" actId="478"/>
          <ac:spMkLst>
            <pc:docMk/>
            <pc:sldMk cId="256845988" sldId="497"/>
            <ac:spMk id="32" creationId="{2CE68FC0-D652-44E1-94C1-8B03689FD061}"/>
          </ac:spMkLst>
        </pc:spChg>
        <pc:spChg chg="del">
          <ac:chgData name="MOUAMMAR Matthieu" userId="a28de245-dc05-4206-b24f-6f403ed1344a" providerId="ADAL" clId="{97AE8C35-2375-40D4-8F09-DBC209B3CDBF}" dt="2021-03-06T16:00:41.613" v="5561" actId="478"/>
          <ac:spMkLst>
            <pc:docMk/>
            <pc:sldMk cId="256845988" sldId="497"/>
            <ac:spMk id="33" creationId="{92840DEA-B9A4-4902-9C14-9081E33093A4}"/>
          </ac:spMkLst>
        </pc:spChg>
        <pc:spChg chg="del">
          <ac:chgData name="MOUAMMAR Matthieu" userId="a28de245-dc05-4206-b24f-6f403ed1344a" providerId="ADAL" clId="{97AE8C35-2375-40D4-8F09-DBC209B3CDBF}" dt="2021-03-06T16:00:41.613" v="5561" actId="478"/>
          <ac:spMkLst>
            <pc:docMk/>
            <pc:sldMk cId="256845988" sldId="497"/>
            <ac:spMk id="34" creationId="{0FA929F6-AE1F-4169-AD55-AD220014C2F7}"/>
          </ac:spMkLst>
        </pc:spChg>
        <pc:spChg chg="del">
          <ac:chgData name="MOUAMMAR Matthieu" userId="a28de245-dc05-4206-b24f-6f403ed1344a" providerId="ADAL" clId="{97AE8C35-2375-40D4-8F09-DBC209B3CDBF}" dt="2021-03-06T16:00:41.613" v="5561" actId="478"/>
          <ac:spMkLst>
            <pc:docMk/>
            <pc:sldMk cId="256845988" sldId="497"/>
            <ac:spMk id="35" creationId="{16E1AFDC-1737-4E66-A666-D00F22B5960D}"/>
          </ac:spMkLst>
        </pc:spChg>
        <pc:spChg chg="del">
          <ac:chgData name="MOUAMMAR Matthieu" userId="a28de245-dc05-4206-b24f-6f403ed1344a" providerId="ADAL" clId="{97AE8C35-2375-40D4-8F09-DBC209B3CDBF}" dt="2021-03-06T16:00:41.613" v="5561" actId="478"/>
          <ac:spMkLst>
            <pc:docMk/>
            <pc:sldMk cId="256845988" sldId="497"/>
            <ac:spMk id="36" creationId="{6BC0158F-8D7E-4A4F-8673-36862F20E6D7}"/>
          </ac:spMkLst>
        </pc:spChg>
        <pc:spChg chg="del">
          <ac:chgData name="MOUAMMAR Matthieu" userId="a28de245-dc05-4206-b24f-6f403ed1344a" providerId="ADAL" clId="{97AE8C35-2375-40D4-8F09-DBC209B3CDBF}" dt="2021-03-06T16:00:41.613" v="5561" actId="478"/>
          <ac:spMkLst>
            <pc:docMk/>
            <pc:sldMk cId="256845988" sldId="497"/>
            <ac:spMk id="38" creationId="{242649F3-56A8-4CDF-A475-B727954379F1}"/>
          </ac:spMkLst>
        </pc:spChg>
        <pc:spChg chg="del">
          <ac:chgData name="MOUAMMAR Matthieu" userId="a28de245-dc05-4206-b24f-6f403ed1344a" providerId="ADAL" clId="{97AE8C35-2375-40D4-8F09-DBC209B3CDBF}" dt="2021-03-06T16:00:41.613" v="5561" actId="478"/>
          <ac:spMkLst>
            <pc:docMk/>
            <pc:sldMk cId="256845988" sldId="497"/>
            <ac:spMk id="40" creationId="{A3E72AF5-1905-4EC5-B2E5-1B9A497B6CD6}"/>
          </ac:spMkLst>
        </pc:spChg>
        <pc:spChg chg="del">
          <ac:chgData name="MOUAMMAR Matthieu" userId="a28de245-dc05-4206-b24f-6f403ed1344a" providerId="ADAL" clId="{97AE8C35-2375-40D4-8F09-DBC209B3CDBF}" dt="2021-03-06T16:00:41.613" v="5561" actId="478"/>
          <ac:spMkLst>
            <pc:docMk/>
            <pc:sldMk cId="256845988" sldId="497"/>
            <ac:spMk id="42" creationId="{87040581-950D-4A2B-B9F9-53CCD07FF520}"/>
          </ac:spMkLst>
        </pc:spChg>
        <pc:spChg chg="del">
          <ac:chgData name="MOUAMMAR Matthieu" userId="a28de245-dc05-4206-b24f-6f403ed1344a" providerId="ADAL" clId="{97AE8C35-2375-40D4-8F09-DBC209B3CDBF}" dt="2021-03-06T16:00:41.613" v="5561" actId="478"/>
          <ac:spMkLst>
            <pc:docMk/>
            <pc:sldMk cId="256845988" sldId="497"/>
            <ac:spMk id="43" creationId="{06F4B6C2-07C7-4710-91BB-FFA0452CB494}"/>
          </ac:spMkLst>
        </pc:spChg>
        <pc:spChg chg="del">
          <ac:chgData name="MOUAMMAR Matthieu" userId="a28de245-dc05-4206-b24f-6f403ed1344a" providerId="ADAL" clId="{97AE8C35-2375-40D4-8F09-DBC209B3CDBF}" dt="2021-03-06T16:00:41.613" v="5561" actId="478"/>
          <ac:spMkLst>
            <pc:docMk/>
            <pc:sldMk cId="256845988" sldId="497"/>
            <ac:spMk id="46" creationId="{99BD4296-5299-4FC2-BF03-965E891E463A}"/>
          </ac:spMkLst>
        </pc:spChg>
        <pc:spChg chg="del">
          <ac:chgData name="MOUAMMAR Matthieu" userId="a28de245-dc05-4206-b24f-6f403ed1344a" providerId="ADAL" clId="{97AE8C35-2375-40D4-8F09-DBC209B3CDBF}" dt="2021-03-06T16:00:41.613" v="5561" actId="478"/>
          <ac:spMkLst>
            <pc:docMk/>
            <pc:sldMk cId="256845988" sldId="497"/>
            <ac:spMk id="47" creationId="{86328340-0D6D-48D2-8974-749036EA8C4E}"/>
          </ac:spMkLst>
        </pc:spChg>
        <pc:spChg chg="del">
          <ac:chgData name="MOUAMMAR Matthieu" userId="a28de245-dc05-4206-b24f-6f403ed1344a" providerId="ADAL" clId="{97AE8C35-2375-40D4-8F09-DBC209B3CDBF}" dt="2021-03-06T16:00:41.613" v="5561" actId="478"/>
          <ac:spMkLst>
            <pc:docMk/>
            <pc:sldMk cId="256845988" sldId="497"/>
            <ac:spMk id="48" creationId="{08F84291-DFEA-4A76-8614-7E8CE1622FBC}"/>
          </ac:spMkLst>
        </pc:spChg>
        <pc:spChg chg="del">
          <ac:chgData name="MOUAMMAR Matthieu" userId="a28de245-dc05-4206-b24f-6f403ed1344a" providerId="ADAL" clId="{97AE8C35-2375-40D4-8F09-DBC209B3CDBF}" dt="2021-03-06T16:00:41.613" v="5561" actId="478"/>
          <ac:spMkLst>
            <pc:docMk/>
            <pc:sldMk cId="256845988" sldId="497"/>
            <ac:spMk id="49" creationId="{81D2B3FE-F685-4BD9-8AEA-9A7B0F4D2E3A}"/>
          </ac:spMkLst>
        </pc:spChg>
        <pc:spChg chg="del">
          <ac:chgData name="MOUAMMAR Matthieu" userId="a28de245-dc05-4206-b24f-6f403ed1344a" providerId="ADAL" clId="{97AE8C35-2375-40D4-8F09-DBC209B3CDBF}" dt="2021-03-06T16:00:59.657" v="5574" actId="478"/>
          <ac:spMkLst>
            <pc:docMk/>
            <pc:sldMk cId="256845988" sldId="497"/>
            <ac:spMk id="50" creationId="{BFB7737C-BBE0-4542-A2E7-A0B8CF31FB76}"/>
          </ac:spMkLst>
        </pc:spChg>
        <pc:spChg chg="del">
          <ac:chgData name="MOUAMMAR Matthieu" userId="a28de245-dc05-4206-b24f-6f403ed1344a" providerId="ADAL" clId="{97AE8C35-2375-40D4-8F09-DBC209B3CDBF}" dt="2021-03-06T16:00:49.774" v="5564" actId="478"/>
          <ac:spMkLst>
            <pc:docMk/>
            <pc:sldMk cId="256845988" sldId="497"/>
            <ac:spMk id="52" creationId="{A5AE7BA4-873A-4EB8-B9A3-EF474673B60F}"/>
          </ac:spMkLst>
        </pc:spChg>
        <pc:spChg chg="del">
          <ac:chgData name="MOUAMMAR Matthieu" userId="a28de245-dc05-4206-b24f-6f403ed1344a" providerId="ADAL" clId="{97AE8C35-2375-40D4-8F09-DBC209B3CDBF}" dt="2021-03-06T16:00:49.774" v="5564" actId="478"/>
          <ac:spMkLst>
            <pc:docMk/>
            <pc:sldMk cId="256845988" sldId="497"/>
            <ac:spMk id="53" creationId="{353F4653-F445-48CC-8756-06B2C00ED38C}"/>
          </ac:spMkLst>
        </pc:spChg>
        <pc:spChg chg="del">
          <ac:chgData name="MOUAMMAR Matthieu" userId="a28de245-dc05-4206-b24f-6f403ed1344a" providerId="ADAL" clId="{97AE8C35-2375-40D4-8F09-DBC209B3CDBF}" dt="2021-03-06T16:00:41.613" v="5561" actId="478"/>
          <ac:spMkLst>
            <pc:docMk/>
            <pc:sldMk cId="256845988" sldId="497"/>
            <ac:spMk id="54" creationId="{73FA3278-E52B-4D1F-8858-F3EC122581F2}"/>
          </ac:spMkLst>
        </pc:spChg>
        <pc:spChg chg="del">
          <ac:chgData name="MOUAMMAR Matthieu" userId="a28de245-dc05-4206-b24f-6f403ed1344a" providerId="ADAL" clId="{97AE8C35-2375-40D4-8F09-DBC209B3CDBF}" dt="2021-03-06T16:00:41.613" v="5561" actId="478"/>
          <ac:spMkLst>
            <pc:docMk/>
            <pc:sldMk cId="256845988" sldId="497"/>
            <ac:spMk id="55" creationId="{605B0DF0-4653-44E5-BEDE-6371B7D2DC5F}"/>
          </ac:spMkLst>
        </pc:spChg>
        <pc:spChg chg="del">
          <ac:chgData name="MOUAMMAR Matthieu" userId="a28de245-dc05-4206-b24f-6f403ed1344a" providerId="ADAL" clId="{97AE8C35-2375-40D4-8F09-DBC209B3CDBF}" dt="2021-03-06T16:00:41.613" v="5561" actId="478"/>
          <ac:spMkLst>
            <pc:docMk/>
            <pc:sldMk cId="256845988" sldId="497"/>
            <ac:spMk id="56" creationId="{06D7C7D7-0437-43A0-9FE8-2B87C418D48E}"/>
          </ac:spMkLst>
        </pc:spChg>
        <pc:spChg chg="del">
          <ac:chgData name="MOUAMMAR Matthieu" userId="a28de245-dc05-4206-b24f-6f403ed1344a" providerId="ADAL" clId="{97AE8C35-2375-40D4-8F09-DBC209B3CDBF}" dt="2021-03-06T16:00:41.613" v="5561" actId="478"/>
          <ac:spMkLst>
            <pc:docMk/>
            <pc:sldMk cId="256845988" sldId="497"/>
            <ac:spMk id="57" creationId="{DD60B1A0-C7A8-46BE-96D9-52DCE2D82214}"/>
          </ac:spMkLst>
        </pc:spChg>
        <pc:spChg chg="del">
          <ac:chgData name="MOUAMMAR Matthieu" userId="a28de245-dc05-4206-b24f-6f403ed1344a" providerId="ADAL" clId="{97AE8C35-2375-40D4-8F09-DBC209B3CDBF}" dt="2021-03-06T16:00:41.613" v="5561" actId="478"/>
          <ac:spMkLst>
            <pc:docMk/>
            <pc:sldMk cId="256845988" sldId="497"/>
            <ac:spMk id="58" creationId="{D48A2050-997A-446F-8961-7F4150839C15}"/>
          </ac:spMkLst>
        </pc:spChg>
        <pc:spChg chg="del">
          <ac:chgData name="MOUAMMAR Matthieu" userId="a28de245-dc05-4206-b24f-6f403ed1344a" providerId="ADAL" clId="{97AE8C35-2375-40D4-8F09-DBC209B3CDBF}" dt="2021-03-06T16:00:41.613" v="5561" actId="478"/>
          <ac:spMkLst>
            <pc:docMk/>
            <pc:sldMk cId="256845988" sldId="497"/>
            <ac:spMk id="59" creationId="{35864A0A-DEF2-4338-9387-8E4D8CA1055C}"/>
          </ac:spMkLst>
        </pc:spChg>
        <pc:spChg chg="del">
          <ac:chgData name="MOUAMMAR Matthieu" userId="a28de245-dc05-4206-b24f-6f403ed1344a" providerId="ADAL" clId="{97AE8C35-2375-40D4-8F09-DBC209B3CDBF}" dt="2021-03-06T16:00:41.613" v="5561" actId="478"/>
          <ac:spMkLst>
            <pc:docMk/>
            <pc:sldMk cId="256845988" sldId="497"/>
            <ac:spMk id="60" creationId="{2B01ABF8-29A3-47B5-A279-DD2646E15CA5}"/>
          </ac:spMkLst>
        </pc:spChg>
        <pc:spChg chg="del">
          <ac:chgData name="MOUAMMAR Matthieu" userId="a28de245-dc05-4206-b24f-6f403ed1344a" providerId="ADAL" clId="{97AE8C35-2375-40D4-8F09-DBC209B3CDBF}" dt="2021-03-06T16:00:41.613" v="5561" actId="478"/>
          <ac:spMkLst>
            <pc:docMk/>
            <pc:sldMk cId="256845988" sldId="497"/>
            <ac:spMk id="61" creationId="{678B1F89-6B5D-4704-BFFA-170731FA4584}"/>
          </ac:spMkLst>
        </pc:spChg>
        <pc:spChg chg="del">
          <ac:chgData name="MOUAMMAR Matthieu" userId="a28de245-dc05-4206-b24f-6f403ed1344a" providerId="ADAL" clId="{97AE8C35-2375-40D4-8F09-DBC209B3CDBF}" dt="2021-03-06T16:00:41.613" v="5561" actId="478"/>
          <ac:spMkLst>
            <pc:docMk/>
            <pc:sldMk cId="256845988" sldId="497"/>
            <ac:spMk id="62" creationId="{E55D0741-20A3-4392-B33E-02E5F6DE8A20}"/>
          </ac:spMkLst>
        </pc:spChg>
        <pc:spChg chg="del">
          <ac:chgData name="MOUAMMAR Matthieu" userId="a28de245-dc05-4206-b24f-6f403ed1344a" providerId="ADAL" clId="{97AE8C35-2375-40D4-8F09-DBC209B3CDBF}" dt="2021-03-06T16:00:41.613" v="5561" actId="478"/>
          <ac:spMkLst>
            <pc:docMk/>
            <pc:sldMk cId="256845988" sldId="497"/>
            <ac:spMk id="63" creationId="{3E4CC65E-16A5-45C1-91F3-B2D84D7ED0C3}"/>
          </ac:spMkLst>
        </pc:spChg>
        <pc:spChg chg="del">
          <ac:chgData name="MOUAMMAR Matthieu" userId="a28de245-dc05-4206-b24f-6f403ed1344a" providerId="ADAL" clId="{97AE8C35-2375-40D4-8F09-DBC209B3CDBF}" dt="2021-03-06T16:00:41.613" v="5561" actId="478"/>
          <ac:spMkLst>
            <pc:docMk/>
            <pc:sldMk cId="256845988" sldId="497"/>
            <ac:spMk id="64" creationId="{4AB64AA9-BDBF-467E-B236-B4F81A4CBD0C}"/>
          </ac:spMkLst>
        </pc:spChg>
        <pc:spChg chg="del">
          <ac:chgData name="MOUAMMAR Matthieu" userId="a28de245-dc05-4206-b24f-6f403ed1344a" providerId="ADAL" clId="{97AE8C35-2375-40D4-8F09-DBC209B3CDBF}" dt="2021-03-06T16:00:41.613" v="5561" actId="478"/>
          <ac:spMkLst>
            <pc:docMk/>
            <pc:sldMk cId="256845988" sldId="497"/>
            <ac:spMk id="65" creationId="{AA589FE7-76A9-406A-AE0E-961DD37C48C5}"/>
          </ac:spMkLst>
        </pc:spChg>
        <pc:spChg chg="del">
          <ac:chgData name="MOUAMMAR Matthieu" userId="a28de245-dc05-4206-b24f-6f403ed1344a" providerId="ADAL" clId="{97AE8C35-2375-40D4-8F09-DBC209B3CDBF}" dt="2021-03-06T16:00:41.613" v="5561" actId="478"/>
          <ac:spMkLst>
            <pc:docMk/>
            <pc:sldMk cId="256845988" sldId="497"/>
            <ac:spMk id="66" creationId="{D6497CA6-FB47-471C-9A1D-12BBDA531658}"/>
          </ac:spMkLst>
        </pc:spChg>
        <pc:spChg chg="del">
          <ac:chgData name="MOUAMMAR Matthieu" userId="a28de245-dc05-4206-b24f-6f403ed1344a" providerId="ADAL" clId="{97AE8C35-2375-40D4-8F09-DBC209B3CDBF}" dt="2021-03-06T16:00:41.613" v="5561" actId="478"/>
          <ac:spMkLst>
            <pc:docMk/>
            <pc:sldMk cId="256845988" sldId="497"/>
            <ac:spMk id="67" creationId="{C17BB7F6-7F13-44C6-A22D-B95058465EE2}"/>
          </ac:spMkLst>
        </pc:spChg>
        <pc:spChg chg="del">
          <ac:chgData name="MOUAMMAR Matthieu" userId="a28de245-dc05-4206-b24f-6f403ed1344a" providerId="ADAL" clId="{97AE8C35-2375-40D4-8F09-DBC209B3CDBF}" dt="2021-03-06T16:00:41.613" v="5561" actId="478"/>
          <ac:spMkLst>
            <pc:docMk/>
            <pc:sldMk cId="256845988" sldId="497"/>
            <ac:spMk id="68" creationId="{3097608E-E1A7-4E4F-8E04-FB8B3304B432}"/>
          </ac:spMkLst>
        </pc:spChg>
        <pc:spChg chg="del">
          <ac:chgData name="MOUAMMAR Matthieu" userId="a28de245-dc05-4206-b24f-6f403ed1344a" providerId="ADAL" clId="{97AE8C35-2375-40D4-8F09-DBC209B3CDBF}" dt="2021-03-06T16:00:41.613" v="5561" actId="478"/>
          <ac:spMkLst>
            <pc:docMk/>
            <pc:sldMk cId="256845988" sldId="497"/>
            <ac:spMk id="69" creationId="{EAAD78AC-9D66-4190-8F02-755E23854B1A}"/>
          </ac:spMkLst>
        </pc:spChg>
        <pc:spChg chg="del">
          <ac:chgData name="MOUAMMAR Matthieu" userId="a28de245-dc05-4206-b24f-6f403ed1344a" providerId="ADAL" clId="{97AE8C35-2375-40D4-8F09-DBC209B3CDBF}" dt="2021-03-06T16:00:41.613" v="5561" actId="478"/>
          <ac:spMkLst>
            <pc:docMk/>
            <pc:sldMk cId="256845988" sldId="497"/>
            <ac:spMk id="70" creationId="{236A0E05-99EC-49E4-B730-889714A3C228}"/>
          </ac:spMkLst>
        </pc:spChg>
        <pc:spChg chg="del">
          <ac:chgData name="MOUAMMAR Matthieu" userId="a28de245-dc05-4206-b24f-6f403ed1344a" providerId="ADAL" clId="{97AE8C35-2375-40D4-8F09-DBC209B3CDBF}" dt="2021-03-06T16:00:41.613" v="5561" actId="478"/>
          <ac:spMkLst>
            <pc:docMk/>
            <pc:sldMk cId="256845988" sldId="497"/>
            <ac:spMk id="71" creationId="{9B4C22DC-81F9-4158-9619-82D5300FB386}"/>
          </ac:spMkLst>
        </pc:spChg>
        <pc:spChg chg="del">
          <ac:chgData name="MOUAMMAR Matthieu" userId="a28de245-dc05-4206-b24f-6f403ed1344a" providerId="ADAL" clId="{97AE8C35-2375-40D4-8F09-DBC209B3CDBF}" dt="2021-03-06T16:00:41.613" v="5561" actId="478"/>
          <ac:spMkLst>
            <pc:docMk/>
            <pc:sldMk cId="256845988" sldId="497"/>
            <ac:spMk id="72" creationId="{313EFF4B-79DB-4ED4-B354-9D058A917B99}"/>
          </ac:spMkLst>
        </pc:spChg>
        <pc:spChg chg="del">
          <ac:chgData name="MOUAMMAR Matthieu" userId="a28de245-dc05-4206-b24f-6f403ed1344a" providerId="ADAL" clId="{97AE8C35-2375-40D4-8F09-DBC209B3CDBF}" dt="2021-03-06T16:00:41.613" v="5561" actId="478"/>
          <ac:spMkLst>
            <pc:docMk/>
            <pc:sldMk cId="256845988" sldId="497"/>
            <ac:spMk id="73" creationId="{C8383800-C85D-4CD7-8765-92A4D9E87BEB}"/>
          </ac:spMkLst>
        </pc:spChg>
        <pc:spChg chg="del">
          <ac:chgData name="MOUAMMAR Matthieu" userId="a28de245-dc05-4206-b24f-6f403ed1344a" providerId="ADAL" clId="{97AE8C35-2375-40D4-8F09-DBC209B3CDBF}" dt="2021-03-06T16:00:41.613" v="5561" actId="478"/>
          <ac:spMkLst>
            <pc:docMk/>
            <pc:sldMk cId="256845988" sldId="497"/>
            <ac:spMk id="74" creationId="{A83799ED-C79C-45F2-BC0D-16D3C1F8F1AC}"/>
          </ac:spMkLst>
        </pc:spChg>
        <pc:spChg chg="del">
          <ac:chgData name="MOUAMMAR Matthieu" userId="a28de245-dc05-4206-b24f-6f403ed1344a" providerId="ADAL" clId="{97AE8C35-2375-40D4-8F09-DBC209B3CDBF}" dt="2021-03-06T16:00:41.613" v="5561" actId="478"/>
          <ac:spMkLst>
            <pc:docMk/>
            <pc:sldMk cId="256845988" sldId="497"/>
            <ac:spMk id="75" creationId="{E5774388-DDF5-4384-88D7-B930C0F2EA3D}"/>
          </ac:spMkLst>
        </pc:spChg>
        <pc:spChg chg="del">
          <ac:chgData name="MOUAMMAR Matthieu" userId="a28de245-dc05-4206-b24f-6f403ed1344a" providerId="ADAL" clId="{97AE8C35-2375-40D4-8F09-DBC209B3CDBF}" dt="2021-03-06T16:00:41.613" v="5561" actId="478"/>
          <ac:spMkLst>
            <pc:docMk/>
            <pc:sldMk cId="256845988" sldId="497"/>
            <ac:spMk id="76" creationId="{7CF1FB20-7EB4-41E2-8939-75D52EED5283}"/>
          </ac:spMkLst>
        </pc:spChg>
        <pc:spChg chg="del">
          <ac:chgData name="MOUAMMAR Matthieu" userId="a28de245-dc05-4206-b24f-6f403ed1344a" providerId="ADAL" clId="{97AE8C35-2375-40D4-8F09-DBC209B3CDBF}" dt="2021-03-06T16:00:41.613" v="5561" actId="478"/>
          <ac:spMkLst>
            <pc:docMk/>
            <pc:sldMk cId="256845988" sldId="497"/>
            <ac:spMk id="77" creationId="{B45E71CF-0F58-4574-B50B-277F6ABD3679}"/>
          </ac:spMkLst>
        </pc:spChg>
        <pc:spChg chg="del">
          <ac:chgData name="MOUAMMAR Matthieu" userId="a28de245-dc05-4206-b24f-6f403ed1344a" providerId="ADAL" clId="{97AE8C35-2375-40D4-8F09-DBC209B3CDBF}" dt="2021-03-06T16:00:41.613" v="5561" actId="478"/>
          <ac:spMkLst>
            <pc:docMk/>
            <pc:sldMk cId="256845988" sldId="497"/>
            <ac:spMk id="78" creationId="{48BB1543-CCF4-4B77-ADD0-8BF86AA3CA7F}"/>
          </ac:spMkLst>
        </pc:spChg>
        <pc:spChg chg="del">
          <ac:chgData name="MOUAMMAR Matthieu" userId="a28de245-dc05-4206-b24f-6f403ed1344a" providerId="ADAL" clId="{97AE8C35-2375-40D4-8F09-DBC209B3CDBF}" dt="2021-03-06T16:00:41.613" v="5561" actId="478"/>
          <ac:spMkLst>
            <pc:docMk/>
            <pc:sldMk cId="256845988" sldId="497"/>
            <ac:spMk id="79" creationId="{E6CA48AF-4106-45D0-8E10-1B3E3CDCB88F}"/>
          </ac:spMkLst>
        </pc:spChg>
        <pc:spChg chg="del">
          <ac:chgData name="MOUAMMAR Matthieu" userId="a28de245-dc05-4206-b24f-6f403ed1344a" providerId="ADAL" clId="{97AE8C35-2375-40D4-8F09-DBC209B3CDBF}" dt="2021-03-06T16:00:41.613" v="5561" actId="478"/>
          <ac:spMkLst>
            <pc:docMk/>
            <pc:sldMk cId="256845988" sldId="497"/>
            <ac:spMk id="93" creationId="{34FE4315-B99B-4D2B-8610-C9B8D3CA7B48}"/>
          </ac:spMkLst>
        </pc:spChg>
        <pc:spChg chg="del">
          <ac:chgData name="MOUAMMAR Matthieu" userId="a28de245-dc05-4206-b24f-6f403ed1344a" providerId="ADAL" clId="{97AE8C35-2375-40D4-8F09-DBC209B3CDBF}" dt="2021-03-06T16:00:41.613" v="5561" actId="478"/>
          <ac:spMkLst>
            <pc:docMk/>
            <pc:sldMk cId="256845988" sldId="497"/>
            <ac:spMk id="95" creationId="{DBB44814-5D03-4D8B-AEA7-1B2D5AEC8A71}"/>
          </ac:spMkLst>
        </pc:spChg>
        <pc:spChg chg="del">
          <ac:chgData name="MOUAMMAR Matthieu" userId="a28de245-dc05-4206-b24f-6f403ed1344a" providerId="ADAL" clId="{97AE8C35-2375-40D4-8F09-DBC209B3CDBF}" dt="2021-03-06T16:00:41.613" v="5561" actId="478"/>
          <ac:spMkLst>
            <pc:docMk/>
            <pc:sldMk cId="256845988" sldId="497"/>
            <ac:spMk id="96" creationId="{20AE29D2-9F6B-4E5D-BEE0-6AEA8A863F6B}"/>
          </ac:spMkLst>
        </pc:spChg>
        <pc:spChg chg="del">
          <ac:chgData name="MOUAMMAR Matthieu" userId="a28de245-dc05-4206-b24f-6f403ed1344a" providerId="ADAL" clId="{97AE8C35-2375-40D4-8F09-DBC209B3CDBF}" dt="2021-03-06T16:00:41.613" v="5561" actId="478"/>
          <ac:spMkLst>
            <pc:docMk/>
            <pc:sldMk cId="256845988" sldId="497"/>
            <ac:spMk id="97" creationId="{E5F78406-D212-4C38-B3B0-1A8C10A68FFE}"/>
          </ac:spMkLst>
        </pc:spChg>
        <pc:spChg chg="del">
          <ac:chgData name="MOUAMMAR Matthieu" userId="a28de245-dc05-4206-b24f-6f403ed1344a" providerId="ADAL" clId="{97AE8C35-2375-40D4-8F09-DBC209B3CDBF}" dt="2021-03-06T16:00:47.183" v="5563" actId="478"/>
          <ac:spMkLst>
            <pc:docMk/>
            <pc:sldMk cId="256845988" sldId="497"/>
            <ac:spMk id="99" creationId="{5F82530E-925F-4EA1-B53D-2BF8EF54FD4A}"/>
          </ac:spMkLst>
        </pc:spChg>
        <pc:spChg chg="del">
          <ac:chgData name="MOUAMMAR Matthieu" userId="a28de245-dc05-4206-b24f-6f403ed1344a" providerId="ADAL" clId="{97AE8C35-2375-40D4-8F09-DBC209B3CDBF}" dt="2021-03-06T16:00:41.613" v="5561" actId="478"/>
          <ac:spMkLst>
            <pc:docMk/>
            <pc:sldMk cId="256845988" sldId="497"/>
            <ac:spMk id="101" creationId="{F7BE25B8-3F27-4DB5-927C-2EE6B6E2A11F}"/>
          </ac:spMkLst>
        </pc:spChg>
        <pc:spChg chg="del">
          <ac:chgData name="MOUAMMAR Matthieu" userId="a28de245-dc05-4206-b24f-6f403ed1344a" providerId="ADAL" clId="{97AE8C35-2375-40D4-8F09-DBC209B3CDBF}" dt="2021-03-06T16:00:41.613" v="5561" actId="478"/>
          <ac:spMkLst>
            <pc:docMk/>
            <pc:sldMk cId="256845988" sldId="497"/>
            <ac:spMk id="104" creationId="{D9BE5EA9-6178-4476-BA98-FBC119A1DE82}"/>
          </ac:spMkLst>
        </pc:spChg>
        <pc:graphicFrameChg chg="add del mod modGraphic">
          <ac:chgData name="MOUAMMAR Matthieu" userId="a28de245-dc05-4206-b24f-6f403ed1344a" providerId="ADAL" clId="{97AE8C35-2375-40D4-8F09-DBC209B3CDBF}" dt="2021-03-07T10:46:06.030" v="7707" actId="6549"/>
          <ac:graphicFrameMkLst>
            <pc:docMk/>
            <pc:sldMk cId="256845988" sldId="497"/>
            <ac:graphicFrameMk id="106" creationId="{1A554CEF-790D-49BC-9D48-CB8225F333BC}"/>
          </ac:graphicFrameMkLst>
        </pc:graphicFrameChg>
        <pc:picChg chg="del">
          <ac:chgData name="MOUAMMAR Matthieu" userId="a28de245-dc05-4206-b24f-6f403ed1344a" providerId="ADAL" clId="{97AE8C35-2375-40D4-8F09-DBC209B3CDBF}" dt="2021-03-06T16:00:34.331" v="5560" actId="478"/>
          <ac:picMkLst>
            <pc:docMk/>
            <pc:sldMk cId="256845988" sldId="497"/>
            <ac:picMk id="12" creationId="{9447789E-2A3F-4839-A68E-F34A24290D03}"/>
          </ac:picMkLst>
        </pc:picChg>
        <pc:cxnChg chg="del">
          <ac:chgData name="MOUAMMAR Matthieu" userId="a28de245-dc05-4206-b24f-6f403ed1344a" providerId="ADAL" clId="{97AE8C35-2375-40D4-8F09-DBC209B3CDBF}" dt="2021-03-06T16:00:41.613" v="5561" actId="478"/>
          <ac:cxnSpMkLst>
            <pc:docMk/>
            <pc:sldMk cId="256845988" sldId="497"/>
            <ac:cxnSpMk id="9" creationId="{07369A7F-4911-4576-9665-01939879DC38}"/>
          </ac:cxnSpMkLst>
        </pc:cxnChg>
        <pc:cxnChg chg="del">
          <ac:chgData name="MOUAMMAR Matthieu" userId="a28de245-dc05-4206-b24f-6f403ed1344a" providerId="ADAL" clId="{97AE8C35-2375-40D4-8F09-DBC209B3CDBF}" dt="2021-03-06T16:00:53.344" v="5568" actId="478"/>
          <ac:cxnSpMkLst>
            <pc:docMk/>
            <pc:sldMk cId="256845988" sldId="497"/>
            <ac:cxnSpMk id="14" creationId="{D04A8A3B-E607-41D5-B39A-F2E19C8D8140}"/>
          </ac:cxnSpMkLst>
        </pc:cxnChg>
        <pc:cxnChg chg="del">
          <ac:chgData name="MOUAMMAR Matthieu" userId="a28de245-dc05-4206-b24f-6f403ed1344a" providerId="ADAL" clId="{97AE8C35-2375-40D4-8F09-DBC209B3CDBF}" dt="2021-03-06T16:00:43.386" v="5562" actId="478"/>
          <ac:cxnSpMkLst>
            <pc:docMk/>
            <pc:sldMk cId="256845988" sldId="497"/>
            <ac:cxnSpMk id="16" creationId="{7DC6677E-5C1D-40B8-9B99-BDE3750AD5D2}"/>
          </ac:cxnSpMkLst>
        </pc:cxnChg>
        <pc:cxnChg chg="del">
          <ac:chgData name="MOUAMMAR Matthieu" userId="a28de245-dc05-4206-b24f-6f403ed1344a" providerId="ADAL" clId="{97AE8C35-2375-40D4-8F09-DBC209B3CDBF}" dt="2021-03-06T16:00:52.364" v="5567" actId="478"/>
          <ac:cxnSpMkLst>
            <pc:docMk/>
            <pc:sldMk cId="256845988" sldId="497"/>
            <ac:cxnSpMk id="17" creationId="{E7DBA2FC-F736-45D9-821B-CE288C13A419}"/>
          </ac:cxnSpMkLst>
        </pc:cxnChg>
        <pc:cxnChg chg="del">
          <ac:chgData name="MOUAMMAR Matthieu" userId="a28de245-dc05-4206-b24f-6f403ed1344a" providerId="ADAL" clId="{97AE8C35-2375-40D4-8F09-DBC209B3CDBF}" dt="2021-03-06T16:00:49.774" v="5564" actId="478"/>
          <ac:cxnSpMkLst>
            <pc:docMk/>
            <pc:sldMk cId="256845988" sldId="497"/>
            <ac:cxnSpMk id="18" creationId="{19470DC4-4BE7-42CE-9D43-BD9DD1F19F3A}"/>
          </ac:cxnSpMkLst>
        </pc:cxnChg>
        <pc:cxnChg chg="del">
          <ac:chgData name="MOUAMMAR Matthieu" userId="a28de245-dc05-4206-b24f-6f403ed1344a" providerId="ADAL" clId="{97AE8C35-2375-40D4-8F09-DBC209B3CDBF}" dt="2021-03-06T16:00:54.262" v="5569" actId="478"/>
          <ac:cxnSpMkLst>
            <pc:docMk/>
            <pc:sldMk cId="256845988" sldId="497"/>
            <ac:cxnSpMk id="19" creationId="{04E4ED3D-29CE-48E1-BC81-4AB6E23D45AB}"/>
          </ac:cxnSpMkLst>
        </pc:cxnChg>
        <pc:cxnChg chg="del">
          <ac:chgData name="MOUAMMAR Matthieu" userId="a28de245-dc05-4206-b24f-6f403ed1344a" providerId="ADAL" clId="{97AE8C35-2375-40D4-8F09-DBC209B3CDBF}" dt="2021-03-06T16:00:51.479" v="5566" actId="478"/>
          <ac:cxnSpMkLst>
            <pc:docMk/>
            <pc:sldMk cId="256845988" sldId="497"/>
            <ac:cxnSpMk id="20" creationId="{F2AE9724-4DAA-4F5D-8DFE-8585589F9922}"/>
          </ac:cxnSpMkLst>
        </pc:cxnChg>
        <pc:cxnChg chg="del">
          <ac:chgData name="MOUAMMAR Matthieu" userId="a28de245-dc05-4206-b24f-6f403ed1344a" providerId="ADAL" clId="{97AE8C35-2375-40D4-8F09-DBC209B3CDBF}" dt="2021-03-06T16:00:41.613" v="5561" actId="478"/>
          <ac:cxnSpMkLst>
            <pc:docMk/>
            <pc:sldMk cId="256845988" sldId="497"/>
            <ac:cxnSpMk id="21" creationId="{266C25A5-B950-458B-97DB-88A55A1281C6}"/>
          </ac:cxnSpMkLst>
        </pc:cxnChg>
        <pc:cxnChg chg="del">
          <ac:chgData name="MOUAMMAR Matthieu" userId="a28de245-dc05-4206-b24f-6f403ed1344a" providerId="ADAL" clId="{97AE8C35-2375-40D4-8F09-DBC209B3CDBF}" dt="2021-03-06T16:00:41.613" v="5561" actId="478"/>
          <ac:cxnSpMkLst>
            <pc:docMk/>
            <pc:sldMk cId="256845988" sldId="497"/>
            <ac:cxnSpMk id="22" creationId="{2D9B3E45-E3B4-4295-BE8A-8CC0AA581C7F}"/>
          </ac:cxnSpMkLst>
        </pc:cxnChg>
        <pc:cxnChg chg="del">
          <ac:chgData name="MOUAMMAR Matthieu" userId="a28de245-dc05-4206-b24f-6f403ed1344a" providerId="ADAL" clId="{97AE8C35-2375-40D4-8F09-DBC209B3CDBF}" dt="2021-03-06T16:00:41.613" v="5561" actId="478"/>
          <ac:cxnSpMkLst>
            <pc:docMk/>
            <pc:sldMk cId="256845988" sldId="497"/>
            <ac:cxnSpMk id="23" creationId="{86C0844D-7B46-4122-A1E6-CCD8BB233D7F}"/>
          </ac:cxnSpMkLst>
        </pc:cxnChg>
        <pc:cxnChg chg="del">
          <ac:chgData name="MOUAMMAR Matthieu" userId="a28de245-dc05-4206-b24f-6f403ed1344a" providerId="ADAL" clId="{97AE8C35-2375-40D4-8F09-DBC209B3CDBF}" dt="2021-03-06T16:00:41.613" v="5561" actId="478"/>
          <ac:cxnSpMkLst>
            <pc:docMk/>
            <pc:sldMk cId="256845988" sldId="497"/>
            <ac:cxnSpMk id="24" creationId="{269C59D6-9DC2-4A4A-B28A-582B17B1CD37}"/>
          </ac:cxnSpMkLst>
        </pc:cxnChg>
        <pc:cxnChg chg="del">
          <ac:chgData name="MOUAMMAR Matthieu" userId="a28de245-dc05-4206-b24f-6f403ed1344a" providerId="ADAL" clId="{97AE8C35-2375-40D4-8F09-DBC209B3CDBF}" dt="2021-03-06T16:00:41.613" v="5561" actId="478"/>
          <ac:cxnSpMkLst>
            <pc:docMk/>
            <pc:sldMk cId="256845988" sldId="497"/>
            <ac:cxnSpMk id="37" creationId="{6C4D14DC-FA10-49EC-B086-0E3093C38B74}"/>
          </ac:cxnSpMkLst>
        </pc:cxnChg>
        <pc:cxnChg chg="del">
          <ac:chgData name="MOUAMMAR Matthieu" userId="a28de245-dc05-4206-b24f-6f403ed1344a" providerId="ADAL" clId="{97AE8C35-2375-40D4-8F09-DBC209B3CDBF}" dt="2021-03-06T16:00:41.613" v="5561" actId="478"/>
          <ac:cxnSpMkLst>
            <pc:docMk/>
            <pc:sldMk cId="256845988" sldId="497"/>
            <ac:cxnSpMk id="39" creationId="{D14BC6F2-1737-4644-9CDB-1E28FAE844FC}"/>
          </ac:cxnSpMkLst>
        </pc:cxnChg>
        <pc:cxnChg chg="del">
          <ac:chgData name="MOUAMMAR Matthieu" userId="a28de245-dc05-4206-b24f-6f403ed1344a" providerId="ADAL" clId="{97AE8C35-2375-40D4-8F09-DBC209B3CDBF}" dt="2021-03-06T16:00:41.613" v="5561" actId="478"/>
          <ac:cxnSpMkLst>
            <pc:docMk/>
            <pc:sldMk cId="256845988" sldId="497"/>
            <ac:cxnSpMk id="41" creationId="{D52C4D02-4E6A-45DF-AAE9-64E91A9535EC}"/>
          </ac:cxnSpMkLst>
        </pc:cxnChg>
        <pc:cxnChg chg="del">
          <ac:chgData name="MOUAMMAR Matthieu" userId="a28de245-dc05-4206-b24f-6f403ed1344a" providerId="ADAL" clId="{97AE8C35-2375-40D4-8F09-DBC209B3CDBF}" dt="2021-03-06T16:00:41.613" v="5561" actId="478"/>
          <ac:cxnSpMkLst>
            <pc:docMk/>
            <pc:sldMk cId="256845988" sldId="497"/>
            <ac:cxnSpMk id="44" creationId="{AE2E1E4A-DF4F-4B76-BFE8-A3D32A25A98F}"/>
          </ac:cxnSpMkLst>
        </pc:cxnChg>
        <pc:cxnChg chg="del">
          <ac:chgData name="MOUAMMAR Matthieu" userId="a28de245-dc05-4206-b24f-6f403ed1344a" providerId="ADAL" clId="{97AE8C35-2375-40D4-8F09-DBC209B3CDBF}" dt="2021-03-06T16:00:41.613" v="5561" actId="478"/>
          <ac:cxnSpMkLst>
            <pc:docMk/>
            <pc:sldMk cId="256845988" sldId="497"/>
            <ac:cxnSpMk id="45" creationId="{8D9969B1-C5AA-4078-9AD8-24C6CBEC2D68}"/>
          </ac:cxnSpMkLst>
        </pc:cxnChg>
        <pc:cxnChg chg="del">
          <ac:chgData name="MOUAMMAR Matthieu" userId="a28de245-dc05-4206-b24f-6f403ed1344a" providerId="ADAL" clId="{97AE8C35-2375-40D4-8F09-DBC209B3CDBF}" dt="2021-03-06T16:00:49.774" v="5564" actId="478"/>
          <ac:cxnSpMkLst>
            <pc:docMk/>
            <pc:sldMk cId="256845988" sldId="497"/>
            <ac:cxnSpMk id="51" creationId="{9CFCDB4F-BCB7-46F3-8581-831A2F49B510}"/>
          </ac:cxnSpMkLst>
        </pc:cxnChg>
        <pc:cxnChg chg="del mod">
          <ac:chgData name="MOUAMMAR Matthieu" userId="a28de245-dc05-4206-b24f-6f403ed1344a" providerId="ADAL" clId="{97AE8C35-2375-40D4-8F09-DBC209B3CDBF}" dt="2021-03-06T16:00:41.613" v="5561" actId="478"/>
          <ac:cxnSpMkLst>
            <pc:docMk/>
            <pc:sldMk cId="256845988" sldId="497"/>
            <ac:cxnSpMk id="80" creationId="{66EC4603-B5E9-4B2C-8B72-CECD42470F54}"/>
          </ac:cxnSpMkLst>
        </pc:cxnChg>
        <pc:cxnChg chg="del mod">
          <ac:chgData name="MOUAMMAR Matthieu" userId="a28de245-dc05-4206-b24f-6f403ed1344a" providerId="ADAL" clId="{97AE8C35-2375-40D4-8F09-DBC209B3CDBF}" dt="2021-03-06T16:00:41.613" v="5561" actId="478"/>
          <ac:cxnSpMkLst>
            <pc:docMk/>
            <pc:sldMk cId="256845988" sldId="497"/>
            <ac:cxnSpMk id="81" creationId="{22BE4CAA-1D09-42F2-A3C3-A3A5D6441A63}"/>
          </ac:cxnSpMkLst>
        </pc:cxnChg>
        <pc:cxnChg chg="del mod">
          <ac:chgData name="MOUAMMAR Matthieu" userId="a28de245-dc05-4206-b24f-6f403ed1344a" providerId="ADAL" clId="{97AE8C35-2375-40D4-8F09-DBC209B3CDBF}" dt="2021-03-06T16:00:41.613" v="5561" actId="478"/>
          <ac:cxnSpMkLst>
            <pc:docMk/>
            <pc:sldMk cId="256845988" sldId="497"/>
            <ac:cxnSpMk id="82" creationId="{F5CB23BF-9DBD-410A-B3DB-0F272C9B411E}"/>
          </ac:cxnSpMkLst>
        </pc:cxnChg>
        <pc:cxnChg chg="del mod">
          <ac:chgData name="MOUAMMAR Matthieu" userId="a28de245-dc05-4206-b24f-6f403ed1344a" providerId="ADAL" clId="{97AE8C35-2375-40D4-8F09-DBC209B3CDBF}" dt="2021-03-06T16:00:41.613" v="5561" actId="478"/>
          <ac:cxnSpMkLst>
            <pc:docMk/>
            <pc:sldMk cId="256845988" sldId="497"/>
            <ac:cxnSpMk id="83" creationId="{1EFFD5D5-9C96-4B00-821A-15840FD097C8}"/>
          </ac:cxnSpMkLst>
        </pc:cxnChg>
        <pc:cxnChg chg="del mod">
          <ac:chgData name="MOUAMMAR Matthieu" userId="a28de245-dc05-4206-b24f-6f403ed1344a" providerId="ADAL" clId="{97AE8C35-2375-40D4-8F09-DBC209B3CDBF}" dt="2021-03-06T16:00:41.613" v="5561" actId="478"/>
          <ac:cxnSpMkLst>
            <pc:docMk/>
            <pc:sldMk cId="256845988" sldId="497"/>
            <ac:cxnSpMk id="84" creationId="{A354A664-5DD2-4A43-97B0-13FB32022E43}"/>
          </ac:cxnSpMkLst>
        </pc:cxnChg>
        <pc:cxnChg chg="del mod">
          <ac:chgData name="MOUAMMAR Matthieu" userId="a28de245-dc05-4206-b24f-6f403ed1344a" providerId="ADAL" clId="{97AE8C35-2375-40D4-8F09-DBC209B3CDBF}" dt="2021-03-06T16:00:41.613" v="5561" actId="478"/>
          <ac:cxnSpMkLst>
            <pc:docMk/>
            <pc:sldMk cId="256845988" sldId="497"/>
            <ac:cxnSpMk id="85" creationId="{5E27501C-AD02-4FA7-9498-BF6083402D3F}"/>
          </ac:cxnSpMkLst>
        </pc:cxnChg>
        <pc:cxnChg chg="del mod">
          <ac:chgData name="MOUAMMAR Matthieu" userId="a28de245-dc05-4206-b24f-6f403ed1344a" providerId="ADAL" clId="{97AE8C35-2375-40D4-8F09-DBC209B3CDBF}" dt="2021-03-06T16:00:41.613" v="5561" actId="478"/>
          <ac:cxnSpMkLst>
            <pc:docMk/>
            <pc:sldMk cId="256845988" sldId="497"/>
            <ac:cxnSpMk id="86" creationId="{A955DA2B-F077-4E4A-8A4A-3726D5D1B914}"/>
          </ac:cxnSpMkLst>
        </pc:cxnChg>
        <pc:cxnChg chg="del mod">
          <ac:chgData name="MOUAMMAR Matthieu" userId="a28de245-dc05-4206-b24f-6f403ed1344a" providerId="ADAL" clId="{97AE8C35-2375-40D4-8F09-DBC209B3CDBF}" dt="2021-03-06T16:00:41.613" v="5561" actId="478"/>
          <ac:cxnSpMkLst>
            <pc:docMk/>
            <pc:sldMk cId="256845988" sldId="497"/>
            <ac:cxnSpMk id="87" creationId="{4AB4DDA6-8CF5-466F-B720-438A0A5C84E5}"/>
          </ac:cxnSpMkLst>
        </pc:cxnChg>
        <pc:cxnChg chg="del mod">
          <ac:chgData name="MOUAMMAR Matthieu" userId="a28de245-dc05-4206-b24f-6f403ed1344a" providerId="ADAL" clId="{97AE8C35-2375-40D4-8F09-DBC209B3CDBF}" dt="2021-03-06T16:00:41.613" v="5561" actId="478"/>
          <ac:cxnSpMkLst>
            <pc:docMk/>
            <pc:sldMk cId="256845988" sldId="497"/>
            <ac:cxnSpMk id="88" creationId="{8FAA64AC-4CB1-42C4-946F-1363F6FCEF19}"/>
          </ac:cxnSpMkLst>
        </pc:cxnChg>
        <pc:cxnChg chg="del mod">
          <ac:chgData name="MOUAMMAR Matthieu" userId="a28de245-dc05-4206-b24f-6f403ed1344a" providerId="ADAL" clId="{97AE8C35-2375-40D4-8F09-DBC209B3CDBF}" dt="2021-03-06T16:00:41.613" v="5561" actId="478"/>
          <ac:cxnSpMkLst>
            <pc:docMk/>
            <pc:sldMk cId="256845988" sldId="497"/>
            <ac:cxnSpMk id="89" creationId="{1D8CD8A0-47F5-452A-B3EA-F1BADC89824B}"/>
          </ac:cxnSpMkLst>
        </pc:cxnChg>
        <pc:cxnChg chg="del mod">
          <ac:chgData name="MOUAMMAR Matthieu" userId="a28de245-dc05-4206-b24f-6f403ed1344a" providerId="ADAL" clId="{97AE8C35-2375-40D4-8F09-DBC209B3CDBF}" dt="2021-03-06T16:00:41.613" v="5561" actId="478"/>
          <ac:cxnSpMkLst>
            <pc:docMk/>
            <pc:sldMk cId="256845988" sldId="497"/>
            <ac:cxnSpMk id="90" creationId="{17042BF6-43BD-4483-9E73-C8BDAC71E06D}"/>
          </ac:cxnSpMkLst>
        </pc:cxnChg>
        <pc:cxnChg chg="del mod">
          <ac:chgData name="MOUAMMAR Matthieu" userId="a28de245-dc05-4206-b24f-6f403ed1344a" providerId="ADAL" clId="{97AE8C35-2375-40D4-8F09-DBC209B3CDBF}" dt="2021-03-06T16:00:41.613" v="5561" actId="478"/>
          <ac:cxnSpMkLst>
            <pc:docMk/>
            <pc:sldMk cId="256845988" sldId="497"/>
            <ac:cxnSpMk id="91" creationId="{27E89C2F-169A-48AF-B715-5D043E5A0529}"/>
          </ac:cxnSpMkLst>
        </pc:cxnChg>
        <pc:cxnChg chg="del mod">
          <ac:chgData name="MOUAMMAR Matthieu" userId="a28de245-dc05-4206-b24f-6f403ed1344a" providerId="ADAL" clId="{97AE8C35-2375-40D4-8F09-DBC209B3CDBF}" dt="2021-03-06T16:00:41.613" v="5561" actId="478"/>
          <ac:cxnSpMkLst>
            <pc:docMk/>
            <pc:sldMk cId="256845988" sldId="497"/>
            <ac:cxnSpMk id="92" creationId="{A2259F7F-D8B0-454E-8E72-48BCE67094E8}"/>
          </ac:cxnSpMkLst>
        </pc:cxnChg>
        <pc:cxnChg chg="del mod">
          <ac:chgData name="MOUAMMAR Matthieu" userId="a28de245-dc05-4206-b24f-6f403ed1344a" providerId="ADAL" clId="{97AE8C35-2375-40D4-8F09-DBC209B3CDBF}" dt="2021-03-06T16:00:41.613" v="5561" actId="478"/>
          <ac:cxnSpMkLst>
            <pc:docMk/>
            <pc:sldMk cId="256845988" sldId="497"/>
            <ac:cxnSpMk id="94" creationId="{374D13CA-E9EE-49FF-96A9-BEC1B2CAE5C3}"/>
          </ac:cxnSpMkLst>
        </pc:cxnChg>
        <pc:cxnChg chg="del mod">
          <ac:chgData name="MOUAMMAR Matthieu" userId="a28de245-dc05-4206-b24f-6f403ed1344a" providerId="ADAL" clId="{97AE8C35-2375-40D4-8F09-DBC209B3CDBF}" dt="2021-03-06T16:00:59.077" v="5573" actId="478"/>
          <ac:cxnSpMkLst>
            <pc:docMk/>
            <pc:sldMk cId="256845988" sldId="497"/>
            <ac:cxnSpMk id="98" creationId="{C4846264-5DAF-4786-AE49-89798447CE2F}"/>
          </ac:cxnSpMkLst>
        </pc:cxnChg>
        <pc:cxnChg chg="del mod">
          <ac:chgData name="MOUAMMAR Matthieu" userId="a28de245-dc05-4206-b24f-6f403ed1344a" providerId="ADAL" clId="{97AE8C35-2375-40D4-8F09-DBC209B3CDBF}" dt="2021-03-06T16:00:41.613" v="5561" actId="478"/>
          <ac:cxnSpMkLst>
            <pc:docMk/>
            <pc:sldMk cId="256845988" sldId="497"/>
            <ac:cxnSpMk id="100" creationId="{6EB53092-F3CA-414A-A0C5-55CF7B6CD92E}"/>
          </ac:cxnSpMkLst>
        </pc:cxnChg>
        <pc:cxnChg chg="del mod">
          <ac:chgData name="MOUAMMAR Matthieu" userId="a28de245-dc05-4206-b24f-6f403ed1344a" providerId="ADAL" clId="{97AE8C35-2375-40D4-8F09-DBC209B3CDBF}" dt="2021-03-06T16:00:41.613" v="5561" actId="478"/>
          <ac:cxnSpMkLst>
            <pc:docMk/>
            <pc:sldMk cId="256845988" sldId="497"/>
            <ac:cxnSpMk id="102" creationId="{4A70BD01-F6FD-4ECE-80C1-A3F79CB4BA27}"/>
          </ac:cxnSpMkLst>
        </pc:cxnChg>
        <pc:cxnChg chg="del">
          <ac:chgData name="MOUAMMAR Matthieu" userId="a28de245-dc05-4206-b24f-6f403ed1344a" providerId="ADAL" clId="{97AE8C35-2375-40D4-8F09-DBC209B3CDBF}" dt="2021-03-06T16:00:41.613" v="5561" actId="478"/>
          <ac:cxnSpMkLst>
            <pc:docMk/>
            <pc:sldMk cId="256845988" sldId="497"/>
            <ac:cxnSpMk id="103" creationId="{AC6E978B-B3E8-4FB9-8BFA-EA3E672041DE}"/>
          </ac:cxnSpMkLst>
        </pc:cxnChg>
        <pc:cxnChg chg="del mod">
          <ac:chgData name="MOUAMMAR Matthieu" userId="a28de245-dc05-4206-b24f-6f403ed1344a" providerId="ADAL" clId="{97AE8C35-2375-40D4-8F09-DBC209B3CDBF}" dt="2021-03-06T16:01:00.459" v="5575" actId="478"/>
          <ac:cxnSpMkLst>
            <pc:docMk/>
            <pc:sldMk cId="256845988" sldId="497"/>
            <ac:cxnSpMk id="105" creationId="{0E77E8EC-DB41-4425-9A92-B576FD5F5820}"/>
          </ac:cxnSpMkLst>
        </pc:cxnChg>
      </pc:sldChg>
      <pc:sldChg chg="addSp delSp modSp add mod modAnim">
        <pc:chgData name="MOUAMMAR Matthieu" userId="a28de245-dc05-4206-b24f-6f403ed1344a" providerId="ADAL" clId="{97AE8C35-2375-40D4-8F09-DBC209B3CDBF}" dt="2021-03-06T16:06:13.960" v="5720" actId="1076"/>
        <pc:sldMkLst>
          <pc:docMk/>
          <pc:sldMk cId="2136541373" sldId="498"/>
        </pc:sldMkLst>
        <pc:spChg chg="mod">
          <ac:chgData name="MOUAMMAR Matthieu" userId="a28de245-dc05-4206-b24f-6f403ed1344a" providerId="ADAL" clId="{97AE8C35-2375-40D4-8F09-DBC209B3CDBF}" dt="2021-03-06T16:04:58.142" v="5703" actId="20577"/>
          <ac:spMkLst>
            <pc:docMk/>
            <pc:sldMk cId="2136541373" sldId="498"/>
            <ac:spMk id="5" creationId="{00000000-0000-0000-0000-000000000000}"/>
          </ac:spMkLst>
        </pc:spChg>
        <pc:spChg chg="mod">
          <ac:chgData name="MOUAMMAR Matthieu" userId="a28de245-dc05-4206-b24f-6f403ed1344a" providerId="ADAL" clId="{97AE8C35-2375-40D4-8F09-DBC209B3CDBF}" dt="2021-03-06T16:05:40.379" v="5711" actId="14100"/>
          <ac:spMkLst>
            <pc:docMk/>
            <pc:sldMk cId="2136541373" sldId="498"/>
            <ac:spMk id="15" creationId="{A4992FC0-985C-41FF-B8BC-B8D2CDAE8D33}"/>
          </ac:spMkLst>
        </pc:spChg>
        <pc:spChg chg="add mod">
          <ac:chgData name="MOUAMMAR Matthieu" userId="a28de245-dc05-4206-b24f-6f403ed1344a" providerId="ADAL" clId="{97AE8C35-2375-40D4-8F09-DBC209B3CDBF}" dt="2021-03-06T16:06:06.244" v="5719" actId="164"/>
          <ac:spMkLst>
            <pc:docMk/>
            <pc:sldMk cId="2136541373" sldId="498"/>
            <ac:spMk id="16" creationId="{F244FFD8-F401-4DEE-A87F-DAA44ABD7466}"/>
          </ac:spMkLst>
        </pc:spChg>
        <pc:spChg chg="add mod">
          <ac:chgData name="MOUAMMAR Matthieu" userId="a28de245-dc05-4206-b24f-6f403ed1344a" providerId="ADAL" clId="{97AE8C35-2375-40D4-8F09-DBC209B3CDBF}" dt="2021-03-06T16:06:06.244" v="5719" actId="164"/>
          <ac:spMkLst>
            <pc:docMk/>
            <pc:sldMk cId="2136541373" sldId="498"/>
            <ac:spMk id="17" creationId="{83F4DBCC-182C-40B7-935B-B95EA74D99B7}"/>
          </ac:spMkLst>
        </pc:spChg>
        <pc:spChg chg="del">
          <ac:chgData name="MOUAMMAR Matthieu" userId="a28de245-dc05-4206-b24f-6f403ed1344a" providerId="ADAL" clId="{97AE8C35-2375-40D4-8F09-DBC209B3CDBF}" dt="2021-03-06T16:05:11.864" v="5705" actId="478"/>
          <ac:spMkLst>
            <pc:docMk/>
            <pc:sldMk cId="2136541373" sldId="498"/>
            <ac:spMk id="18" creationId="{A3EA8172-7CDE-4459-B9A3-A8C201193A61}"/>
          </ac:spMkLst>
        </pc:spChg>
        <pc:spChg chg="add mod">
          <ac:chgData name="MOUAMMAR Matthieu" userId="a28de245-dc05-4206-b24f-6f403ed1344a" providerId="ADAL" clId="{97AE8C35-2375-40D4-8F09-DBC209B3CDBF}" dt="2021-03-06T16:06:06.244" v="5719" actId="164"/>
          <ac:spMkLst>
            <pc:docMk/>
            <pc:sldMk cId="2136541373" sldId="498"/>
            <ac:spMk id="22" creationId="{8E3C165C-7FC3-4501-B3A9-C5B62A7FC5EE}"/>
          </ac:spMkLst>
        </pc:spChg>
        <pc:spChg chg="add mod">
          <ac:chgData name="MOUAMMAR Matthieu" userId="a28de245-dc05-4206-b24f-6f403ed1344a" providerId="ADAL" clId="{97AE8C35-2375-40D4-8F09-DBC209B3CDBF}" dt="2021-03-06T16:06:06.244" v="5719" actId="164"/>
          <ac:spMkLst>
            <pc:docMk/>
            <pc:sldMk cId="2136541373" sldId="498"/>
            <ac:spMk id="23" creationId="{C59A3541-5C42-4F38-8265-58EDA6EFBFB3}"/>
          </ac:spMkLst>
        </pc:spChg>
        <pc:spChg chg="add mod">
          <ac:chgData name="MOUAMMAR Matthieu" userId="a28de245-dc05-4206-b24f-6f403ed1344a" providerId="ADAL" clId="{97AE8C35-2375-40D4-8F09-DBC209B3CDBF}" dt="2021-03-06T16:06:06.244" v="5719" actId="164"/>
          <ac:spMkLst>
            <pc:docMk/>
            <pc:sldMk cId="2136541373" sldId="498"/>
            <ac:spMk id="25" creationId="{B963E08D-BD26-43A5-98C4-270622959C4D}"/>
          </ac:spMkLst>
        </pc:spChg>
        <pc:spChg chg="add mod">
          <ac:chgData name="MOUAMMAR Matthieu" userId="a28de245-dc05-4206-b24f-6f403ed1344a" providerId="ADAL" clId="{97AE8C35-2375-40D4-8F09-DBC209B3CDBF}" dt="2021-03-06T16:06:06.244" v="5719" actId="164"/>
          <ac:spMkLst>
            <pc:docMk/>
            <pc:sldMk cId="2136541373" sldId="498"/>
            <ac:spMk id="26" creationId="{CA783C3D-FE2E-42FB-8F85-0A6A2DC2C324}"/>
          </ac:spMkLst>
        </pc:spChg>
        <pc:spChg chg="add mod">
          <ac:chgData name="MOUAMMAR Matthieu" userId="a28de245-dc05-4206-b24f-6f403ed1344a" providerId="ADAL" clId="{97AE8C35-2375-40D4-8F09-DBC209B3CDBF}" dt="2021-03-06T16:06:06.244" v="5719" actId="164"/>
          <ac:spMkLst>
            <pc:docMk/>
            <pc:sldMk cId="2136541373" sldId="498"/>
            <ac:spMk id="28" creationId="{42FB008E-21B2-4FF0-AAF1-2F51699787E7}"/>
          </ac:spMkLst>
        </pc:spChg>
        <pc:spChg chg="add mod">
          <ac:chgData name="MOUAMMAR Matthieu" userId="a28de245-dc05-4206-b24f-6f403ed1344a" providerId="ADAL" clId="{97AE8C35-2375-40D4-8F09-DBC209B3CDBF}" dt="2021-03-06T16:06:06.244" v="5719" actId="164"/>
          <ac:spMkLst>
            <pc:docMk/>
            <pc:sldMk cId="2136541373" sldId="498"/>
            <ac:spMk id="29" creationId="{B1811DC8-CA96-41AC-AA70-53D549606C13}"/>
          </ac:spMkLst>
        </pc:spChg>
        <pc:spChg chg="add mod">
          <ac:chgData name="MOUAMMAR Matthieu" userId="a28de245-dc05-4206-b24f-6f403ed1344a" providerId="ADAL" clId="{97AE8C35-2375-40D4-8F09-DBC209B3CDBF}" dt="2021-03-06T16:06:06.244" v="5719" actId="164"/>
          <ac:spMkLst>
            <pc:docMk/>
            <pc:sldMk cId="2136541373" sldId="498"/>
            <ac:spMk id="30" creationId="{670AD4FA-786A-413D-AD12-B0470DB9A7AA}"/>
          </ac:spMkLst>
        </pc:spChg>
        <pc:spChg chg="add mod">
          <ac:chgData name="MOUAMMAR Matthieu" userId="a28de245-dc05-4206-b24f-6f403ed1344a" providerId="ADAL" clId="{97AE8C35-2375-40D4-8F09-DBC209B3CDBF}" dt="2021-03-06T16:06:06.244" v="5719" actId="164"/>
          <ac:spMkLst>
            <pc:docMk/>
            <pc:sldMk cId="2136541373" sldId="498"/>
            <ac:spMk id="31" creationId="{FA641A91-1072-432E-B38C-1D48F10EA693}"/>
          </ac:spMkLst>
        </pc:spChg>
        <pc:spChg chg="add mod">
          <ac:chgData name="MOUAMMAR Matthieu" userId="a28de245-dc05-4206-b24f-6f403ed1344a" providerId="ADAL" clId="{97AE8C35-2375-40D4-8F09-DBC209B3CDBF}" dt="2021-03-06T16:06:06.244" v="5719" actId="164"/>
          <ac:spMkLst>
            <pc:docMk/>
            <pc:sldMk cId="2136541373" sldId="498"/>
            <ac:spMk id="32" creationId="{58A2E972-8E1B-4868-94D3-AFC919F41806}"/>
          </ac:spMkLst>
        </pc:spChg>
        <pc:spChg chg="add mod">
          <ac:chgData name="MOUAMMAR Matthieu" userId="a28de245-dc05-4206-b24f-6f403ed1344a" providerId="ADAL" clId="{97AE8C35-2375-40D4-8F09-DBC209B3CDBF}" dt="2021-03-06T16:06:06.244" v="5719" actId="164"/>
          <ac:spMkLst>
            <pc:docMk/>
            <pc:sldMk cId="2136541373" sldId="498"/>
            <ac:spMk id="33" creationId="{60865D06-20B8-4FA8-93F2-8D03921E2BAA}"/>
          </ac:spMkLst>
        </pc:spChg>
        <pc:grpChg chg="add mod">
          <ac:chgData name="MOUAMMAR Matthieu" userId="a28de245-dc05-4206-b24f-6f403ed1344a" providerId="ADAL" clId="{97AE8C35-2375-40D4-8F09-DBC209B3CDBF}" dt="2021-03-06T16:06:13.960" v="5720" actId="1076"/>
          <ac:grpSpMkLst>
            <pc:docMk/>
            <pc:sldMk cId="2136541373" sldId="498"/>
            <ac:grpSpMk id="2" creationId="{C285322F-8537-49E7-AC33-D90A1A9D0D8F}"/>
          </ac:grpSpMkLst>
        </pc:grpChg>
        <pc:picChg chg="add del mod">
          <ac:chgData name="MOUAMMAR Matthieu" userId="a28de245-dc05-4206-b24f-6f403ed1344a" providerId="ADAL" clId="{97AE8C35-2375-40D4-8F09-DBC209B3CDBF}" dt="2021-03-06T16:05:59.446" v="5717"/>
          <ac:picMkLst>
            <pc:docMk/>
            <pc:sldMk cId="2136541373" sldId="498"/>
            <ac:picMk id="10" creationId="{1E73A1EB-FDAD-4E52-AD33-BC76C5CFD349}"/>
          </ac:picMkLst>
        </pc:picChg>
        <pc:picChg chg="add del mod">
          <ac:chgData name="MOUAMMAR Matthieu" userId="a28de245-dc05-4206-b24f-6f403ed1344a" providerId="ADAL" clId="{97AE8C35-2375-40D4-8F09-DBC209B3CDBF}" dt="2021-03-06T16:05:59.446" v="5717"/>
          <ac:picMkLst>
            <pc:docMk/>
            <pc:sldMk cId="2136541373" sldId="498"/>
            <ac:picMk id="11" creationId="{E2B0C5C4-D30F-4628-95AA-5C23BD60FB1A}"/>
          </ac:picMkLst>
        </pc:picChg>
        <pc:picChg chg="add del mod">
          <ac:chgData name="MOUAMMAR Matthieu" userId="a28de245-dc05-4206-b24f-6f403ed1344a" providerId="ADAL" clId="{97AE8C35-2375-40D4-8F09-DBC209B3CDBF}" dt="2021-03-06T16:05:59.446" v="5717"/>
          <ac:picMkLst>
            <pc:docMk/>
            <pc:sldMk cId="2136541373" sldId="498"/>
            <ac:picMk id="12" creationId="{E6E6A113-7E78-44CA-B901-0267080170FE}"/>
          </ac:picMkLst>
        </pc:picChg>
        <pc:picChg chg="add del mod">
          <ac:chgData name="MOUAMMAR Matthieu" userId="a28de245-dc05-4206-b24f-6f403ed1344a" providerId="ADAL" clId="{97AE8C35-2375-40D4-8F09-DBC209B3CDBF}" dt="2021-03-06T16:05:59.446" v="5717"/>
          <ac:picMkLst>
            <pc:docMk/>
            <pc:sldMk cId="2136541373" sldId="498"/>
            <ac:picMk id="13" creationId="{B034A87B-6F51-4A29-BA52-576355A1D77F}"/>
          </ac:picMkLst>
        </pc:picChg>
        <pc:picChg chg="add mod">
          <ac:chgData name="MOUAMMAR Matthieu" userId="a28de245-dc05-4206-b24f-6f403ed1344a" providerId="ADAL" clId="{97AE8C35-2375-40D4-8F09-DBC209B3CDBF}" dt="2021-03-06T16:06:06.244" v="5719" actId="164"/>
          <ac:picMkLst>
            <pc:docMk/>
            <pc:sldMk cId="2136541373" sldId="498"/>
            <ac:picMk id="14" creationId="{43985771-0225-4F69-B711-B24163208D00}"/>
          </ac:picMkLst>
        </pc:picChg>
        <pc:picChg chg="del">
          <ac:chgData name="MOUAMMAR Matthieu" userId="a28de245-dc05-4206-b24f-6f403ed1344a" providerId="ADAL" clId="{97AE8C35-2375-40D4-8F09-DBC209B3CDBF}" dt="2021-03-06T16:05:12.403" v="5706" actId="478"/>
          <ac:picMkLst>
            <pc:docMk/>
            <pc:sldMk cId="2136541373" sldId="498"/>
            <ac:picMk id="19" creationId="{FA8890DB-49B0-4A76-BBDA-D1709442DA4C}"/>
          </ac:picMkLst>
        </pc:picChg>
        <pc:picChg chg="del">
          <ac:chgData name="MOUAMMAR Matthieu" userId="a28de245-dc05-4206-b24f-6f403ed1344a" providerId="ADAL" clId="{97AE8C35-2375-40D4-8F09-DBC209B3CDBF}" dt="2021-03-06T16:05:12.850" v="5707" actId="478"/>
          <ac:picMkLst>
            <pc:docMk/>
            <pc:sldMk cId="2136541373" sldId="498"/>
            <ac:picMk id="20" creationId="{4B2DAC3F-F5C0-4A60-8119-8B878444C5F4}"/>
          </ac:picMkLst>
        </pc:picChg>
        <pc:picChg chg="add mod">
          <ac:chgData name="MOUAMMAR Matthieu" userId="a28de245-dc05-4206-b24f-6f403ed1344a" providerId="ADAL" clId="{97AE8C35-2375-40D4-8F09-DBC209B3CDBF}" dt="2021-03-06T16:06:06.244" v="5719" actId="164"/>
          <ac:picMkLst>
            <pc:docMk/>
            <pc:sldMk cId="2136541373" sldId="498"/>
            <ac:picMk id="21" creationId="{FEEB84F3-216D-4DEE-9044-CA9C35AE7313}"/>
          </ac:picMkLst>
        </pc:picChg>
        <pc:picChg chg="add mod">
          <ac:chgData name="MOUAMMAR Matthieu" userId="a28de245-dc05-4206-b24f-6f403ed1344a" providerId="ADAL" clId="{97AE8C35-2375-40D4-8F09-DBC209B3CDBF}" dt="2021-03-06T16:06:06.244" v="5719" actId="164"/>
          <ac:picMkLst>
            <pc:docMk/>
            <pc:sldMk cId="2136541373" sldId="498"/>
            <ac:picMk id="24" creationId="{02D5FF05-D2B8-446B-BCB4-CA2478D52C75}"/>
          </ac:picMkLst>
        </pc:picChg>
        <pc:picChg chg="add mod">
          <ac:chgData name="MOUAMMAR Matthieu" userId="a28de245-dc05-4206-b24f-6f403ed1344a" providerId="ADAL" clId="{97AE8C35-2375-40D4-8F09-DBC209B3CDBF}" dt="2021-03-06T16:06:06.244" v="5719" actId="164"/>
          <ac:picMkLst>
            <pc:docMk/>
            <pc:sldMk cId="2136541373" sldId="498"/>
            <ac:picMk id="27" creationId="{B1FEB06D-FBF2-4D7B-8064-4EB72BCE2F38}"/>
          </ac:picMkLst>
        </pc:picChg>
      </pc:sldChg>
      <pc:sldChg chg="addSp delSp modSp add mod delAnim modAnim">
        <pc:chgData name="MOUAMMAR Matthieu" userId="a28de245-dc05-4206-b24f-6f403ed1344a" providerId="ADAL" clId="{97AE8C35-2375-40D4-8F09-DBC209B3CDBF}" dt="2021-03-06T16:10:52.800" v="5757" actId="1076"/>
        <pc:sldMkLst>
          <pc:docMk/>
          <pc:sldMk cId="334476167" sldId="499"/>
        </pc:sldMkLst>
        <pc:spChg chg="add del mod">
          <ac:chgData name="MOUAMMAR Matthieu" userId="a28de245-dc05-4206-b24f-6f403ed1344a" providerId="ADAL" clId="{97AE8C35-2375-40D4-8F09-DBC209B3CDBF}" dt="2021-03-06T16:09:27.034" v="5742" actId="478"/>
          <ac:spMkLst>
            <pc:docMk/>
            <pc:sldMk cId="334476167" sldId="499"/>
            <ac:spMk id="9" creationId="{F6489DD6-0855-4350-B994-7E5BF9C15BF0}"/>
          </ac:spMkLst>
        </pc:spChg>
        <pc:spChg chg="add del mod">
          <ac:chgData name="MOUAMMAR Matthieu" userId="a28de245-dc05-4206-b24f-6f403ed1344a" providerId="ADAL" clId="{97AE8C35-2375-40D4-8F09-DBC209B3CDBF}" dt="2021-03-06T16:09:25.351" v="5741" actId="478"/>
          <ac:spMkLst>
            <pc:docMk/>
            <pc:sldMk cId="334476167" sldId="499"/>
            <ac:spMk id="10" creationId="{10C24AFC-3BCC-48A5-9917-575192010AF2}"/>
          </ac:spMkLst>
        </pc:spChg>
        <pc:spChg chg="add del mod">
          <ac:chgData name="MOUAMMAR Matthieu" userId="a28de245-dc05-4206-b24f-6f403ed1344a" providerId="ADAL" clId="{97AE8C35-2375-40D4-8F09-DBC209B3CDBF}" dt="2021-03-06T16:08:52.958" v="5739"/>
          <ac:spMkLst>
            <pc:docMk/>
            <pc:sldMk cId="334476167" sldId="499"/>
            <ac:spMk id="14" creationId="{C9071370-3CEF-41C7-90FE-C56E4537A244}"/>
          </ac:spMkLst>
        </pc:spChg>
        <pc:spChg chg="add del mod">
          <ac:chgData name="MOUAMMAR Matthieu" userId="a28de245-dc05-4206-b24f-6f403ed1344a" providerId="ADAL" clId="{97AE8C35-2375-40D4-8F09-DBC209B3CDBF}" dt="2021-03-06T16:10:18.279" v="5749" actId="478"/>
          <ac:spMkLst>
            <pc:docMk/>
            <pc:sldMk cId="334476167" sldId="499"/>
            <ac:spMk id="15" creationId="{358208B1-F809-4DF2-9904-F0D38CF94290}"/>
          </ac:spMkLst>
        </pc:spChg>
        <pc:spChg chg="add del mod">
          <ac:chgData name="MOUAMMAR Matthieu" userId="a28de245-dc05-4206-b24f-6f403ed1344a" providerId="ADAL" clId="{97AE8C35-2375-40D4-8F09-DBC209B3CDBF}" dt="2021-03-06T16:09:38.092" v="5744" actId="478"/>
          <ac:spMkLst>
            <pc:docMk/>
            <pc:sldMk cId="334476167" sldId="499"/>
            <ac:spMk id="16" creationId="{1BBA0A6F-E160-4E2D-80DA-F5C66925B537}"/>
          </ac:spMkLst>
        </pc:spChg>
        <pc:spChg chg="add del mod">
          <ac:chgData name="MOUAMMAR Matthieu" userId="a28de245-dc05-4206-b24f-6f403ed1344a" providerId="ADAL" clId="{97AE8C35-2375-40D4-8F09-DBC209B3CDBF}" dt="2021-03-06T16:09:36.722" v="5743" actId="478"/>
          <ac:spMkLst>
            <pc:docMk/>
            <pc:sldMk cId="334476167" sldId="499"/>
            <ac:spMk id="17" creationId="{9F234ADF-95FB-4213-8AB5-BCE7001BA516}"/>
          </ac:spMkLst>
        </pc:spChg>
        <pc:spChg chg="add del mod">
          <ac:chgData name="MOUAMMAR Matthieu" userId="a28de245-dc05-4206-b24f-6f403ed1344a" providerId="ADAL" clId="{97AE8C35-2375-40D4-8F09-DBC209B3CDBF}" dt="2021-03-06T16:10:20.189" v="5750" actId="478"/>
          <ac:spMkLst>
            <pc:docMk/>
            <pc:sldMk cId="334476167" sldId="499"/>
            <ac:spMk id="18" creationId="{1E479D00-4265-45CE-97B4-DB8344DAB512}"/>
          </ac:spMkLst>
        </pc:spChg>
        <pc:spChg chg="add mod">
          <ac:chgData name="MOUAMMAR Matthieu" userId="a28de245-dc05-4206-b24f-6f403ed1344a" providerId="ADAL" clId="{97AE8C35-2375-40D4-8F09-DBC209B3CDBF}" dt="2021-03-06T16:10:29.387" v="5752" actId="164"/>
          <ac:spMkLst>
            <pc:docMk/>
            <pc:sldMk cId="334476167" sldId="499"/>
            <ac:spMk id="20" creationId="{A7E0E0BF-96F8-472E-BF54-10CB2C463E31}"/>
          </ac:spMkLst>
        </pc:spChg>
        <pc:spChg chg="add mod">
          <ac:chgData name="MOUAMMAR Matthieu" userId="a28de245-dc05-4206-b24f-6f403ed1344a" providerId="ADAL" clId="{97AE8C35-2375-40D4-8F09-DBC209B3CDBF}" dt="2021-03-06T16:10:29.387" v="5752" actId="164"/>
          <ac:spMkLst>
            <pc:docMk/>
            <pc:sldMk cId="334476167" sldId="499"/>
            <ac:spMk id="21" creationId="{48E97518-AC05-4E69-93A4-BE0B7C548132}"/>
          </ac:spMkLst>
        </pc:spChg>
        <pc:spChg chg="add mod">
          <ac:chgData name="MOUAMMAR Matthieu" userId="a28de245-dc05-4206-b24f-6f403ed1344a" providerId="ADAL" clId="{97AE8C35-2375-40D4-8F09-DBC209B3CDBF}" dt="2021-03-06T16:09:55.050" v="5746" actId="208"/>
          <ac:spMkLst>
            <pc:docMk/>
            <pc:sldMk cId="334476167" sldId="499"/>
            <ac:spMk id="22" creationId="{4722157D-A328-46EB-B991-B42CF3F0CA0D}"/>
          </ac:spMkLst>
        </pc:spChg>
        <pc:spChg chg="add mod">
          <ac:chgData name="MOUAMMAR Matthieu" userId="a28de245-dc05-4206-b24f-6f403ed1344a" providerId="ADAL" clId="{97AE8C35-2375-40D4-8F09-DBC209B3CDBF}" dt="2021-03-06T16:10:52.800" v="5757" actId="1076"/>
          <ac:spMkLst>
            <pc:docMk/>
            <pc:sldMk cId="334476167" sldId="499"/>
            <ac:spMk id="23" creationId="{7DEBA76C-34BE-4354-9D48-95176BA0137A}"/>
          </ac:spMkLst>
        </pc:spChg>
        <pc:spChg chg="add del mod">
          <ac:chgData name="MOUAMMAR Matthieu" userId="a28de245-dc05-4206-b24f-6f403ed1344a" providerId="ADAL" clId="{97AE8C35-2375-40D4-8F09-DBC209B3CDBF}" dt="2021-03-06T16:10:22.318" v="5751" actId="478"/>
          <ac:spMkLst>
            <pc:docMk/>
            <pc:sldMk cId="334476167" sldId="499"/>
            <ac:spMk id="25" creationId="{443F583F-1765-44FE-8181-2EFC1BEA0029}"/>
          </ac:spMkLst>
        </pc:spChg>
        <pc:grpChg chg="add mod">
          <ac:chgData name="MOUAMMAR Matthieu" userId="a28de245-dc05-4206-b24f-6f403ed1344a" providerId="ADAL" clId="{97AE8C35-2375-40D4-8F09-DBC209B3CDBF}" dt="2021-03-06T16:10:42.578" v="5755" actId="1076"/>
          <ac:grpSpMkLst>
            <pc:docMk/>
            <pc:sldMk cId="334476167" sldId="499"/>
            <ac:grpSpMk id="26" creationId="{631CA4D8-643B-4D36-B6F2-2B316518AE3D}"/>
          </ac:grpSpMkLst>
        </pc:grpChg>
        <pc:picChg chg="del">
          <ac:chgData name="MOUAMMAR Matthieu" userId="a28de245-dc05-4206-b24f-6f403ed1344a" providerId="ADAL" clId="{97AE8C35-2375-40D4-8F09-DBC209B3CDBF}" dt="2021-03-06T16:07:16.708" v="5722" actId="478"/>
          <ac:picMkLst>
            <pc:docMk/>
            <pc:sldMk cId="334476167" sldId="499"/>
            <ac:picMk id="7" creationId="{E04C311E-E58C-47D0-9B3F-E4DE9A0F35FB}"/>
          </ac:picMkLst>
        </pc:picChg>
        <pc:picChg chg="add del mod">
          <ac:chgData name="MOUAMMAR Matthieu" userId="a28de245-dc05-4206-b24f-6f403ed1344a" providerId="ADAL" clId="{97AE8C35-2375-40D4-8F09-DBC209B3CDBF}" dt="2021-03-06T16:08:11.219" v="5729" actId="478"/>
          <ac:picMkLst>
            <pc:docMk/>
            <pc:sldMk cId="334476167" sldId="499"/>
            <ac:picMk id="8" creationId="{7EE8AE3D-9EF3-4CC1-980E-A7D3FD0AED15}"/>
          </ac:picMkLst>
        </pc:picChg>
        <pc:picChg chg="add del mod">
          <ac:chgData name="MOUAMMAR Matthieu" userId="a28de245-dc05-4206-b24f-6f403ed1344a" providerId="ADAL" clId="{97AE8C35-2375-40D4-8F09-DBC209B3CDBF}" dt="2021-03-06T16:08:23.383" v="5735"/>
          <ac:picMkLst>
            <pc:docMk/>
            <pc:sldMk cId="334476167" sldId="499"/>
            <ac:picMk id="11" creationId="{D2DEF037-6147-4958-A8B3-19F4909CCD33}"/>
          </ac:picMkLst>
        </pc:picChg>
        <pc:picChg chg="add del mod">
          <ac:chgData name="MOUAMMAR Matthieu" userId="a28de245-dc05-4206-b24f-6f403ed1344a" providerId="ADAL" clId="{97AE8C35-2375-40D4-8F09-DBC209B3CDBF}" dt="2021-03-06T16:08:22.696" v="5733"/>
          <ac:picMkLst>
            <pc:docMk/>
            <pc:sldMk cId="334476167" sldId="499"/>
            <ac:picMk id="12" creationId="{2776DE06-FC8C-4D6D-9448-AEB05097074A}"/>
          </ac:picMkLst>
        </pc:picChg>
        <pc:picChg chg="add del mod">
          <ac:chgData name="MOUAMMAR Matthieu" userId="a28de245-dc05-4206-b24f-6f403ed1344a" providerId="ADAL" clId="{97AE8C35-2375-40D4-8F09-DBC209B3CDBF}" dt="2021-03-06T16:08:52.958" v="5739"/>
          <ac:picMkLst>
            <pc:docMk/>
            <pc:sldMk cId="334476167" sldId="499"/>
            <ac:picMk id="13" creationId="{E931DC96-B82C-49AD-9AB0-A62B9566D184}"/>
          </ac:picMkLst>
        </pc:picChg>
        <pc:picChg chg="add mod">
          <ac:chgData name="MOUAMMAR Matthieu" userId="a28de245-dc05-4206-b24f-6f403ed1344a" providerId="ADAL" clId="{97AE8C35-2375-40D4-8F09-DBC209B3CDBF}" dt="2021-03-06T16:10:29.387" v="5752" actId="164"/>
          <ac:picMkLst>
            <pc:docMk/>
            <pc:sldMk cId="334476167" sldId="499"/>
            <ac:picMk id="19" creationId="{4ED9F2D8-D9E2-4384-901E-B46B9A6E2C7F}"/>
          </ac:picMkLst>
        </pc:picChg>
        <pc:picChg chg="add mod">
          <ac:chgData name="MOUAMMAR Matthieu" userId="a28de245-dc05-4206-b24f-6f403ed1344a" providerId="ADAL" clId="{97AE8C35-2375-40D4-8F09-DBC209B3CDBF}" dt="2021-03-06T16:09:14.805" v="5740"/>
          <ac:picMkLst>
            <pc:docMk/>
            <pc:sldMk cId="334476167" sldId="499"/>
            <ac:picMk id="24" creationId="{05BBE8A5-5B58-4E63-B788-F2C99D4A0B3E}"/>
          </ac:picMkLst>
        </pc:picChg>
      </pc:sldChg>
      <pc:sldChg chg="addSp delSp modSp add mod delAnim modAnim">
        <pc:chgData name="MOUAMMAR Matthieu" userId="a28de245-dc05-4206-b24f-6f403ed1344a" providerId="ADAL" clId="{97AE8C35-2375-40D4-8F09-DBC209B3CDBF}" dt="2021-03-06T16:15:37.477" v="5787" actId="20577"/>
        <pc:sldMkLst>
          <pc:docMk/>
          <pc:sldMk cId="2744577325" sldId="500"/>
        </pc:sldMkLst>
        <pc:spChg chg="mod">
          <ac:chgData name="MOUAMMAR Matthieu" userId="a28de245-dc05-4206-b24f-6f403ed1344a" providerId="ADAL" clId="{97AE8C35-2375-40D4-8F09-DBC209B3CDBF}" dt="2021-03-06T16:15:37.477" v="5787" actId="20577"/>
          <ac:spMkLst>
            <pc:docMk/>
            <pc:sldMk cId="2744577325" sldId="500"/>
            <ac:spMk id="5" creationId="{00000000-0000-0000-0000-000000000000}"/>
          </ac:spMkLst>
        </pc:spChg>
        <pc:spChg chg="add mod ord">
          <ac:chgData name="MOUAMMAR Matthieu" userId="a28de245-dc05-4206-b24f-6f403ed1344a" providerId="ADAL" clId="{97AE8C35-2375-40D4-8F09-DBC209B3CDBF}" dt="2021-03-06T16:15:24.805" v="5786" actId="164"/>
          <ac:spMkLst>
            <pc:docMk/>
            <pc:sldMk cId="2744577325" sldId="500"/>
            <ac:spMk id="14" creationId="{E9B9875D-0069-4FC6-86E5-56EE1A62ACB9}"/>
          </ac:spMkLst>
        </pc:spChg>
        <pc:spChg chg="add mod ord">
          <ac:chgData name="MOUAMMAR Matthieu" userId="a28de245-dc05-4206-b24f-6f403ed1344a" providerId="ADAL" clId="{97AE8C35-2375-40D4-8F09-DBC209B3CDBF}" dt="2021-03-06T16:14:27.980" v="5781" actId="1076"/>
          <ac:spMkLst>
            <pc:docMk/>
            <pc:sldMk cId="2744577325" sldId="500"/>
            <ac:spMk id="15" creationId="{67F257A5-72BE-4255-8581-8D63B6AEC0D7}"/>
          </ac:spMkLst>
        </pc:spChg>
        <pc:spChg chg="add del mod">
          <ac:chgData name="MOUAMMAR Matthieu" userId="a28de245-dc05-4206-b24f-6f403ed1344a" providerId="ADAL" clId="{97AE8C35-2375-40D4-8F09-DBC209B3CDBF}" dt="2021-03-06T16:13:20.024" v="5766"/>
          <ac:spMkLst>
            <pc:docMk/>
            <pc:sldMk cId="2744577325" sldId="500"/>
            <ac:spMk id="16" creationId="{2B212AFA-8771-4BB1-906B-1D9FF0538CC8}"/>
          </ac:spMkLst>
        </pc:spChg>
        <pc:spChg chg="add del mod">
          <ac:chgData name="MOUAMMAR Matthieu" userId="a28de245-dc05-4206-b24f-6f403ed1344a" providerId="ADAL" clId="{97AE8C35-2375-40D4-8F09-DBC209B3CDBF}" dt="2021-03-06T16:13:20.024" v="5766"/>
          <ac:spMkLst>
            <pc:docMk/>
            <pc:sldMk cId="2744577325" sldId="500"/>
            <ac:spMk id="17" creationId="{97632063-57FA-4DF0-B3B9-9E9B4FAB09ED}"/>
          </ac:spMkLst>
        </pc:spChg>
        <pc:spChg chg="add del mod">
          <ac:chgData name="MOUAMMAR Matthieu" userId="a28de245-dc05-4206-b24f-6f403ed1344a" providerId="ADAL" clId="{97AE8C35-2375-40D4-8F09-DBC209B3CDBF}" dt="2021-03-06T16:13:20.024" v="5766"/>
          <ac:spMkLst>
            <pc:docMk/>
            <pc:sldMk cId="2744577325" sldId="500"/>
            <ac:spMk id="18" creationId="{DEC11BC3-0035-4574-8B0C-93301EBDC080}"/>
          </ac:spMkLst>
        </pc:spChg>
        <pc:spChg chg="del">
          <ac:chgData name="MOUAMMAR Matthieu" userId="a28de245-dc05-4206-b24f-6f403ed1344a" providerId="ADAL" clId="{97AE8C35-2375-40D4-8F09-DBC209B3CDBF}" dt="2021-03-06T16:12:35.086" v="5759" actId="478"/>
          <ac:spMkLst>
            <pc:docMk/>
            <pc:sldMk cId="2744577325" sldId="500"/>
            <ac:spMk id="22" creationId="{4722157D-A328-46EB-B991-B42CF3F0CA0D}"/>
          </ac:spMkLst>
        </pc:spChg>
        <pc:spChg chg="del">
          <ac:chgData name="MOUAMMAR Matthieu" userId="a28de245-dc05-4206-b24f-6f403ed1344a" providerId="ADAL" clId="{97AE8C35-2375-40D4-8F09-DBC209B3CDBF}" dt="2021-03-06T16:12:35.086" v="5759" actId="478"/>
          <ac:spMkLst>
            <pc:docMk/>
            <pc:sldMk cId="2744577325" sldId="500"/>
            <ac:spMk id="23" creationId="{7DEBA76C-34BE-4354-9D48-95176BA0137A}"/>
          </ac:spMkLst>
        </pc:spChg>
        <pc:spChg chg="add del mod">
          <ac:chgData name="MOUAMMAR Matthieu" userId="a28de245-dc05-4206-b24f-6f403ed1344a" providerId="ADAL" clId="{97AE8C35-2375-40D4-8F09-DBC209B3CDBF}" dt="2021-03-06T16:13:20.024" v="5766"/>
          <ac:spMkLst>
            <pc:docMk/>
            <pc:sldMk cId="2744577325" sldId="500"/>
            <ac:spMk id="27" creationId="{D73ACD51-3C03-4739-B56D-BE5BA6B21FD8}"/>
          </ac:spMkLst>
        </pc:spChg>
        <pc:spChg chg="add del mod">
          <ac:chgData name="MOUAMMAR Matthieu" userId="a28de245-dc05-4206-b24f-6f403ed1344a" providerId="ADAL" clId="{97AE8C35-2375-40D4-8F09-DBC209B3CDBF}" dt="2021-03-06T16:13:20.024" v="5766"/>
          <ac:spMkLst>
            <pc:docMk/>
            <pc:sldMk cId="2744577325" sldId="500"/>
            <ac:spMk id="28" creationId="{CE0F6E85-D244-4B67-8257-3C085F3B5D52}"/>
          </ac:spMkLst>
        </pc:spChg>
        <pc:spChg chg="add del mod">
          <ac:chgData name="MOUAMMAR Matthieu" userId="a28de245-dc05-4206-b24f-6f403ed1344a" providerId="ADAL" clId="{97AE8C35-2375-40D4-8F09-DBC209B3CDBF}" dt="2021-03-06T16:13:20.024" v="5766"/>
          <ac:spMkLst>
            <pc:docMk/>
            <pc:sldMk cId="2744577325" sldId="500"/>
            <ac:spMk id="29" creationId="{6B1BFA2E-24B9-4CBE-B72A-98C338887067}"/>
          </ac:spMkLst>
        </pc:spChg>
        <pc:spChg chg="add mod">
          <ac:chgData name="MOUAMMAR Matthieu" userId="a28de245-dc05-4206-b24f-6f403ed1344a" providerId="ADAL" clId="{97AE8C35-2375-40D4-8F09-DBC209B3CDBF}" dt="2021-03-06T16:15:24.805" v="5786" actId="164"/>
          <ac:spMkLst>
            <pc:docMk/>
            <pc:sldMk cId="2744577325" sldId="500"/>
            <ac:spMk id="30" creationId="{FCBA864B-DB87-4A60-A8DC-2D440B03A789}"/>
          </ac:spMkLst>
        </pc:spChg>
        <pc:spChg chg="add del mod">
          <ac:chgData name="MOUAMMAR Matthieu" userId="a28de245-dc05-4206-b24f-6f403ed1344a" providerId="ADAL" clId="{97AE8C35-2375-40D4-8F09-DBC209B3CDBF}" dt="2021-03-06T16:13:42.729" v="5770" actId="478"/>
          <ac:spMkLst>
            <pc:docMk/>
            <pc:sldMk cId="2744577325" sldId="500"/>
            <ac:spMk id="31" creationId="{D0DF46A4-2FAA-4CF8-8547-8BD5F95D580E}"/>
          </ac:spMkLst>
        </pc:spChg>
        <pc:grpChg chg="add mod">
          <ac:chgData name="MOUAMMAR Matthieu" userId="a28de245-dc05-4206-b24f-6f403ed1344a" providerId="ADAL" clId="{97AE8C35-2375-40D4-8F09-DBC209B3CDBF}" dt="2021-03-06T16:15:24.805" v="5786" actId="164"/>
          <ac:grpSpMkLst>
            <pc:docMk/>
            <pc:sldMk cId="2744577325" sldId="500"/>
            <ac:grpSpMk id="2" creationId="{28E09CB4-E580-461E-B8FC-D01DB3B17AE7}"/>
          </ac:grpSpMkLst>
        </pc:grpChg>
        <pc:grpChg chg="del">
          <ac:chgData name="MOUAMMAR Matthieu" userId="a28de245-dc05-4206-b24f-6f403ed1344a" providerId="ADAL" clId="{97AE8C35-2375-40D4-8F09-DBC209B3CDBF}" dt="2021-03-06T16:12:35.086" v="5759" actId="478"/>
          <ac:grpSpMkLst>
            <pc:docMk/>
            <pc:sldMk cId="2744577325" sldId="500"/>
            <ac:grpSpMk id="26" creationId="{631CA4D8-643B-4D36-B6F2-2B316518AE3D}"/>
          </ac:grpSpMkLst>
        </pc:grpChg>
        <pc:picChg chg="add mod">
          <ac:chgData name="MOUAMMAR Matthieu" userId="a28de245-dc05-4206-b24f-6f403ed1344a" providerId="ADAL" clId="{97AE8C35-2375-40D4-8F09-DBC209B3CDBF}" dt="2021-03-06T16:15:24.805" v="5786" actId="164"/>
          <ac:picMkLst>
            <pc:docMk/>
            <pc:sldMk cId="2744577325" sldId="500"/>
            <ac:picMk id="13" creationId="{D6CEA72F-A7B5-4424-B560-E34E7915285E}"/>
          </ac:picMkLst>
        </pc:picChg>
        <pc:picChg chg="del">
          <ac:chgData name="MOUAMMAR Matthieu" userId="a28de245-dc05-4206-b24f-6f403ed1344a" providerId="ADAL" clId="{97AE8C35-2375-40D4-8F09-DBC209B3CDBF}" dt="2021-03-06T16:12:37.359" v="5760" actId="478"/>
          <ac:picMkLst>
            <pc:docMk/>
            <pc:sldMk cId="2744577325" sldId="500"/>
            <ac:picMk id="24" creationId="{05BBE8A5-5B58-4E63-B788-F2C99D4A0B3E}"/>
          </ac:picMkLst>
        </pc:picChg>
        <pc:picChg chg="add del mod">
          <ac:chgData name="MOUAMMAR Matthieu" userId="a28de245-dc05-4206-b24f-6f403ed1344a" providerId="ADAL" clId="{97AE8C35-2375-40D4-8F09-DBC209B3CDBF}" dt="2021-03-06T16:13:20.024" v="5766"/>
          <ac:picMkLst>
            <pc:docMk/>
            <pc:sldMk cId="2744577325" sldId="500"/>
            <ac:picMk id="25" creationId="{DE72569F-2B08-4797-B1F6-2F49AECC5595}"/>
          </ac:picMkLst>
        </pc:picChg>
      </pc:sldChg>
      <pc:sldChg chg="delSp modSp add mod delAnim">
        <pc:chgData name="MOUAMMAR Matthieu" userId="a28de245-dc05-4206-b24f-6f403ed1344a" providerId="ADAL" clId="{97AE8C35-2375-40D4-8F09-DBC209B3CDBF}" dt="2021-03-06T16:15:39.772" v="5788" actId="20577"/>
        <pc:sldMkLst>
          <pc:docMk/>
          <pc:sldMk cId="2713668654" sldId="501"/>
        </pc:sldMkLst>
        <pc:spChg chg="mod">
          <ac:chgData name="MOUAMMAR Matthieu" userId="a28de245-dc05-4206-b24f-6f403ed1344a" providerId="ADAL" clId="{97AE8C35-2375-40D4-8F09-DBC209B3CDBF}" dt="2021-03-06T16:15:39.772" v="5788" actId="20577"/>
          <ac:spMkLst>
            <pc:docMk/>
            <pc:sldMk cId="2713668654" sldId="501"/>
            <ac:spMk id="5" creationId="{00000000-0000-0000-0000-000000000000}"/>
          </ac:spMkLst>
        </pc:spChg>
        <pc:spChg chg="del">
          <ac:chgData name="MOUAMMAR Matthieu" userId="a28de245-dc05-4206-b24f-6f403ed1344a" providerId="ADAL" clId="{97AE8C35-2375-40D4-8F09-DBC209B3CDBF}" dt="2021-03-06T16:15:13.251" v="5783" actId="478"/>
          <ac:spMkLst>
            <pc:docMk/>
            <pc:sldMk cId="2713668654" sldId="501"/>
            <ac:spMk id="14" creationId="{E9B9875D-0069-4FC6-86E5-56EE1A62ACB9}"/>
          </ac:spMkLst>
        </pc:spChg>
        <pc:spChg chg="del">
          <ac:chgData name="MOUAMMAR Matthieu" userId="a28de245-dc05-4206-b24f-6f403ed1344a" providerId="ADAL" clId="{97AE8C35-2375-40D4-8F09-DBC209B3CDBF}" dt="2021-03-06T16:15:16.459" v="5785" actId="478"/>
          <ac:spMkLst>
            <pc:docMk/>
            <pc:sldMk cId="2713668654" sldId="501"/>
            <ac:spMk id="15" creationId="{67F257A5-72BE-4255-8581-8D63B6AEC0D7}"/>
          </ac:spMkLst>
        </pc:spChg>
        <pc:spChg chg="del">
          <ac:chgData name="MOUAMMAR Matthieu" userId="a28de245-dc05-4206-b24f-6f403ed1344a" providerId="ADAL" clId="{97AE8C35-2375-40D4-8F09-DBC209B3CDBF}" dt="2021-03-06T16:15:14.417" v="5784" actId="478"/>
          <ac:spMkLst>
            <pc:docMk/>
            <pc:sldMk cId="2713668654" sldId="501"/>
            <ac:spMk id="30" creationId="{FCBA864B-DB87-4A60-A8DC-2D440B03A789}"/>
          </ac:spMkLst>
        </pc:spChg>
      </pc:sldChg>
      <pc:sldChg chg="addSp delSp modSp add mod">
        <pc:chgData name="MOUAMMAR Matthieu" userId="a28de245-dc05-4206-b24f-6f403ed1344a" providerId="ADAL" clId="{97AE8C35-2375-40D4-8F09-DBC209B3CDBF}" dt="2021-03-06T16:17:25.685" v="5849" actId="1076"/>
        <pc:sldMkLst>
          <pc:docMk/>
          <pc:sldMk cId="1673682857" sldId="502"/>
        </pc:sldMkLst>
        <pc:spChg chg="mod">
          <ac:chgData name="MOUAMMAR Matthieu" userId="a28de245-dc05-4206-b24f-6f403ed1344a" providerId="ADAL" clId="{97AE8C35-2375-40D4-8F09-DBC209B3CDBF}" dt="2021-03-06T16:16:47.265" v="5841" actId="20577"/>
          <ac:spMkLst>
            <pc:docMk/>
            <pc:sldMk cId="1673682857" sldId="502"/>
            <ac:spMk id="5" creationId="{00000000-0000-0000-0000-000000000000}"/>
          </ac:spMkLst>
        </pc:spChg>
        <pc:spChg chg="mod">
          <ac:chgData name="MOUAMMAR Matthieu" userId="a28de245-dc05-4206-b24f-6f403ed1344a" providerId="ADAL" clId="{97AE8C35-2375-40D4-8F09-DBC209B3CDBF}" dt="2021-03-06T16:17:20.310" v="5848" actId="14100"/>
          <ac:spMkLst>
            <pc:docMk/>
            <pc:sldMk cId="1673682857" sldId="502"/>
            <ac:spMk id="15" creationId="{A4992FC0-985C-41FF-B8BC-B8D2CDAE8D33}"/>
          </ac:spMkLst>
        </pc:spChg>
        <pc:grpChg chg="del">
          <ac:chgData name="MOUAMMAR Matthieu" userId="a28de245-dc05-4206-b24f-6f403ed1344a" providerId="ADAL" clId="{97AE8C35-2375-40D4-8F09-DBC209B3CDBF}" dt="2021-03-06T16:17:02.511" v="5844" actId="478"/>
          <ac:grpSpMkLst>
            <pc:docMk/>
            <pc:sldMk cId="1673682857" sldId="502"/>
            <ac:grpSpMk id="2" creationId="{C285322F-8537-49E7-AC33-D90A1A9D0D8F}"/>
          </ac:grpSpMkLst>
        </pc:grpChg>
        <pc:picChg chg="add mod">
          <ac:chgData name="MOUAMMAR Matthieu" userId="a28de245-dc05-4206-b24f-6f403ed1344a" providerId="ADAL" clId="{97AE8C35-2375-40D4-8F09-DBC209B3CDBF}" dt="2021-03-06T16:17:25.685" v="5849" actId="1076"/>
          <ac:picMkLst>
            <pc:docMk/>
            <pc:sldMk cId="1673682857" sldId="502"/>
            <ac:picMk id="34" creationId="{D9A5FA03-C546-4D92-A085-A1834AC754EF}"/>
          </ac:picMkLst>
        </pc:picChg>
      </pc:sldChg>
      <pc:sldChg chg="addSp delSp modSp add mod">
        <pc:chgData name="MOUAMMAR Matthieu" userId="a28de245-dc05-4206-b24f-6f403ed1344a" providerId="ADAL" clId="{97AE8C35-2375-40D4-8F09-DBC209B3CDBF}" dt="2021-03-06T16:18:39.128" v="5886" actId="14100"/>
        <pc:sldMkLst>
          <pc:docMk/>
          <pc:sldMk cId="2589922947" sldId="503"/>
        </pc:sldMkLst>
        <pc:spChg chg="mod">
          <ac:chgData name="MOUAMMAR Matthieu" userId="a28de245-dc05-4206-b24f-6f403ed1344a" providerId="ADAL" clId="{97AE8C35-2375-40D4-8F09-DBC209B3CDBF}" dt="2021-03-06T16:18:10.242" v="5877" actId="20577"/>
          <ac:spMkLst>
            <pc:docMk/>
            <pc:sldMk cId="2589922947" sldId="503"/>
            <ac:spMk id="5" creationId="{00000000-0000-0000-0000-000000000000}"/>
          </ac:spMkLst>
        </pc:spChg>
        <pc:spChg chg="add mod">
          <ac:chgData name="MOUAMMAR Matthieu" userId="a28de245-dc05-4206-b24f-6f403ed1344a" providerId="ADAL" clId="{97AE8C35-2375-40D4-8F09-DBC209B3CDBF}" dt="2021-03-06T16:18:39.128" v="5886" actId="14100"/>
          <ac:spMkLst>
            <pc:docMk/>
            <pc:sldMk cId="2589922947" sldId="503"/>
            <ac:spMk id="9" creationId="{49E1DC9E-E7BF-4667-9ADF-AAE09F65A20A}"/>
          </ac:spMkLst>
        </pc:spChg>
        <pc:spChg chg="mod">
          <ac:chgData name="MOUAMMAR Matthieu" userId="a28de245-dc05-4206-b24f-6f403ed1344a" providerId="ADAL" clId="{97AE8C35-2375-40D4-8F09-DBC209B3CDBF}" dt="2021-03-06T16:18:13.867" v="5878"/>
          <ac:spMkLst>
            <pc:docMk/>
            <pc:sldMk cId="2589922947" sldId="503"/>
            <ac:spMk id="15" creationId="{A4992FC0-985C-41FF-B8BC-B8D2CDAE8D33}"/>
          </ac:spMkLst>
        </pc:spChg>
        <pc:picChg chg="add mod">
          <ac:chgData name="MOUAMMAR Matthieu" userId="a28de245-dc05-4206-b24f-6f403ed1344a" providerId="ADAL" clId="{97AE8C35-2375-40D4-8F09-DBC209B3CDBF}" dt="2021-03-06T16:18:24.069" v="5882" actId="1076"/>
          <ac:picMkLst>
            <pc:docMk/>
            <pc:sldMk cId="2589922947" sldId="503"/>
            <ac:picMk id="8" creationId="{614738BF-236D-4EEF-8CF3-DF1CE955880F}"/>
          </ac:picMkLst>
        </pc:picChg>
        <pc:picChg chg="del">
          <ac:chgData name="MOUAMMAR Matthieu" userId="a28de245-dc05-4206-b24f-6f403ed1344a" providerId="ADAL" clId="{97AE8C35-2375-40D4-8F09-DBC209B3CDBF}" dt="2021-03-06T16:18:18.316" v="5879" actId="478"/>
          <ac:picMkLst>
            <pc:docMk/>
            <pc:sldMk cId="2589922947" sldId="503"/>
            <ac:picMk id="34" creationId="{D9A5FA03-C546-4D92-A085-A1834AC754EF}"/>
          </ac:picMkLst>
        </pc:picChg>
      </pc:sldChg>
      <pc:sldChg chg="addSp delSp modSp add mod">
        <pc:chgData name="MOUAMMAR Matthieu" userId="a28de245-dc05-4206-b24f-6f403ed1344a" providerId="ADAL" clId="{97AE8C35-2375-40D4-8F09-DBC209B3CDBF}" dt="2021-03-06T16:19:57.379" v="5928" actId="1076"/>
        <pc:sldMkLst>
          <pc:docMk/>
          <pc:sldMk cId="1131773462" sldId="504"/>
        </pc:sldMkLst>
        <pc:spChg chg="mod">
          <ac:chgData name="MOUAMMAR Matthieu" userId="a28de245-dc05-4206-b24f-6f403ed1344a" providerId="ADAL" clId="{97AE8C35-2375-40D4-8F09-DBC209B3CDBF}" dt="2021-03-06T16:19:27.465" v="5920" actId="20577"/>
          <ac:spMkLst>
            <pc:docMk/>
            <pc:sldMk cId="1131773462" sldId="504"/>
            <ac:spMk id="5" creationId="{00000000-0000-0000-0000-000000000000}"/>
          </ac:spMkLst>
        </pc:spChg>
        <pc:spChg chg="del">
          <ac:chgData name="MOUAMMAR Matthieu" userId="a28de245-dc05-4206-b24f-6f403ed1344a" providerId="ADAL" clId="{97AE8C35-2375-40D4-8F09-DBC209B3CDBF}" dt="2021-03-06T16:19:37.189" v="5922" actId="478"/>
          <ac:spMkLst>
            <pc:docMk/>
            <pc:sldMk cId="1131773462" sldId="504"/>
            <ac:spMk id="9" creationId="{49E1DC9E-E7BF-4667-9ADF-AAE09F65A20A}"/>
          </ac:spMkLst>
        </pc:spChg>
        <pc:spChg chg="add mod">
          <ac:chgData name="MOUAMMAR Matthieu" userId="a28de245-dc05-4206-b24f-6f403ed1344a" providerId="ADAL" clId="{97AE8C35-2375-40D4-8F09-DBC209B3CDBF}" dt="2021-03-06T16:19:51.966" v="5927" actId="255"/>
          <ac:spMkLst>
            <pc:docMk/>
            <pc:sldMk cId="1131773462" sldId="504"/>
            <ac:spMk id="13" creationId="{FB3D8E6D-AA30-4D81-84DE-2155D193951D}"/>
          </ac:spMkLst>
        </pc:spChg>
        <pc:spChg chg="add mod">
          <ac:chgData name="MOUAMMAR Matthieu" userId="a28de245-dc05-4206-b24f-6f403ed1344a" providerId="ADAL" clId="{97AE8C35-2375-40D4-8F09-DBC209B3CDBF}" dt="2021-03-06T16:19:57.379" v="5928" actId="1076"/>
          <ac:spMkLst>
            <pc:docMk/>
            <pc:sldMk cId="1131773462" sldId="504"/>
            <ac:spMk id="14" creationId="{268DB020-FA3D-43D0-8015-4574FEBBA0BC}"/>
          </ac:spMkLst>
        </pc:spChg>
        <pc:spChg chg="del">
          <ac:chgData name="MOUAMMAR Matthieu" userId="a28de245-dc05-4206-b24f-6f403ed1344a" providerId="ADAL" clId="{97AE8C35-2375-40D4-8F09-DBC209B3CDBF}" dt="2021-03-06T16:19:36.240" v="5921" actId="478"/>
          <ac:spMkLst>
            <pc:docMk/>
            <pc:sldMk cId="1131773462" sldId="504"/>
            <ac:spMk id="15" creationId="{A4992FC0-985C-41FF-B8BC-B8D2CDAE8D33}"/>
          </ac:spMkLst>
        </pc:spChg>
        <pc:picChg chg="del">
          <ac:chgData name="MOUAMMAR Matthieu" userId="a28de245-dc05-4206-b24f-6f403ed1344a" providerId="ADAL" clId="{97AE8C35-2375-40D4-8F09-DBC209B3CDBF}" dt="2021-03-06T16:19:38.124" v="5923" actId="478"/>
          <ac:picMkLst>
            <pc:docMk/>
            <pc:sldMk cId="1131773462" sldId="504"/>
            <ac:picMk id="8" creationId="{614738BF-236D-4EEF-8CF3-DF1CE955880F}"/>
          </ac:picMkLst>
        </pc:picChg>
        <pc:picChg chg="add mod">
          <ac:chgData name="MOUAMMAR Matthieu" userId="a28de245-dc05-4206-b24f-6f403ed1344a" providerId="ADAL" clId="{97AE8C35-2375-40D4-8F09-DBC209B3CDBF}" dt="2021-03-06T16:19:43.413" v="5925" actId="1076"/>
          <ac:picMkLst>
            <pc:docMk/>
            <pc:sldMk cId="1131773462" sldId="504"/>
            <ac:picMk id="10" creationId="{77DE6871-FBEC-4AE3-A6B1-55209BFDEB0E}"/>
          </ac:picMkLst>
        </pc:picChg>
        <pc:picChg chg="add mod">
          <ac:chgData name="MOUAMMAR Matthieu" userId="a28de245-dc05-4206-b24f-6f403ed1344a" providerId="ADAL" clId="{97AE8C35-2375-40D4-8F09-DBC209B3CDBF}" dt="2021-03-06T16:19:57.379" v="5928" actId="1076"/>
          <ac:picMkLst>
            <pc:docMk/>
            <pc:sldMk cId="1131773462" sldId="504"/>
            <ac:picMk id="11" creationId="{C4D031D2-344D-429B-AF57-3DDBF8A1EDD8}"/>
          </ac:picMkLst>
        </pc:picChg>
        <pc:picChg chg="add mod">
          <ac:chgData name="MOUAMMAR Matthieu" userId="a28de245-dc05-4206-b24f-6f403ed1344a" providerId="ADAL" clId="{97AE8C35-2375-40D4-8F09-DBC209B3CDBF}" dt="2021-03-06T16:19:57.379" v="5928" actId="1076"/>
          <ac:picMkLst>
            <pc:docMk/>
            <pc:sldMk cId="1131773462" sldId="504"/>
            <ac:picMk id="12" creationId="{C8478327-6924-4B2D-AE09-C880918C2B21}"/>
          </ac:picMkLst>
        </pc:picChg>
      </pc:sldChg>
      <pc:sldChg chg="addSp delSp modSp add mod">
        <pc:chgData name="MOUAMMAR Matthieu" userId="a28de245-dc05-4206-b24f-6f403ed1344a" providerId="ADAL" clId="{97AE8C35-2375-40D4-8F09-DBC209B3CDBF}" dt="2021-03-06T16:25:38.880" v="5977" actId="478"/>
        <pc:sldMkLst>
          <pc:docMk/>
          <pc:sldMk cId="196297346" sldId="505"/>
        </pc:sldMkLst>
        <pc:spChg chg="mod">
          <ac:chgData name="MOUAMMAR Matthieu" userId="a28de245-dc05-4206-b24f-6f403ed1344a" providerId="ADAL" clId="{97AE8C35-2375-40D4-8F09-DBC209B3CDBF}" dt="2021-03-06T16:21:31.554" v="5950" actId="20577"/>
          <ac:spMkLst>
            <pc:docMk/>
            <pc:sldMk cId="196297346" sldId="505"/>
            <ac:spMk id="5" creationId="{00000000-0000-0000-0000-000000000000}"/>
          </ac:spMkLst>
        </pc:spChg>
        <pc:spChg chg="del">
          <ac:chgData name="MOUAMMAR Matthieu" userId="a28de245-dc05-4206-b24f-6f403ed1344a" providerId="ADAL" clId="{97AE8C35-2375-40D4-8F09-DBC209B3CDBF}" dt="2021-03-06T16:21:56.180" v="5952" actId="478"/>
          <ac:spMkLst>
            <pc:docMk/>
            <pc:sldMk cId="196297346" sldId="505"/>
            <ac:spMk id="9" creationId="{49E1DC9E-E7BF-4667-9ADF-AAE09F65A20A}"/>
          </ac:spMkLst>
        </pc:spChg>
        <pc:spChg chg="add del mod">
          <ac:chgData name="MOUAMMAR Matthieu" userId="a28de245-dc05-4206-b24f-6f403ed1344a" providerId="ADAL" clId="{97AE8C35-2375-40D4-8F09-DBC209B3CDBF}" dt="2021-03-06T16:25:38.215" v="5976" actId="478"/>
          <ac:spMkLst>
            <pc:docMk/>
            <pc:sldMk cId="196297346" sldId="505"/>
            <ac:spMk id="10" creationId="{D6C52D3A-2805-4CE3-AB1D-38F0EED8C540}"/>
          </ac:spMkLst>
        </pc:spChg>
        <pc:spChg chg="add del mod">
          <ac:chgData name="MOUAMMAR Matthieu" userId="a28de245-dc05-4206-b24f-6f403ed1344a" providerId="ADAL" clId="{97AE8C35-2375-40D4-8F09-DBC209B3CDBF}" dt="2021-03-06T16:25:38.880" v="5977" actId="478"/>
          <ac:spMkLst>
            <pc:docMk/>
            <pc:sldMk cId="196297346" sldId="505"/>
            <ac:spMk id="11" creationId="{DE197118-7A13-4566-96C2-AD2DF6446E1C}"/>
          </ac:spMkLst>
        </pc:spChg>
        <pc:spChg chg="del">
          <ac:chgData name="MOUAMMAR Matthieu" userId="a28de245-dc05-4206-b24f-6f403ed1344a" providerId="ADAL" clId="{97AE8C35-2375-40D4-8F09-DBC209B3CDBF}" dt="2021-03-06T16:21:55.422" v="5951" actId="478"/>
          <ac:spMkLst>
            <pc:docMk/>
            <pc:sldMk cId="196297346" sldId="505"/>
            <ac:spMk id="15" creationId="{A4992FC0-985C-41FF-B8BC-B8D2CDAE8D33}"/>
          </ac:spMkLst>
        </pc:spChg>
        <pc:spChg chg="add mod">
          <ac:chgData name="MOUAMMAR Matthieu" userId="a28de245-dc05-4206-b24f-6f403ed1344a" providerId="ADAL" clId="{97AE8C35-2375-40D4-8F09-DBC209B3CDBF}" dt="2021-03-06T16:22:14.942" v="5961" actId="1076"/>
          <ac:spMkLst>
            <pc:docMk/>
            <pc:sldMk cId="196297346" sldId="505"/>
            <ac:spMk id="25" creationId="{101B4B1E-898C-4D25-9C45-8C3E3DBFCC59}"/>
          </ac:spMkLst>
        </pc:spChg>
        <pc:spChg chg="add mod">
          <ac:chgData name="MOUAMMAR Matthieu" userId="a28de245-dc05-4206-b24f-6f403ed1344a" providerId="ADAL" clId="{97AE8C35-2375-40D4-8F09-DBC209B3CDBF}" dt="2021-03-06T16:22:14.942" v="5961" actId="1076"/>
          <ac:spMkLst>
            <pc:docMk/>
            <pc:sldMk cId="196297346" sldId="505"/>
            <ac:spMk id="26" creationId="{62045E00-C5D7-4284-BB6B-0933736C9490}"/>
          </ac:spMkLst>
        </pc:spChg>
        <pc:spChg chg="add mod">
          <ac:chgData name="MOUAMMAR Matthieu" userId="a28de245-dc05-4206-b24f-6f403ed1344a" providerId="ADAL" clId="{97AE8C35-2375-40D4-8F09-DBC209B3CDBF}" dt="2021-03-06T16:22:14.942" v="5961" actId="1076"/>
          <ac:spMkLst>
            <pc:docMk/>
            <pc:sldMk cId="196297346" sldId="505"/>
            <ac:spMk id="29" creationId="{A168644F-D13C-4D75-8BA5-D19AB9A71E02}"/>
          </ac:spMkLst>
        </pc:spChg>
        <pc:spChg chg="add mod">
          <ac:chgData name="MOUAMMAR Matthieu" userId="a28de245-dc05-4206-b24f-6f403ed1344a" providerId="ADAL" clId="{97AE8C35-2375-40D4-8F09-DBC209B3CDBF}" dt="2021-03-06T16:21:57.725" v="5954"/>
          <ac:spMkLst>
            <pc:docMk/>
            <pc:sldMk cId="196297346" sldId="505"/>
            <ac:spMk id="33" creationId="{593E78ED-7D40-453D-B16D-5EFB7616A2C7}"/>
          </ac:spMkLst>
        </pc:spChg>
        <pc:spChg chg="add mod">
          <ac:chgData name="MOUAMMAR Matthieu" userId="a28de245-dc05-4206-b24f-6f403ed1344a" providerId="ADAL" clId="{97AE8C35-2375-40D4-8F09-DBC209B3CDBF}" dt="2021-03-06T16:21:57.725" v="5954"/>
          <ac:spMkLst>
            <pc:docMk/>
            <pc:sldMk cId="196297346" sldId="505"/>
            <ac:spMk id="34" creationId="{3AFFAD28-B49A-4591-A4A8-F4F068FC2C37}"/>
          </ac:spMkLst>
        </pc:spChg>
        <pc:spChg chg="mod">
          <ac:chgData name="MOUAMMAR Matthieu" userId="a28de245-dc05-4206-b24f-6f403ed1344a" providerId="ADAL" clId="{97AE8C35-2375-40D4-8F09-DBC209B3CDBF}" dt="2021-03-06T16:21:57.725" v="5954"/>
          <ac:spMkLst>
            <pc:docMk/>
            <pc:sldMk cId="196297346" sldId="505"/>
            <ac:spMk id="36" creationId="{39C8A902-66D5-45C8-A76C-332F2DC79E2F}"/>
          </ac:spMkLst>
        </pc:spChg>
        <pc:spChg chg="mod">
          <ac:chgData name="MOUAMMAR Matthieu" userId="a28de245-dc05-4206-b24f-6f403ed1344a" providerId="ADAL" clId="{97AE8C35-2375-40D4-8F09-DBC209B3CDBF}" dt="2021-03-06T16:21:57.725" v="5954"/>
          <ac:spMkLst>
            <pc:docMk/>
            <pc:sldMk cId="196297346" sldId="505"/>
            <ac:spMk id="37" creationId="{8D547250-CF70-4E44-89F1-6BA3154F23E0}"/>
          </ac:spMkLst>
        </pc:spChg>
        <pc:spChg chg="mod">
          <ac:chgData name="MOUAMMAR Matthieu" userId="a28de245-dc05-4206-b24f-6f403ed1344a" providerId="ADAL" clId="{97AE8C35-2375-40D4-8F09-DBC209B3CDBF}" dt="2021-03-06T16:21:57.725" v="5954"/>
          <ac:spMkLst>
            <pc:docMk/>
            <pc:sldMk cId="196297346" sldId="505"/>
            <ac:spMk id="38" creationId="{E104BA8E-F6CB-41D6-9E67-CAF7DDA8E383}"/>
          </ac:spMkLst>
        </pc:spChg>
        <pc:spChg chg="mod">
          <ac:chgData name="MOUAMMAR Matthieu" userId="a28de245-dc05-4206-b24f-6f403ed1344a" providerId="ADAL" clId="{97AE8C35-2375-40D4-8F09-DBC209B3CDBF}" dt="2021-03-06T16:21:57.725" v="5954"/>
          <ac:spMkLst>
            <pc:docMk/>
            <pc:sldMk cId="196297346" sldId="505"/>
            <ac:spMk id="39" creationId="{FCDBFCFD-3171-4914-8DAE-AEDAE291C9FE}"/>
          </ac:spMkLst>
        </pc:spChg>
        <pc:spChg chg="mod">
          <ac:chgData name="MOUAMMAR Matthieu" userId="a28de245-dc05-4206-b24f-6f403ed1344a" providerId="ADAL" clId="{97AE8C35-2375-40D4-8F09-DBC209B3CDBF}" dt="2021-03-06T16:21:57.725" v="5954"/>
          <ac:spMkLst>
            <pc:docMk/>
            <pc:sldMk cId="196297346" sldId="505"/>
            <ac:spMk id="40" creationId="{C8A684E2-78F8-472A-B962-EAD736AB3E92}"/>
          </ac:spMkLst>
        </pc:spChg>
        <pc:spChg chg="mod">
          <ac:chgData name="MOUAMMAR Matthieu" userId="a28de245-dc05-4206-b24f-6f403ed1344a" providerId="ADAL" clId="{97AE8C35-2375-40D4-8F09-DBC209B3CDBF}" dt="2021-03-06T16:21:57.725" v="5954"/>
          <ac:spMkLst>
            <pc:docMk/>
            <pc:sldMk cId="196297346" sldId="505"/>
            <ac:spMk id="41" creationId="{EE9B3CE8-0207-4BA1-A3EC-7B2522DE6145}"/>
          </ac:spMkLst>
        </pc:spChg>
        <pc:spChg chg="add mod">
          <ac:chgData name="MOUAMMAR Matthieu" userId="a28de245-dc05-4206-b24f-6f403ed1344a" providerId="ADAL" clId="{97AE8C35-2375-40D4-8F09-DBC209B3CDBF}" dt="2021-03-06T16:21:57.725" v="5954"/>
          <ac:spMkLst>
            <pc:docMk/>
            <pc:sldMk cId="196297346" sldId="505"/>
            <ac:spMk id="42" creationId="{66BA88A4-4A8C-4406-A6CA-61F4BBEF3952}"/>
          </ac:spMkLst>
        </pc:spChg>
        <pc:spChg chg="mod">
          <ac:chgData name="MOUAMMAR Matthieu" userId="a28de245-dc05-4206-b24f-6f403ed1344a" providerId="ADAL" clId="{97AE8C35-2375-40D4-8F09-DBC209B3CDBF}" dt="2021-03-06T16:21:57.725" v="5954"/>
          <ac:spMkLst>
            <pc:docMk/>
            <pc:sldMk cId="196297346" sldId="505"/>
            <ac:spMk id="45" creationId="{4591D1AF-713C-4F9D-BADD-7945B8EFD3C7}"/>
          </ac:spMkLst>
        </pc:spChg>
        <pc:spChg chg="mod">
          <ac:chgData name="MOUAMMAR Matthieu" userId="a28de245-dc05-4206-b24f-6f403ed1344a" providerId="ADAL" clId="{97AE8C35-2375-40D4-8F09-DBC209B3CDBF}" dt="2021-03-06T16:21:57.725" v="5954"/>
          <ac:spMkLst>
            <pc:docMk/>
            <pc:sldMk cId="196297346" sldId="505"/>
            <ac:spMk id="46" creationId="{D58BB0A6-1B31-49F0-8DAB-AA8AF68AE677}"/>
          </ac:spMkLst>
        </pc:spChg>
        <pc:spChg chg="mod">
          <ac:chgData name="MOUAMMAR Matthieu" userId="a28de245-dc05-4206-b24f-6f403ed1344a" providerId="ADAL" clId="{97AE8C35-2375-40D4-8F09-DBC209B3CDBF}" dt="2021-03-06T16:21:57.725" v="5954"/>
          <ac:spMkLst>
            <pc:docMk/>
            <pc:sldMk cId="196297346" sldId="505"/>
            <ac:spMk id="48" creationId="{F4BEA90C-516B-48D1-8F41-BF663C586792}"/>
          </ac:spMkLst>
        </pc:spChg>
        <pc:spChg chg="mod">
          <ac:chgData name="MOUAMMAR Matthieu" userId="a28de245-dc05-4206-b24f-6f403ed1344a" providerId="ADAL" clId="{97AE8C35-2375-40D4-8F09-DBC209B3CDBF}" dt="2021-03-06T16:21:57.725" v="5954"/>
          <ac:spMkLst>
            <pc:docMk/>
            <pc:sldMk cId="196297346" sldId="505"/>
            <ac:spMk id="49" creationId="{C213E07B-0B2E-47C2-A60C-C38C03130678}"/>
          </ac:spMkLst>
        </pc:spChg>
        <pc:spChg chg="mod">
          <ac:chgData name="MOUAMMAR Matthieu" userId="a28de245-dc05-4206-b24f-6f403ed1344a" providerId="ADAL" clId="{97AE8C35-2375-40D4-8F09-DBC209B3CDBF}" dt="2021-03-06T16:21:57.725" v="5954"/>
          <ac:spMkLst>
            <pc:docMk/>
            <pc:sldMk cId="196297346" sldId="505"/>
            <ac:spMk id="50" creationId="{28C89D90-94CB-4522-9384-8FE9F583B680}"/>
          </ac:spMkLst>
        </pc:spChg>
        <pc:spChg chg="mod">
          <ac:chgData name="MOUAMMAR Matthieu" userId="a28de245-dc05-4206-b24f-6f403ed1344a" providerId="ADAL" clId="{97AE8C35-2375-40D4-8F09-DBC209B3CDBF}" dt="2021-03-06T16:21:57.725" v="5954"/>
          <ac:spMkLst>
            <pc:docMk/>
            <pc:sldMk cId="196297346" sldId="505"/>
            <ac:spMk id="51" creationId="{BCFFFDBB-6B37-4E14-802F-F0D851BD28FD}"/>
          </ac:spMkLst>
        </pc:spChg>
        <pc:spChg chg="mod">
          <ac:chgData name="MOUAMMAR Matthieu" userId="a28de245-dc05-4206-b24f-6f403ed1344a" providerId="ADAL" clId="{97AE8C35-2375-40D4-8F09-DBC209B3CDBF}" dt="2021-03-06T16:21:57.725" v="5954"/>
          <ac:spMkLst>
            <pc:docMk/>
            <pc:sldMk cId="196297346" sldId="505"/>
            <ac:spMk id="53" creationId="{35CA2D0B-FCE6-4A97-86D4-5E38EA39259C}"/>
          </ac:spMkLst>
        </pc:spChg>
        <pc:spChg chg="mod">
          <ac:chgData name="MOUAMMAR Matthieu" userId="a28de245-dc05-4206-b24f-6f403ed1344a" providerId="ADAL" clId="{97AE8C35-2375-40D4-8F09-DBC209B3CDBF}" dt="2021-03-06T16:21:57.725" v="5954"/>
          <ac:spMkLst>
            <pc:docMk/>
            <pc:sldMk cId="196297346" sldId="505"/>
            <ac:spMk id="54" creationId="{4791F99F-1059-4EB9-9CA1-B39E955190ED}"/>
          </ac:spMkLst>
        </pc:spChg>
        <pc:spChg chg="mod">
          <ac:chgData name="MOUAMMAR Matthieu" userId="a28de245-dc05-4206-b24f-6f403ed1344a" providerId="ADAL" clId="{97AE8C35-2375-40D4-8F09-DBC209B3CDBF}" dt="2021-03-06T16:21:57.725" v="5954"/>
          <ac:spMkLst>
            <pc:docMk/>
            <pc:sldMk cId="196297346" sldId="505"/>
            <ac:spMk id="55" creationId="{2B6E7BD3-2F4E-4ABC-82C3-C9CDFE3E035F}"/>
          </ac:spMkLst>
        </pc:spChg>
        <pc:spChg chg="mod">
          <ac:chgData name="MOUAMMAR Matthieu" userId="a28de245-dc05-4206-b24f-6f403ed1344a" providerId="ADAL" clId="{97AE8C35-2375-40D4-8F09-DBC209B3CDBF}" dt="2021-03-06T16:21:57.725" v="5954"/>
          <ac:spMkLst>
            <pc:docMk/>
            <pc:sldMk cId="196297346" sldId="505"/>
            <ac:spMk id="56" creationId="{2F5A2DF0-9EE6-4EA1-BB11-579FB3DEE22D}"/>
          </ac:spMkLst>
        </pc:spChg>
        <pc:spChg chg="mod">
          <ac:chgData name="MOUAMMAR Matthieu" userId="a28de245-dc05-4206-b24f-6f403ed1344a" providerId="ADAL" clId="{97AE8C35-2375-40D4-8F09-DBC209B3CDBF}" dt="2021-03-06T16:21:57.725" v="5954"/>
          <ac:spMkLst>
            <pc:docMk/>
            <pc:sldMk cId="196297346" sldId="505"/>
            <ac:spMk id="57" creationId="{58BED731-18E8-4889-A6C5-1C9A5A0467E3}"/>
          </ac:spMkLst>
        </pc:spChg>
        <pc:spChg chg="mod">
          <ac:chgData name="MOUAMMAR Matthieu" userId="a28de245-dc05-4206-b24f-6f403ed1344a" providerId="ADAL" clId="{97AE8C35-2375-40D4-8F09-DBC209B3CDBF}" dt="2021-03-06T16:21:57.725" v="5954"/>
          <ac:spMkLst>
            <pc:docMk/>
            <pc:sldMk cId="196297346" sldId="505"/>
            <ac:spMk id="58" creationId="{653E54EC-4B68-4C53-868A-D1389FAD9D47}"/>
          </ac:spMkLst>
        </pc:spChg>
        <pc:spChg chg="mod">
          <ac:chgData name="MOUAMMAR Matthieu" userId="a28de245-dc05-4206-b24f-6f403ed1344a" providerId="ADAL" clId="{97AE8C35-2375-40D4-8F09-DBC209B3CDBF}" dt="2021-03-06T16:21:57.725" v="5954"/>
          <ac:spMkLst>
            <pc:docMk/>
            <pc:sldMk cId="196297346" sldId="505"/>
            <ac:spMk id="59" creationId="{A56ACF73-F547-49E8-9247-996F08DC799D}"/>
          </ac:spMkLst>
        </pc:spChg>
        <pc:spChg chg="mod">
          <ac:chgData name="MOUAMMAR Matthieu" userId="a28de245-dc05-4206-b24f-6f403ed1344a" providerId="ADAL" clId="{97AE8C35-2375-40D4-8F09-DBC209B3CDBF}" dt="2021-03-06T16:21:57.725" v="5954"/>
          <ac:spMkLst>
            <pc:docMk/>
            <pc:sldMk cId="196297346" sldId="505"/>
            <ac:spMk id="60" creationId="{766221FE-3B37-4F04-B449-62E7C2915CD5}"/>
          </ac:spMkLst>
        </pc:spChg>
        <pc:spChg chg="mod">
          <ac:chgData name="MOUAMMAR Matthieu" userId="a28de245-dc05-4206-b24f-6f403ed1344a" providerId="ADAL" clId="{97AE8C35-2375-40D4-8F09-DBC209B3CDBF}" dt="2021-03-06T16:21:57.725" v="5954"/>
          <ac:spMkLst>
            <pc:docMk/>
            <pc:sldMk cId="196297346" sldId="505"/>
            <ac:spMk id="61" creationId="{21D76BAB-899A-4966-A1C5-A68C7A3CC223}"/>
          </ac:spMkLst>
        </pc:spChg>
        <pc:spChg chg="mod">
          <ac:chgData name="MOUAMMAR Matthieu" userId="a28de245-dc05-4206-b24f-6f403ed1344a" providerId="ADAL" clId="{97AE8C35-2375-40D4-8F09-DBC209B3CDBF}" dt="2021-03-06T16:21:57.725" v="5954"/>
          <ac:spMkLst>
            <pc:docMk/>
            <pc:sldMk cId="196297346" sldId="505"/>
            <ac:spMk id="62" creationId="{4CA256B1-33F4-4B03-B7B6-2906A6A32259}"/>
          </ac:spMkLst>
        </pc:spChg>
        <pc:spChg chg="mod">
          <ac:chgData name="MOUAMMAR Matthieu" userId="a28de245-dc05-4206-b24f-6f403ed1344a" providerId="ADAL" clId="{97AE8C35-2375-40D4-8F09-DBC209B3CDBF}" dt="2021-03-06T16:21:57.725" v="5954"/>
          <ac:spMkLst>
            <pc:docMk/>
            <pc:sldMk cId="196297346" sldId="505"/>
            <ac:spMk id="63" creationId="{BE16A86E-11CF-42BB-BABF-97F4D7A9C41D}"/>
          </ac:spMkLst>
        </pc:spChg>
        <pc:spChg chg="mod">
          <ac:chgData name="MOUAMMAR Matthieu" userId="a28de245-dc05-4206-b24f-6f403ed1344a" providerId="ADAL" clId="{97AE8C35-2375-40D4-8F09-DBC209B3CDBF}" dt="2021-03-06T16:21:57.725" v="5954"/>
          <ac:spMkLst>
            <pc:docMk/>
            <pc:sldMk cId="196297346" sldId="505"/>
            <ac:spMk id="64" creationId="{57B425D0-27DE-4613-B054-C160DB0B87E9}"/>
          </ac:spMkLst>
        </pc:spChg>
        <pc:spChg chg="mod">
          <ac:chgData name="MOUAMMAR Matthieu" userId="a28de245-dc05-4206-b24f-6f403ed1344a" providerId="ADAL" clId="{97AE8C35-2375-40D4-8F09-DBC209B3CDBF}" dt="2021-03-06T16:21:57.725" v="5954"/>
          <ac:spMkLst>
            <pc:docMk/>
            <pc:sldMk cId="196297346" sldId="505"/>
            <ac:spMk id="65" creationId="{A04EE18B-9BE2-4C00-9A19-221FA97CAB90}"/>
          </ac:spMkLst>
        </pc:spChg>
        <pc:spChg chg="mod">
          <ac:chgData name="MOUAMMAR Matthieu" userId="a28de245-dc05-4206-b24f-6f403ed1344a" providerId="ADAL" clId="{97AE8C35-2375-40D4-8F09-DBC209B3CDBF}" dt="2021-03-06T16:21:57.725" v="5954"/>
          <ac:spMkLst>
            <pc:docMk/>
            <pc:sldMk cId="196297346" sldId="505"/>
            <ac:spMk id="66" creationId="{9C565A09-BE79-406A-A219-0A43AAFFC799}"/>
          </ac:spMkLst>
        </pc:spChg>
        <pc:spChg chg="mod">
          <ac:chgData name="MOUAMMAR Matthieu" userId="a28de245-dc05-4206-b24f-6f403ed1344a" providerId="ADAL" clId="{97AE8C35-2375-40D4-8F09-DBC209B3CDBF}" dt="2021-03-06T16:21:57.725" v="5954"/>
          <ac:spMkLst>
            <pc:docMk/>
            <pc:sldMk cId="196297346" sldId="505"/>
            <ac:spMk id="67" creationId="{5F185F42-72D1-4CA3-8F0A-19367CB2EC10}"/>
          </ac:spMkLst>
        </pc:spChg>
        <pc:spChg chg="mod">
          <ac:chgData name="MOUAMMAR Matthieu" userId="a28de245-dc05-4206-b24f-6f403ed1344a" providerId="ADAL" clId="{97AE8C35-2375-40D4-8F09-DBC209B3CDBF}" dt="2021-03-06T16:21:57.725" v="5954"/>
          <ac:spMkLst>
            <pc:docMk/>
            <pc:sldMk cId="196297346" sldId="505"/>
            <ac:spMk id="68" creationId="{96A067BC-C292-4980-82B6-93DD9F3F1581}"/>
          </ac:spMkLst>
        </pc:spChg>
        <pc:spChg chg="mod">
          <ac:chgData name="MOUAMMAR Matthieu" userId="a28de245-dc05-4206-b24f-6f403ed1344a" providerId="ADAL" clId="{97AE8C35-2375-40D4-8F09-DBC209B3CDBF}" dt="2021-03-06T16:21:57.725" v="5954"/>
          <ac:spMkLst>
            <pc:docMk/>
            <pc:sldMk cId="196297346" sldId="505"/>
            <ac:spMk id="69" creationId="{0A199077-CC46-422A-B074-8B3AC8326764}"/>
          </ac:spMkLst>
        </pc:spChg>
        <pc:spChg chg="mod">
          <ac:chgData name="MOUAMMAR Matthieu" userId="a28de245-dc05-4206-b24f-6f403ed1344a" providerId="ADAL" clId="{97AE8C35-2375-40D4-8F09-DBC209B3CDBF}" dt="2021-03-06T16:21:57.725" v="5954"/>
          <ac:spMkLst>
            <pc:docMk/>
            <pc:sldMk cId="196297346" sldId="505"/>
            <ac:spMk id="70" creationId="{E3C6C398-A144-401D-89C2-B2138259E163}"/>
          </ac:spMkLst>
        </pc:spChg>
        <pc:spChg chg="mod">
          <ac:chgData name="MOUAMMAR Matthieu" userId="a28de245-dc05-4206-b24f-6f403ed1344a" providerId="ADAL" clId="{97AE8C35-2375-40D4-8F09-DBC209B3CDBF}" dt="2021-03-06T16:21:57.725" v="5954"/>
          <ac:spMkLst>
            <pc:docMk/>
            <pc:sldMk cId="196297346" sldId="505"/>
            <ac:spMk id="71" creationId="{812F84F8-2E77-4573-82C5-BBD245413BE3}"/>
          </ac:spMkLst>
        </pc:spChg>
        <pc:spChg chg="mod">
          <ac:chgData name="MOUAMMAR Matthieu" userId="a28de245-dc05-4206-b24f-6f403ed1344a" providerId="ADAL" clId="{97AE8C35-2375-40D4-8F09-DBC209B3CDBF}" dt="2021-03-06T16:21:57.725" v="5954"/>
          <ac:spMkLst>
            <pc:docMk/>
            <pc:sldMk cId="196297346" sldId="505"/>
            <ac:spMk id="72" creationId="{3119FD76-20FF-4666-B359-F3FAF4C59D21}"/>
          </ac:spMkLst>
        </pc:spChg>
        <pc:spChg chg="mod">
          <ac:chgData name="MOUAMMAR Matthieu" userId="a28de245-dc05-4206-b24f-6f403ed1344a" providerId="ADAL" clId="{97AE8C35-2375-40D4-8F09-DBC209B3CDBF}" dt="2021-03-06T16:21:57.725" v="5954"/>
          <ac:spMkLst>
            <pc:docMk/>
            <pc:sldMk cId="196297346" sldId="505"/>
            <ac:spMk id="73" creationId="{91281679-D278-4363-8BC4-BF5A7A659E45}"/>
          </ac:spMkLst>
        </pc:spChg>
        <pc:spChg chg="mod">
          <ac:chgData name="MOUAMMAR Matthieu" userId="a28de245-dc05-4206-b24f-6f403ed1344a" providerId="ADAL" clId="{97AE8C35-2375-40D4-8F09-DBC209B3CDBF}" dt="2021-03-06T16:21:57.725" v="5954"/>
          <ac:spMkLst>
            <pc:docMk/>
            <pc:sldMk cId="196297346" sldId="505"/>
            <ac:spMk id="74" creationId="{B45AFD1A-E2CF-4D71-9E76-D6C65EDA3768}"/>
          </ac:spMkLst>
        </pc:spChg>
        <pc:spChg chg="mod">
          <ac:chgData name="MOUAMMAR Matthieu" userId="a28de245-dc05-4206-b24f-6f403ed1344a" providerId="ADAL" clId="{97AE8C35-2375-40D4-8F09-DBC209B3CDBF}" dt="2021-03-06T16:21:57.725" v="5954"/>
          <ac:spMkLst>
            <pc:docMk/>
            <pc:sldMk cId="196297346" sldId="505"/>
            <ac:spMk id="75" creationId="{FA81DC2F-F7EC-4196-B838-BA2A469B91A3}"/>
          </ac:spMkLst>
        </pc:spChg>
        <pc:spChg chg="mod">
          <ac:chgData name="MOUAMMAR Matthieu" userId="a28de245-dc05-4206-b24f-6f403ed1344a" providerId="ADAL" clId="{97AE8C35-2375-40D4-8F09-DBC209B3CDBF}" dt="2021-03-06T16:21:57.725" v="5954"/>
          <ac:spMkLst>
            <pc:docMk/>
            <pc:sldMk cId="196297346" sldId="505"/>
            <ac:spMk id="76" creationId="{8E3EEC7C-3849-4937-A5A7-57F442B7D9E1}"/>
          </ac:spMkLst>
        </pc:spChg>
        <pc:spChg chg="mod">
          <ac:chgData name="MOUAMMAR Matthieu" userId="a28de245-dc05-4206-b24f-6f403ed1344a" providerId="ADAL" clId="{97AE8C35-2375-40D4-8F09-DBC209B3CDBF}" dt="2021-03-06T16:21:57.725" v="5954"/>
          <ac:spMkLst>
            <pc:docMk/>
            <pc:sldMk cId="196297346" sldId="505"/>
            <ac:spMk id="77" creationId="{7C38F686-504D-4109-A350-8EF9553C4DA3}"/>
          </ac:spMkLst>
        </pc:spChg>
        <pc:spChg chg="mod">
          <ac:chgData name="MOUAMMAR Matthieu" userId="a28de245-dc05-4206-b24f-6f403ed1344a" providerId="ADAL" clId="{97AE8C35-2375-40D4-8F09-DBC209B3CDBF}" dt="2021-03-06T16:21:57.725" v="5954"/>
          <ac:spMkLst>
            <pc:docMk/>
            <pc:sldMk cId="196297346" sldId="505"/>
            <ac:spMk id="78" creationId="{5DE019CC-2C53-4E58-BB47-CA77BA151B14}"/>
          </ac:spMkLst>
        </pc:spChg>
        <pc:spChg chg="mod">
          <ac:chgData name="MOUAMMAR Matthieu" userId="a28de245-dc05-4206-b24f-6f403ed1344a" providerId="ADAL" clId="{97AE8C35-2375-40D4-8F09-DBC209B3CDBF}" dt="2021-03-06T16:21:57.725" v="5954"/>
          <ac:spMkLst>
            <pc:docMk/>
            <pc:sldMk cId="196297346" sldId="505"/>
            <ac:spMk id="79" creationId="{A056C3C7-44E7-4F4D-AA1B-EC7F07CD2624}"/>
          </ac:spMkLst>
        </pc:spChg>
        <pc:spChg chg="mod">
          <ac:chgData name="MOUAMMAR Matthieu" userId="a28de245-dc05-4206-b24f-6f403ed1344a" providerId="ADAL" clId="{97AE8C35-2375-40D4-8F09-DBC209B3CDBF}" dt="2021-03-06T16:21:57.725" v="5954"/>
          <ac:spMkLst>
            <pc:docMk/>
            <pc:sldMk cId="196297346" sldId="505"/>
            <ac:spMk id="80" creationId="{97438EFD-F0D3-4208-AB2D-0A7EE27D5271}"/>
          </ac:spMkLst>
        </pc:spChg>
        <pc:spChg chg="mod">
          <ac:chgData name="MOUAMMAR Matthieu" userId="a28de245-dc05-4206-b24f-6f403ed1344a" providerId="ADAL" clId="{97AE8C35-2375-40D4-8F09-DBC209B3CDBF}" dt="2021-03-06T16:21:57.725" v="5954"/>
          <ac:spMkLst>
            <pc:docMk/>
            <pc:sldMk cId="196297346" sldId="505"/>
            <ac:spMk id="81" creationId="{0C2E8305-69F3-4C90-9652-6287B2CF56AC}"/>
          </ac:spMkLst>
        </pc:spChg>
        <pc:spChg chg="mod">
          <ac:chgData name="MOUAMMAR Matthieu" userId="a28de245-dc05-4206-b24f-6f403ed1344a" providerId="ADAL" clId="{97AE8C35-2375-40D4-8F09-DBC209B3CDBF}" dt="2021-03-06T16:21:57.725" v="5954"/>
          <ac:spMkLst>
            <pc:docMk/>
            <pc:sldMk cId="196297346" sldId="505"/>
            <ac:spMk id="82" creationId="{E438C1B6-71ED-46FF-8910-445BDA5DFD39}"/>
          </ac:spMkLst>
        </pc:spChg>
        <pc:spChg chg="mod">
          <ac:chgData name="MOUAMMAR Matthieu" userId="a28de245-dc05-4206-b24f-6f403ed1344a" providerId="ADAL" clId="{97AE8C35-2375-40D4-8F09-DBC209B3CDBF}" dt="2021-03-06T16:21:57.725" v="5954"/>
          <ac:spMkLst>
            <pc:docMk/>
            <pc:sldMk cId="196297346" sldId="505"/>
            <ac:spMk id="83" creationId="{78CB8786-5DC8-4D72-A335-A7270328EE69}"/>
          </ac:spMkLst>
        </pc:spChg>
        <pc:spChg chg="mod">
          <ac:chgData name="MOUAMMAR Matthieu" userId="a28de245-dc05-4206-b24f-6f403ed1344a" providerId="ADAL" clId="{97AE8C35-2375-40D4-8F09-DBC209B3CDBF}" dt="2021-03-06T16:21:57.725" v="5954"/>
          <ac:spMkLst>
            <pc:docMk/>
            <pc:sldMk cId="196297346" sldId="505"/>
            <ac:spMk id="84" creationId="{35D2EEB3-EC53-46FF-B765-2264C87AD1C2}"/>
          </ac:spMkLst>
        </pc:spChg>
        <pc:spChg chg="mod">
          <ac:chgData name="MOUAMMAR Matthieu" userId="a28de245-dc05-4206-b24f-6f403ed1344a" providerId="ADAL" clId="{97AE8C35-2375-40D4-8F09-DBC209B3CDBF}" dt="2021-03-06T16:21:57.725" v="5954"/>
          <ac:spMkLst>
            <pc:docMk/>
            <pc:sldMk cId="196297346" sldId="505"/>
            <ac:spMk id="85" creationId="{CED1327E-3C6A-4E5F-B9E5-BFA862FB61CA}"/>
          </ac:spMkLst>
        </pc:spChg>
        <pc:spChg chg="mod">
          <ac:chgData name="MOUAMMAR Matthieu" userId="a28de245-dc05-4206-b24f-6f403ed1344a" providerId="ADAL" clId="{97AE8C35-2375-40D4-8F09-DBC209B3CDBF}" dt="2021-03-06T16:21:57.725" v="5954"/>
          <ac:spMkLst>
            <pc:docMk/>
            <pc:sldMk cId="196297346" sldId="505"/>
            <ac:spMk id="86" creationId="{15CE1A63-AEB8-4927-B60A-0AA6DA1A4357}"/>
          </ac:spMkLst>
        </pc:spChg>
        <pc:spChg chg="mod">
          <ac:chgData name="MOUAMMAR Matthieu" userId="a28de245-dc05-4206-b24f-6f403ed1344a" providerId="ADAL" clId="{97AE8C35-2375-40D4-8F09-DBC209B3CDBF}" dt="2021-03-06T16:21:57.725" v="5954"/>
          <ac:spMkLst>
            <pc:docMk/>
            <pc:sldMk cId="196297346" sldId="505"/>
            <ac:spMk id="87" creationId="{8706BE73-3E19-44EA-88C9-7D47AC911FFB}"/>
          </ac:spMkLst>
        </pc:spChg>
        <pc:spChg chg="mod">
          <ac:chgData name="MOUAMMAR Matthieu" userId="a28de245-dc05-4206-b24f-6f403ed1344a" providerId="ADAL" clId="{97AE8C35-2375-40D4-8F09-DBC209B3CDBF}" dt="2021-03-06T16:21:57.725" v="5954"/>
          <ac:spMkLst>
            <pc:docMk/>
            <pc:sldMk cId="196297346" sldId="505"/>
            <ac:spMk id="88" creationId="{854B5A4D-100A-4CDA-8F82-65C0FF16E5EB}"/>
          </ac:spMkLst>
        </pc:spChg>
        <pc:spChg chg="mod">
          <ac:chgData name="MOUAMMAR Matthieu" userId="a28de245-dc05-4206-b24f-6f403ed1344a" providerId="ADAL" clId="{97AE8C35-2375-40D4-8F09-DBC209B3CDBF}" dt="2021-03-06T16:21:57.725" v="5954"/>
          <ac:spMkLst>
            <pc:docMk/>
            <pc:sldMk cId="196297346" sldId="505"/>
            <ac:spMk id="89" creationId="{747994E0-AE61-4578-8FC5-3377DE592309}"/>
          </ac:spMkLst>
        </pc:spChg>
        <pc:spChg chg="mod">
          <ac:chgData name="MOUAMMAR Matthieu" userId="a28de245-dc05-4206-b24f-6f403ed1344a" providerId="ADAL" clId="{97AE8C35-2375-40D4-8F09-DBC209B3CDBF}" dt="2021-03-06T16:21:57.725" v="5954"/>
          <ac:spMkLst>
            <pc:docMk/>
            <pc:sldMk cId="196297346" sldId="505"/>
            <ac:spMk id="90" creationId="{17682F45-A4D5-4543-98CC-BBC765C87140}"/>
          </ac:spMkLst>
        </pc:spChg>
        <pc:spChg chg="add mod">
          <ac:chgData name="MOUAMMAR Matthieu" userId="a28de245-dc05-4206-b24f-6f403ed1344a" providerId="ADAL" clId="{97AE8C35-2375-40D4-8F09-DBC209B3CDBF}" dt="2021-03-06T16:21:57.725" v="5954"/>
          <ac:spMkLst>
            <pc:docMk/>
            <pc:sldMk cId="196297346" sldId="505"/>
            <ac:spMk id="91" creationId="{A6AB1F93-09D7-4734-A7F7-9564FDE81BDA}"/>
          </ac:spMkLst>
        </pc:spChg>
        <pc:spChg chg="add mod">
          <ac:chgData name="MOUAMMAR Matthieu" userId="a28de245-dc05-4206-b24f-6f403ed1344a" providerId="ADAL" clId="{97AE8C35-2375-40D4-8F09-DBC209B3CDBF}" dt="2021-03-06T16:21:57.725" v="5954"/>
          <ac:spMkLst>
            <pc:docMk/>
            <pc:sldMk cId="196297346" sldId="505"/>
            <ac:spMk id="93" creationId="{37949822-D0E5-43A2-8E51-81DAA45F0FE0}"/>
          </ac:spMkLst>
        </pc:spChg>
        <pc:spChg chg="add mod">
          <ac:chgData name="MOUAMMAR Matthieu" userId="a28de245-dc05-4206-b24f-6f403ed1344a" providerId="ADAL" clId="{97AE8C35-2375-40D4-8F09-DBC209B3CDBF}" dt="2021-03-06T16:21:57.725" v="5954"/>
          <ac:spMkLst>
            <pc:docMk/>
            <pc:sldMk cId="196297346" sldId="505"/>
            <ac:spMk id="94" creationId="{C2B1872F-93FF-43F0-88BF-BF5A143D6946}"/>
          </ac:spMkLst>
        </pc:spChg>
        <pc:grpChg chg="add mod">
          <ac:chgData name="MOUAMMAR Matthieu" userId="a28de245-dc05-4206-b24f-6f403ed1344a" providerId="ADAL" clId="{97AE8C35-2375-40D4-8F09-DBC209B3CDBF}" dt="2021-03-06T16:22:14.942" v="5961" actId="1076"/>
          <ac:grpSpMkLst>
            <pc:docMk/>
            <pc:sldMk cId="196297346" sldId="505"/>
            <ac:grpSpMk id="12" creationId="{B79EF224-E6F1-4D2F-98B1-86A97B27261B}"/>
          </ac:grpSpMkLst>
        </pc:grpChg>
        <pc:grpChg chg="add mod">
          <ac:chgData name="MOUAMMAR Matthieu" userId="a28de245-dc05-4206-b24f-6f403ed1344a" providerId="ADAL" clId="{97AE8C35-2375-40D4-8F09-DBC209B3CDBF}" dt="2021-03-06T16:22:14.942" v="5961" actId="1076"/>
          <ac:grpSpMkLst>
            <pc:docMk/>
            <pc:sldMk cId="196297346" sldId="505"/>
            <ac:grpSpMk id="19" creationId="{BD6F34D1-FD56-4F6A-A679-F1DA3A0DD897}"/>
          </ac:grpSpMkLst>
        </pc:grpChg>
        <pc:grpChg chg="add mod">
          <ac:chgData name="MOUAMMAR Matthieu" userId="a28de245-dc05-4206-b24f-6f403ed1344a" providerId="ADAL" clId="{97AE8C35-2375-40D4-8F09-DBC209B3CDBF}" dt="2021-03-06T16:21:57.725" v="5954"/>
          <ac:grpSpMkLst>
            <pc:docMk/>
            <pc:sldMk cId="196297346" sldId="505"/>
            <ac:grpSpMk id="35" creationId="{70714232-40D8-4FA6-B37D-B8C2DD086364}"/>
          </ac:grpSpMkLst>
        </pc:grpChg>
        <pc:grpChg chg="add mod">
          <ac:chgData name="MOUAMMAR Matthieu" userId="a28de245-dc05-4206-b24f-6f403ed1344a" providerId="ADAL" clId="{97AE8C35-2375-40D4-8F09-DBC209B3CDBF}" dt="2021-03-06T16:21:57.725" v="5954"/>
          <ac:grpSpMkLst>
            <pc:docMk/>
            <pc:sldMk cId="196297346" sldId="505"/>
            <ac:grpSpMk id="44" creationId="{F608F44E-ABD0-40D8-9099-B57E72F46A05}"/>
          </ac:grpSpMkLst>
        </pc:grpChg>
        <pc:grpChg chg="add mod">
          <ac:chgData name="MOUAMMAR Matthieu" userId="a28de245-dc05-4206-b24f-6f403ed1344a" providerId="ADAL" clId="{97AE8C35-2375-40D4-8F09-DBC209B3CDBF}" dt="2021-03-06T16:21:57.725" v="5954"/>
          <ac:grpSpMkLst>
            <pc:docMk/>
            <pc:sldMk cId="196297346" sldId="505"/>
            <ac:grpSpMk id="47" creationId="{D09D8707-DDB5-4FF6-A37E-C87442794A53}"/>
          </ac:grpSpMkLst>
        </pc:grpChg>
        <pc:grpChg chg="add mod">
          <ac:chgData name="MOUAMMAR Matthieu" userId="a28de245-dc05-4206-b24f-6f403ed1344a" providerId="ADAL" clId="{97AE8C35-2375-40D4-8F09-DBC209B3CDBF}" dt="2021-03-06T16:21:57.725" v="5954"/>
          <ac:grpSpMkLst>
            <pc:docMk/>
            <pc:sldMk cId="196297346" sldId="505"/>
            <ac:grpSpMk id="52" creationId="{90A69446-B6AA-443E-8374-854ADCA234C2}"/>
          </ac:grpSpMkLst>
        </pc:grpChg>
        <pc:picChg chg="del">
          <ac:chgData name="MOUAMMAR Matthieu" userId="a28de245-dc05-4206-b24f-6f403ed1344a" providerId="ADAL" clId="{97AE8C35-2375-40D4-8F09-DBC209B3CDBF}" dt="2021-03-06T16:21:56.920" v="5953" actId="478"/>
          <ac:picMkLst>
            <pc:docMk/>
            <pc:sldMk cId="196297346" sldId="505"/>
            <ac:picMk id="8" creationId="{614738BF-236D-4EEF-8CF3-DF1CE955880F}"/>
          </ac:picMkLst>
        </pc:picChg>
        <pc:picChg chg="mod">
          <ac:chgData name="MOUAMMAR Matthieu" userId="a28de245-dc05-4206-b24f-6f403ed1344a" providerId="ADAL" clId="{97AE8C35-2375-40D4-8F09-DBC209B3CDBF}" dt="2021-03-06T16:21:57.725" v="5954"/>
          <ac:picMkLst>
            <pc:docMk/>
            <pc:sldMk cId="196297346" sldId="505"/>
            <ac:picMk id="13" creationId="{3D4A72BE-39D5-4D7F-A124-4D894ADA8B4E}"/>
          </ac:picMkLst>
        </pc:picChg>
        <pc:picChg chg="mod">
          <ac:chgData name="MOUAMMAR Matthieu" userId="a28de245-dc05-4206-b24f-6f403ed1344a" providerId="ADAL" clId="{97AE8C35-2375-40D4-8F09-DBC209B3CDBF}" dt="2021-03-06T16:21:57.725" v="5954"/>
          <ac:picMkLst>
            <pc:docMk/>
            <pc:sldMk cId="196297346" sldId="505"/>
            <ac:picMk id="14" creationId="{25B191C1-B5EE-4371-A6DE-6010235993B4}"/>
          </ac:picMkLst>
        </pc:picChg>
        <pc:picChg chg="mod">
          <ac:chgData name="MOUAMMAR Matthieu" userId="a28de245-dc05-4206-b24f-6f403ed1344a" providerId="ADAL" clId="{97AE8C35-2375-40D4-8F09-DBC209B3CDBF}" dt="2021-03-06T16:21:57.725" v="5954"/>
          <ac:picMkLst>
            <pc:docMk/>
            <pc:sldMk cId="196297346" sldId="505"/>
            <ac:picMk id="16" creationId="{81C9BE89-7A4E-4045-9F9F-C5CFB72FF216}"/>
          </ac:picMkLst>
        </pc:picChg>
        <pc:picChg chg="mod">
          <ac:chgData name="MOUAMMAR Matthieu" userId="a28de245-dc05-4206-b24f-6f403ed1344a" providerId="ADAL" clId="{97AE8C35-2375-40D4-8F09-DBC209B3CDBF}" dt="2021-03-06T16:21:57.725" v="5954"/>
          <ac:picMkLst>
            <pc:docMk/>
            <pc:sldMk cId="196297346" sldId="505"/>
            <ac:picMk id="17" creationId="{C215ABF1-BD7F-4A95-A44B-312022540911}"/>
          </ac:picMkLst>
        </pc:picChg>
        <pc:picChg chg="mod">
          <ac:chgData name="MOUAMMAR Matthieu" userId="a28de245-dc05-4206-b24f-6f403ed1344a" providerId="ADAL" clId="{97AE8C35-2375-40D4-8F09-DBC209B3CDBF}" dt="2021-03-06T16:21:57.725" v="5954"/>
          <ac:picMkLst>
            <pc:docMk/>
            <pc:sldMk cId="196297346" sldId="505"/>
            <ac:picMk id="18" creationId="{913879E7-AB19-4D7E-ACDE-A755709CF096}"/>
          </ac:picMkLst>
        </pc:picChg>
        <pc:picChg chg="mod">
          <ac:chgData name="MOUAMMAR Matthieu" userId="a28de245-dc05-4206-b24f-6f403ed1344a" providerId="ADAL" clId="{97AE8C35-2375-40D4-8F09-DBC209B3CDBF}" dt="2021-03-06T16:21:57.725" v="5954"/>
          <ac:picMkLst>
            <pc:docMk/>
            <pc:sldMk cId="196297346" sldId="505"/>
            <ac:picMk id="20" creationId="{56B76CC0-EE33-40FB-8EF4-8D534667B156}"/>
          </ac:picMkLst>
        </pc:picChg>
        <pc:picChg chg="mod">
          <ac:chgData name="MOUAMMAR Matthieu" userId="a28de245-dc05-4206-b24f-6f403ed1344a" providerId="ADAL" clId="{97AE8C35-2375-40D4-8F09-DBC209B3CDBF}" dt="2021-03-06T16:21:57.725" v="5954"/>
          <ac:picMkLst>
            <pc:docMk/>
            <pc:sldMk cId="196297346" sldId="505"/>
            <ac:picMk id="21" creationId="{18C16E51-3253-483E-9A1A-6F9592217A96}"/>
          </ac:picMkLst>
        </pc:picChg>
        <pc:picChg chg="mod">
          <ac:chgData name="MOUAMMAR Matthieu" userId="a28de245-dc05-4206-b24f-6f403ed1344a" providerId="ADAL" clId="{97AE8C35-2375-40D4-8F09-DBC209B3CDBF}" dt="2021-03-06T16:21:57.725" v="5954"/>
          <ac:picMkLst>
            <pc:docMk/>
            <pc:sldMk cId="196297346" sldId="505"/>
            <ac:picMk id="22" creationId="{E4F78D19-E186-42C1-A088-2D55537012FF}"/>
          </ac:picMkLst>
        </pc:picChg>
        <pc:picChg chg="mod">
          <ac:chgData name="MOUAMMAR Matthieu" userId="a28de245-dc05-4206-b24f-6f403ed1344a" providerId="ADAL" clId="{97AE8C35-2375-40D4-8F09-DBC209B3CDBF}" dt="2021-03-06T16:21:57.725" v="5954"/>
          <ac:picMkLst>
            <pc:docMk/>
            <pc:sldMk cId="196297346" sldId="505"/>
            <ac:picMk id="23" creationId="{BCF3D770-A668-4707-A840-66941ED3A5CE}"/>
          </ac:picMkLst>
        </pc:picChg>
        <pc:picChg chg="mod">
          <ac:chgData name="MOUAMMAR Matthieu" userId="a28de245-dc05-4206-b24f-6f403ed1344a" providerId="ADAL" clId="{97AE8C35-2375-40D4-8F09-DBC209B3CDBF}" dt="2021-03-06T16:21:57.725" v="5954"/>
          <ac:picMkLst>
            <pc:docMk/>
            <pc:sldMk cId="196297346" sldId="505"/>
            <ac:picMk id="24" creationId="{19CEA93E-D555-41FD-8CA3-A264D47163A0}"/>
          </ac:picMkLst>
        </pc:picChg>
        <pc:cxnChg chg="add mod">
          <ac:chgData name="MOUAMMAR Matthieu" userId="a28de245-dc05-4206-b24f-6f403ed1344a" providerId="ADAL" clId="{97AE8C35-2375-40D4-8F09-DBC209B3CDBF}" dt="2021-03-06T16:22:14.942" v="5961" actId="1076"/>
          <ac:cxnSpMkLst>
            <pc:docMk/>
            <pc:sldMk cId="196297346" sldId="505"/>
            <ac:cxnSpMk id="27" creationId="{6607F88F-3064-4470-BE42-54B0A466E993}"/>
          </ac:cxnSpMkLst>
        </pc:cxnChg>
        <pc:cxnChg chg="add mod">
          <ac:chgData name="MOUAMMAR Matthieu" userId="a28de245-dc05-4206-b24f-6f403ed1344a" providerId="ADAL" clId="{97AE8C35-2375-40D4-8F09-DBC209B3CDBF}" dt="2021-03-06T16:22:20.341" v="5962" actId="1076"/>
          <ac:cxnSpMkLst>
            <pc:docMk/>
            <pc:sldMk cId="196297346" sldId="505"/>
            <ac:cxnSpMk id="28" creationId="{8322C242-06A0-4870-BF7D-FAEBD7211311}"/>
          </ac:cxnSpMkLst>
        </pc:cxnChg>
        <pc:cxnChg chg="add mod">
          <ac:chgData name="MOUAMMAR Matthieu" userId="a28de245-dc05-4206-b24f-6f403ed1344a" providerId="ADAL" clId="{97AE8C35-2375-40D4-8F09-DBC209B3CDBF}" dt="2021-03-06T16:21:57.725" v="5954"/>
          <ac:cxnSpMkLst>
            <pc:docMk/>
            <pc:sldMk cId="196297346" sldId="505"/>
            <ac:cxnSpMk id="30" creationId="{F5830760-6D8E-49AA-8C39-C63AA15A6384}"/>
          </ac:cxnSpMkLst>
        </pc:cxnChg>
        <pc:cxnChg chg="add mod">
          <ac:chgData name="MOUAMMAR Matthieu" userId="a28de245-dc05-4206-b24f-6f403ed1344a" providerId="ADAL" clId="{97AE8C35-2375-40D4-8F09-DBC209B3CDBF}" dt="2021-03-06T16:21:57.725" v="5954"/>
          <ac:cxnSpMkLst>
            <pc:docMk/>
            <pc:sldMk cId="196297346" sldId="505"/>
            <ac:cxnSpMk id="31" creationId="{9BA22C30-7607-4650-9325-97AF4162AD9D}"/>
          </ac:cxnSpMkLst>
        </pc:cxnChg>
        <pc:cxnChg chg="add mod">
          <ac:chgData name="MOUAMMAR Matthieu" userId="a28de245-dc05-4206-b24f-6f403ed1344a" providerId="ADAL" clId="{97AE8C35-2375-40D4-8F09-DBC209B3CDBF}" dt="2021-03-06T16:21:57.725" v="5954"/>
          <ac:cxnSpMkLst>
            <pc:docMk/>
            <pc:sldMk cId="196297346" sldId="505"/>
            <ac:cxnSpMk id="32" creationId="{BB74EA4E-9CA3-4751-B7CC-9F346D81B97E}"/>
          </ac:cxnSpMkLst>
        </pc:cxnChg>
        <pc:cxnChg chg="add mod">
          <ac:chgData name="MOUAMMAR Matthieu" userId="a28de245-dc05-4206-b24f-6f403ed1344a" providerId="ADAL" clId="{97AE8C35-2375-40D4-8F09-DBC209B3CDBF}" dt="2021-03-06T16:21:57.725" v="5954"/>
          <ac:cxnSpMkLst>
            <pc:docMk/>
            <pc:sldMk cId="196297346" sldId="505"/>
            <ac:cxnSpMk id="43" creationId="{8707EDE1-805D-446F-BE48-B3A8825B810F}"/>
          </ac:cxnSpMkLst>
        </pc:cxnChg>
        <pc:cxnChg chg="add mod">
          <ac:chgData name="MOUAMMAR Matthieu" userId="a28de245-dc05-4206-b24f-6f403ed1344a" providerId="ADAL" clId="{97AE8C35-2375-40D4-8F09-DBC209B3CDBF}" dt="2021-03-06T16:21:57.725" v="5954"/>
          <ac:cxnSpMkLst>
            <pc:docMk/>
            <pc:sldMk cId="196297346" sldId="505"/>
            <ac:cxnSpMk id="92" creationId="{0CB01EE0-F626-4B29-A4D5-AB4294A93740}"/>
          </ac:cxnSpMkLst>
        </pc:cxnChg>
      </pc:sldChg>
      <pc:sldChg chg="addSp delSp modSp add mod">
        <pc:chgData name="MOUAMMAR Matthieu" userId="a28de245-dc05-4206-b24f-6f403ed1344a" providerId="ADAL" clId="{97AE8C35-2375-40D4-8F09-DBC209B3CDBF}" dt="2021-03-07T15:02:05.372" v="8321" actId="20577"/>
        <pc:sldMkLst>
          <pc:docMk/>
          <pc:sldMk cId="3847971431" sldId="506"/>
        </pc:sldMkLst>
        <pc:spChg chg="mod">
          <ac:chgData name="MOUAMMAR Matthieu" userId="a28de245-dc05-4206-b24f-6f403ed1344a" providerId="ADAL" clId="{97AE8C35-2375-40D4-8F09-DBC209B3CDBF}" dt="2021-03-07T15:01:37.398" v="8300" actId="20577"/>
          <ac:spMkLst>
            <pc:docMk/>
            <pc:sldMk cId="3847971431" sldId="506"/>
            <ac:spMk id="5" creationId="{00000000-0000-0000-0000-000000000000}"/>
          </ac:spMkLst>
        </pc:spChg>
        <pc:spChg chg="del">
          <ac:chgData name="MOUAMMAR Matthieu" userId="a28de245-dc05-4206-b24f-6f403ed1344a" providerId="ADAL" clId="{97AE8C35-2375-40D4-8F09-DBC209B3CDBF}" dt="2021-03-06T16:25:30.082" v="5970" actId="478"/>
          <ac:spMkLst>
            <pc:docMk/>
            <pc:sldMk cId="3847971431" sldId="506"/>
            <ac:spMk id="10" creationId="{D6C52D3A-2805-4CE3-AB1D-38F0EED8C540}"/>
          </ac:spMkLst>
        </pc:spChg>
        <pc:spChg chg="del">
          <ac:chgData name="MOUAMMAR Matthieu" userId="a28de245-dc05-4206-b24f-6f403ed1344a" providerId="ADAL" clId="{97AE8C35-2375-40D4-8F09-DBC209B3CDBF}" dt="2021-03-06T16:25:29.047" v="5969" actId="478"/>
          <ac:spMkLst>
            <pc:docMk/>
            <pc:sldMk cId="3847971431" sldId="506"/>
            <ac:spMk id="11" creationId="{DE197118-7A13-4566-96C2-AD2DF6446E1C}"/>
          </ac:spMkLst>
        </pc:spChg>
        <pc:spChg chg="del">
          <ac:chgData name="MOUAMMAR Matthieu" userId="a28de245-dc05-4206-b24f-6f403ed1344a" providerId="ADAL" clId="{97AE8C35-2375-40D4-8F09-DBC209B3CDBF}" dt="2021-03-06T16:25:26.529" v="5968" actId="478"/>
          <ac:spMkLst>
            <pc:docMk/>
            <pc:sldMk cId="3847971431" sldId="506"/>
            <ac:spMk id="25" creationId="{101B4B1E-898C-4D25-9C45-8C3E3DBFCC59}"/>
          </ac:spMkLst>
        </pc:spChg>
        <pc:spChg chg="del">
          <ac:chgData name="MOUAMMAR Matthieu" userId="a28de245-dc05-4206-b24f-6f403ed1344a" providerId="ADAL" clId="{97AE8C35-2375-40D4-8F09-DBC209B3CDBF}" dt="2021-03-06T16:25:23.799" v="5967" actId="478"/>
          <ac:spMkLst>
            <pc:docMk/>
            <pc:sldMk cId="3847971431" sldId="506"/>
            <ac:spMk id="26" creationId="{62045E00-C5D7-4284-BB6B-0933736C9490}"/>
          </ac:spMkLst>
        </pc:spChg>
        <pc:spChg chg="del">
          <ac:chgData name="MOUAMMAR Matthieu" userId="a28de245-dc05-4206-b24f-6f403ed1344a" providerId="ADAL" clId="{97AE8C35-2375-40D4-8F09-DBC209B3CDBF}" dt="2021-03-06T16:25:21.369" v="5966" actId="478"/>
          <ac:spMkLst>
            <pc:docMk/>
            <pc:sldMk cId="3847971431" sldId="506"/>
            <ac:spMk id="29" creationId="{A168644F-D13C-4D75-8BA5-D19AB9A71E02}"/>
          </ac:spMkLst>
        </pc:spChg>
        <pc:spChg chg="del">
          <ac:chgData name="MOUAMMAR Matthieu" userId="a28de245-dc05-4206-b24f-6f403ed1344a" providerId="ADAL" clId="{97AE8C35-2375-40D4-8F09-DBC209B3CDBF}" dt="2021-03-06T16:25:26.529" v="5968" actId="478"/>
          <ac:spMkLst>
            <pc:docMk/>
            <pc:sldMk cId="3847971431" sldId="506"/>
            <ac:spMk id="33" creationId="{593E78ED-7D40-453D-B16D-5EFB7616A2C7}"/>
          </ac:spMkLst>
        </pc:spChg>
        <pc:spChg chg="del">
          <ac:chgData name="MOUAMMAR Matthieu" userId="a28de245-dc05-4206-b24f-6f403ed1344a" providerId="ADAL" clId="{97AE8C35-2375-40D4-8F09-DBC209B3CDBF}" dt="2021-03-06T16:25:26.529" v="5968" actId="478"/>
          <ac:spMkLst>
            <pc:docMk/>
            <pc:sldMk cId="3847971431" sldId="506"/>
            <ac:spMk id="34" creationId="{3AFFAD28-B49A-4591-A4A8-F4F068FC2C37}"/>
          </ac:spMkLst>
        </pc:spChg>
        <pc:spChg chg="del">
          <ac:chgData name="MOUAMMAR Matthieu" userId="a28de245-dc05-4206-b24f-6f403ed1344a" providerId="ADAL" clId="{97AE8C35-2375-40D4-8F09-DBC209B3CDBF}" dt="2021-03-06T16:25:26.529" v="5968" actId="478"/>
          <ac:spMkLst>
            <pc:docMk/>
            <pc:sldMk cId="3847971431" sldId="506"/>
            <ac:spMk id="42" creationId="{66BA88A4-4A8C-4406-A6CA-61F4BBEF3952}"/>
          </ac:spMkLst>
        </pc:spChg>
        <pc:spChg chg="del">
          <ac:chgData name="MOUAMMAR Matthieu" userId="a28de245-dc05-4206-b24f-6f403ed1344a" providerId="ADAL" clId="{97AE8C35-2375-40D4-8F09-DBC209B3CDBF}" dt="2021-03-06T16:25:26.529" v="5968" actId="478"/>
          <ac:spMkLst>
            <pc:docMk/>
            <pc:sldMk cId="3847971431" sldId="506"/>
            <ac:spMk id="91" creationId="{A6AB1F93-09D7-4734-A7F7-9564FDE81BDA}"/>
          </ac:spMkLst>
        </pc:spChg>
        <pc:spChg chg="del">
          <ac:chgData name="MOUAMMAR Matthieu" userId="a28de245-dc05-4206-b24f-6f403ed1344a" providerId="ADAL" clId="{97AE8C35-2375-40D4-8F09-DBC209B3CDBF}" dt="2021-03-06T16:25:26.529" v="5968" actId="478"/>
          <ac:spMkLst>
            <pc:docMk/>
            <pc:sldMk cId="3847971431" sldId="506"/>
            <ac:spMk id="93" creationId="{37949822-D0E5-43A2-8E51-81DAA45F0FE0}"/>
          </ac:spMkLst>
        </pc:spChg>
        <pc:spChg chg="del">
          <ac:chgData name="MOUAMMAR Matthieu" userId="a28de245-dc05-4206-b24f-6f403ed1344a" providerId="ADAL" clId="{97AE8C35-2375-40D4-8F09-DBC209B3CDBF}" dt="2021-03-06T16:25:33.070" v="5973" actId="478"/>
          <ac:spMkLst>
            <pc:docMk/>
            <pc:sldMk cId="3847971431" sldId="506"/>
            <ac:spMk id="94" creationId="{C2B1872F-93FF-43F0-88BF-BF5A143D6946}"/>
          </ac:spMkLst>
        </pc:spChg>
        <pc:spChg chg="add mod">
          <ac:chgData name="MOUAMMAR Matthieu" userId="a28de245-dc05-4206-b24f-6f403ed1344a" providerId="ADAL" clId="{97AE8C35-2375-40D4-8F09-DBC209B3CDBF}" dt="2021-03-07T15:02:05.372" v="8321" actId="20577"/>
          <ac:spMkLst>
            <pc:docMk/>
            <pc:sldMk cId="3847971431" sldId="506"/>
            <ac:spMk id="95" creationId="{ADA48F62-FEC6-4B2C-894A-A1849442E7FD}"/>
          </ac:spMkLst>
        </pc:spChg>
        <pc:spChg chg="add del">
          <ac:chgData name="MOUAMMAR Matthieu" userId="a28de245-dc05-4206-b24f-6f403ed1344a" providerId="ADAL" clId="{97AE8C35-2375-40D4-8F09-DBC209B3CDBF}" dt="2021-03-06T16:26:04.702" v="5980" actId="22"/>
          <ac:spMkLst>
            <pc:docMk/>
            <pc:sldMk cId="3847971431" sldId="506"/>
            <ac:spMk id="96" creationId="{7DBD3CBC-335B-48CC-B40C-2D20A6A699D7}"/>
          </ac:spMkLst>
        </pc:spChg>
        <pc:spChg chg="add mod">
          <ac:chgData name="MOUAMMAR Matthieu" userId="a28de245-dc05-4206-b24f-6f403ed1344a" providerId="ADAL" clId="{97AE8C35-2375-40D4-8F09-DBC209B3CDBF}" dt="2021-03-06T16:26:30.934" v="6032"/>
          <ac:spMkLst>
            <pc:docMk/>
            <pc:sldMk cId="3847971431" sldId="506"/>
            <ac:spMk id="99" creationId="{C7D6DAB0-C1AD-4BD1-B13A-446FFC0EBFED}"/>
          </ac:spMkLst>
        </pc:spChg>
        <pc:spChg chg="add mod">
          <ac:chgData name="MOUAMMAR Matthieu" userId="a28de245-dc05-4206-b24f-6f403ed1344a" providerId="ADAL" clId="{97AE8C35-2375-40D4-8F09-DBC209B3CDBF}" dt="2021-03-06T16:26:30.934" v="6032"/>
          <ac:spMkLst>
            <pc:docMk/>
            <pc:sldMk cId="3847971431" sldId="506"/>
            <ac:spMk id="101" creationId="{9EEC9193-9EE6-4617-BB01-57F4B29D0D4A}"/>
          </ac:spMkLst>
        </pc:spChg>
        <pc:spChg chg="add mod">
          <ac:chgData name="MOUAMMAR Matthieu" userId="a28de245-dc05-4206-b24f-6f403ed1344a" providerId="ADAL" clId="{97AE8C35-2375-40D4-8F09-DBC209B3CDBF}" dt="2021-03-06T16:26:46.602" v="6034" actId="1076"/>
          <ac:spMkLst>
            <pc:docMk/>
            <pc:sldMk cId="3847971431" sldId="506"/>
            <ac:spMk id="103" creationId="{0D858E16-922C-434C-A2EF-266A0A391682}"/>
          </ac:spMkLst>
        </pc:spChg>
        <pc:grpChg chg="del">
          <ac:chgData name="MOUAMMAR Matthieu" userId="a28de245-dc05-4206-b24f-6f403ed1344a" providerId="ADAL" clId="{97AE8C35-2375-40D4-8F09-DBC209B3CDBF}" dt="2021-03-06T16:25:23.799" v="5967" actId="478"/>
          <ac:grpSpMkLst>
            <pc:docMk/>
            <pc:sldMk cId="3847971431" sldId="506"/>
            <ac:grpSpMk id="12" creationId="{B79EF224-E6F1-4D2F-98B1-86A97B27261B}"/>
          </ac:grpSpMkLst>
        </pc:grpChg>
        <pc:grpChg chg="del">
          <ac:chgData name="MOUAMMAR Matthieu" userId="a28de245-dc05-4206-b24f-6f403ed1344a" providerId="ADAL" clId="{97AE8C35-2375-40D4-8F09-DBC209B3CDBF}" dt="2021-03-06T16:25:20.284" v="5965" actId="478"/>
          <ac:grpSpMkLst>
            <pc:docMk/>
            <pc:sldMk cId="3847971431" sldId="506"/>
            <ac:grpSpMk id="19" creationId="{BD6F34D1-FD56-4F6A-A679-F1DA3A0DD897}"/>
          </ac:grpSpMkLst>
        </pc:grpChg>
        <pc:grpChg chg="del">
          <ac:chgData name="MOUAMMAR Matthieu" userId="a28de245-dc05-4206-b24f-6f403ed1344a" providerId="ADAL" clId="{97AE8C35-2375-40D4-8F09-DBC209B3CDBF}" dt="2021-03-06T16:25:26.529" v="5968" actId="478"/>
          <ac:grpSpMkLst>
            <pc:docMk/>
            <pc:sldMk cId="3847971431" sldId="506"/>
            <ac:grpSpMk id="35" creationId="{70714232-40D8-4FA6-B37D-B8C2DD086364}"/>
          </ac:grpSpMkLst>
        </pc:grpChg>
        <pc:grpChg chg="del">
          <ac:chgData name="MOUAMMAR Matthieu" userId="a28de245-dc05-4206-b24f-6f403ed1344a" providerId="ADAL" clId="{97AE8C35-2375-40D4-8F09-DBC209B3CDBF}" dt="2021-03-06T16:25:26.529" v="5968" actId="478"/>
          <ac:grpSpMkLst>
            <pc:docMk/>
            <pc:sldMk cId="3847971431" sldId="506"/>
            <ac:grpSpMk id="44" creationId="{F608F44E-ABD0-40D8-9099-B57E72F46A05}"/>
          </ac:grpSpMkLst>
        </pc:grpChg>
        <pc:grpChg chg="del">
          <ac:chgData name="MOUAMMAR Matthieu" userId="a28de245-dc05-4206-b24f-6f403ed1344a" providerId="ADAL" clId="{97AE8C35-2375-40D4-8F09-DBC209B3CDBF}" dt="2021-03-06T16:25:26.529" v="5968" actId="478"/>
          <ac:grpSpMkLst>
            <pc:docMk/>
            <pc:sldMk cId="3847971431" sldId="506"/>
            <ac:grpSpMk id="47" creationId="{D09D8707-DDB5-4FF6-A37E-C87442794A53}"/>
          </ac:grpSpMkLst>
        </pc:grpChg>
        <pc:grpChg chg="del">
          <ac:chgData name="MOUAMMAR Matthieu" userId="a28de245-dc05-4206-b24f-6f403ed1344a" providerId="ADAL" clId="{97AE8C35-2375-40D4-8F09-DBC209B3CDBF}" dt="2021-03-06T16:25:26.529" v="5968" actId="478"/>
          <ac:grpSpMkLst>
            <pc:docMk/>
            <pc:sldMk cId="3847971431" sldId="506"/>
            <ac:grpSpMk id="52" creationId="{90A69446-B6AA-443E-8374-854ADCA234C2}"/>
          </ac:grpSpMkLst>
        </pc:grpChg>
        <pc:picChg chg="add mod">
          <ac:chgData name="MOUAMMAR Matthieu" userId="a28de245-dc05-4206-b24f-6f403ed1344a" providerId="ADAL" clId="{97AE8C35-2375-40D4-8F09-DBC209B3CDBF}" dt="2021-03-06T16:26:30.934" v="6032"/>
          <ac:picMkLst>
            <pc:docMk/>
            <pc:sldMk cId="3847971431" sldId="506"/>
            <ac:picMk id="97" creationId="{2F0BC4C4-72CB-4AC7-9D3C-157861280CE6}"/>
          </ac:picMkLst>
        </pc:picChg>
        <pc:picChg chg="add mod">
          <ac:chgData name="MOUAMMAR Matthieu" userId="a28de245-dc05-4206-b24f-6f403ed1344a" providerId="ADAL" clId="{97AE8C35-2375-40D4-8F09-DBC209B3CDBF}" dt="2021-03-06T16:26:30.934" v="6032"/>
          <ac:picMkLst>
            <pc:docMk/>
            <pc:sldMk cId="3847971431" sldId="506"/>
            <ac:picMk id="98" creationId="{499CB36D-D8B3-4B81-87F7-1AF4BCBC2FA4}"/>
          </ac:picMkLst>
        </pc:picChg>
        <pc:picChg chg="add mod">
          <ac:chgData name="MOUAMMAR Matthieu" userId="a28de245-dc05-4206-b24f-6f403ed1344a" providerId="ADAL" clId="{97AE8C35-2375-40D4-8F09-DBC209B3CDBF}" dt="2021-03-06T16:26:30.934" v="6032"/>
          <ac:picMkLst>
            <pc:docMk/>
            <pc:sldMk cId="3847971431" sldId="506"/>
            <ac:picMk id="100" creationId="{49550D41-6041-4B3F-BB79-775678953AEE}"/>
          </ac:picMkLst>
        </pc:picChg>
        <pc:picChg chg="add mod">
          <ac:chgData name="MOUAMMAR Matthieu" userId="a28de245-dc05-4206-b24f-6f403ed1344a" providerId="ADAL" clId="{97AE8C35-2375-40D4-8F09-DBC209B3CDBF}" dt="2021-03-06T16:26:46.602" v="6034" actId="1076"/>
          <ac:picMkLst>
            <pc:docMk/>
            <pc:sldMk cId="3847971431" sldId="506"/>
            <ac:picMk id="102" creationId="{813ADAAB-FE0F-4270-A279-7C482F6F68D4}"/>
          </ac:picMkLst>
        </pc:picChg>
        <pc:cxnChg chg="del mod">
          <ac:chgData name="MOUAMMAR Matthieu" userId="a28de245-dc05-4206-b24f-6f403ed1344a" providerId="ADAL" clId="{97AE8C35-2375-40D4-8F09-DBC209B3CDBF}" dt="2021-03-06T16:25:23.799" v="5967" actId="478"/>
          <ac:cxnSpMkLst>
            <pc:docMk/>
            <pc:sldMk cId="3847971431" sldId="506"/>
            <ac:cxnSpMk id="27" creationId="{6607F88F-3064-4470-BE42-54B0A466E993}"/>
          </ac:cxnSpMkLst>
        </pc:cxnChg>
        <pc:cxnChg chg="del">
          <ac:chgData name="MOUAMMAR Matthieu" userId="a28de245-dc05-4206-b24f-6f403ed1344a" providerId="ADAL" clId="{97AE8C35-2375-40D4-8F09-DBC209B3CDBF}" dt="2021-03-06T16:25:23.799" v="5967" actId="478"/>
          <ac:cxnSpMkLst>
            <pc:docMk/>
            <pc:sldMk cId="3847971431" sldId="506"/>
            <ac:cxnSpMk id="28" creationId="{8322C242-06A0-4870-BF7D-FAEBD7211311}"/>
          </ac:cxnSpMkLst>
        </pc:cxnChg>
        <pc:cxnChg chg="del">
          <ac:chgData name="MOUAMMAR Matthieu" userId="a28de245-dc05-4206-b24f-6f403ed1344a" providerId="ADAL" clId="{97AE8C35-2375-40D4-8F09-DBC209B3CDBF}" dt="2021-03-06T16:25:19.372" v="5964" actId="478"/>
          <ac:cxnSpMkLst>
            <pc:docMk/>
            <pc:sldMk cId="3847971431" sldId="506"/>
            <ac:cxnSpMk id="30" creationId="{F5830760-6D8E-49AA-8C39-C63AA15A6384}"/>
          </ac:cxnSpMkLst>
        </pc:cxnChg>
        <pc:cxnChg chg="del">
          <ac:chgData name="MOUAMMAR Matthieu" userId="a28de245-dc05-4206-b24f-6f403ed1344a" providerId="ADAL" clId="{97AE8C35-2375-40D4-8F09-DBC209B3CDBF}" dt="2021-03-06T16:25:34.431" v="5975" actId="478"/>
          <ac:cxnSpMkLst>
            <pc:docMk/>
            <pc:sldMk cId="3847971431" sldId="506"/>
            <ac:cxnSpMk id="31" creationId="{9BA22C30-7607-4650-9325-97AF4162AD9D}"/>
          </ac:cxnSpMkLst>
        </pc:cxnChg>
        <pc:cxnChg chg="del">
          <ac:chgData name="MOUAMMAR Matthieu" userId="a28de245-dc05-4206-b24f-6f403ed1344a" providerId="ADAL" clId="{97AE8C35-2375-40D4-8F09-DBC209B3CDBF}" dt="2021-03-06T16:25:33.756" v="5974" actId="478"/>
          <ac:cxnSpMkLst>
            <pc:docMk/>
            <pc:sldMk cId="3847971431" sldId="506"/>
            <ac:cxnSpMk id="32" creationId="{BB74EA4E-9CA3-4751-B7CC-9F346D81B97E}"/>
          </ac:cxnSpMkLst>
        </pc:cxnChg>
        <pc:cxnChg chg="del">
          <ac:chgData name="MOUAMMAR Matthieu" userId="a28de245-dc05-4206-b24f-6f403ed1344a" providerId="ADAL" clId="{97AE8C35-2375-40D4-8F09-DBC209B3CDBF}" dt="2021-03-06T16:25:31.569" v="5972" actId="478"/>
          <ac:cxnSpMkLst>
            <pc:docMk/>
            <pc:sldMk cId="3847971431" sldId="506"/>
            <ac:cxnSpMk id="43" creationId="{8707EDE1-805D-446F-BE48-B3A8825B810F}"/>
          </ac:cxnSpMkLst>
        </pc:cxnChg>
        <pc:cxnChg chg="del">
          <ac:chgData name="MOUAMMAR Matthieu" userId="a28de245-dc05-4206-b24f-6f403ed1344a" providerId="ADAL" clId="{97AE8C35-2375-40D4-8F09-DBC209B3CDBF}" dt="2021-03-06T16:25:30.751" v="5971" actId="478"/>
          <ac:cxnSpMkLst>
            <pc:docMk/>
            <pc:sldMk cId="3847971431" sldId="506"/>
            <ac:cxnSpMk id="92" creationId="{0CB01EE0-F626-4B29-A4D5-AB4294A93740}"/>
          </ac:cxnSpMkLst>
        </pc:cxnChg>
      </pc:sldChg>
      <pc:sldChg chg="addSp delSp modSp add mod">
        <pc:chgData name="MOUAMMAR Matthieu" userId="a28de245-dc05-4206-b24f-6f403ed1344a" providerId="ADAL" clId="{97AE8C35-2375-40D4-8F09-DBC209B3CDBF}" dt="2021-03-06T16:27:32.230" v="6073" actId="478"/>
        <pc:sldMkLst>
          <pc:docMk/>
          <pc:sldMk cId="2061092586" sldId="507"/>
        </pc:sldMkLst>
        <pc:spChg chg="mod">
          <ac:chgData name="MOUAMMAR Matthieu" userId="a28de245-dc05-4206-b24f-6f403ed1344a" providerId="ADAL" clId="{97AE8C35-2375-40D4-8F09-DBC209B3CDBF}" dt="2021-03-06T16:27:22.223" v="6070" actId="20577"/>
          <ac:spMkLst>
            <pc:docMk/>
            <pc:sldMk cId="2061092586" sldId="507"/>
            <ac:spMk id="5" creationId="{00000000-0000-0000-0000-000000000000}"/>
          </ac:spMkLst>
        </pc:spChg>
        <pc:spChg chg="del">
          <ac:chgData name="MOUAMMAR Matthieu" userId="a28de245-dc05-4206-b24f-6f403ed1344a" providerId="ADAL" clId="{97AE8C35-2375-40D4-8F09-DBC209B3CDBF}" dt="2021-03-06T16:27:27.440" v="6071" actId="478"/>
          <ac:spMkLst>
            <pc:docMk/>
            <pc:sldMk cId="2061092586" sldId="507"/>
            <ac:spMk id="95" creationId="{ADA48F62-FEC6-4B2C-894A-A1849442E7FD}"/>
          </ac:spMkLst>
        </pc:spChg>
        <pc:spChg chg="del">
          <ac:chgData name="MOUAMMAR Matthieu" userId="a28de245-dc05-4206-b24f-6f403ed1344a" providerId="ADAL" clId="{97AE8C35-2375-40D4-8F09-DBC209B3CDBF}" dt="2021-03-06T16:27:27.440" v="6071" actId="478"/>
          <ac:spMkLst>
            <pc:docMk/>
            <pc:sldMk cId="2061092586" sldId="507"/>
            <ac:spMk id="99" creationId="{C7D6DAB0-C1AD-4BD1-B13A-446FFC0EBFED}"/>
          </ac:spMkLst>
        </pc:spChg>
        <pc:spChg chg="del">
          <ac:chgData name="MOUAMMAR Matthieu" userId="a28de245-dc05-4206-b24f-6f403ed1344a" providerId="ADAL" clId="{97AE8C35-2375-40D4-8F09-DBC209B3CDBF}" dt="2021-03-06T16:27:27.440" v="6071" actId="478"/>
          <ac:spMkLst>
            <pc:docMk/>
            <pc:sldMk cId="2061092586" sldId="507"/>
            <ac:spMk id="101" creationId="{9EEC9193-9EE6-4617-BB01-57F4B29D0D4A}"/>
          </ac:spMkLst>
        </pc:spChg>
        <pc:spChg chg="del">
          <ac:chgData name="MOUAMMAR Matthieu" userId="a28de245-dc05-4206-b24f-6f403ed1344a" providerId="ADAL" clId="{97AE8C35-2375-40D4-8F09-DBC209B3CDBF}" dt="2021-03-06T16:27:27.440" v="6071" actId="478"/>
          <ac:spMkLst>
            <pc:docMk/>
            <pc:sldMk cId="2061092586" sldId="507"/>
            <ac:spMk id="103" creationId="{0D858E16-922C-434C-A2EF-266A0A391682}"/>
          </ac:spMkLst>
        </pc:spChg>
        <pc:picChg chg="add mod">
          <ac:chgData name="MOUAMMAR Matthieu" userId="a28de245-dc05-4206-b24f-6f403ed1344a" providerId="ADAL" clId="{97AE8C35-2375-40D4-8F09-DBC209B3CDBF}" dt="2021-03-06T16:27:30.072" v="6072"/>
          <ac:picMkLst>
            <pc:docMk/>
            <pc:sldMk cId="2061092586" sldId="507"/>
            <ac:picMk id="14" creationId="{A72C01E6-44DC-49EF-AC86-CC8353BAEFCF}"/>
          </ac:picMkLst>
        </pc:picChg>
        <pc:picChg chg="del">
          <ac:chgData name="MOUAMMAR Matthieu" userId="a28de245-dc05-4206-b24f-6f403ed1344a" providerId="ADAL" clId="{97AE8C35-2375-40D4-8F09-DBC209B3CDBF}" dt="2021-03-06T16:27:32.230" v="6073" actId="478"/>
          <ac:picMkLst>
            <pc:docMk/>
            <pc:sldMk cId="2061092586" sldId="507"/>
            <ac:picMk id="97" creationId="{2F0BC4C4-72CB-4AC7-9D3C-157861280CE6}"/>
          </ac:picMkLst>
        </pc:picChg>
        <pc:picChg chg="del">
          <ac:chgData name="MOUAMMAR Matthieu" userId="a28de245-dc05-4206-b24f-6f403ed1344a" providerId="ADAL" clId="{97AE8C35-2375-40D4-8F09-DBC209B3CDBF}" dt="2021-03-06T16:27:27.440" v="6071" actId="478"/>
          <ac:picMkLst>
            <pc:docMk/>
            <pc:sldMk cId="2061092586" sldId="507"/>
            <ac:picMk id="98" creationId="{499CB36D-D8B3-4B81-87F7-1AF4BCBC2FA4}"/>
          </ac:picMkLst>
        </pc:picChg>
        <pc:picChg chg="del">
          <ac:chgData name="MOUAMMAR Matthieu" userId="a28de245-dc05-4206-b24f-6f403ed1344a" providerId="ADAL" clId="{97AE8C35-2375-40D4-8F09-DBC209B3CDBF}" dt="2021-03-06T16:27:27.440" v="6071" actId="478"/>
          <ac:picMkLst>
            <pc:docMk/>
            <pc:sldMk cId="2061092586" sldId="507"/>
            <ac:picMk id="100" creationId="{49550D41-6041-4B3F-BB79-775678953AEE}"/>
          </ac:picMkLst>
        </pc:picChg>
        <pc:picChg chg="del">
          <ac:chgData name="MOUAMMAR Matthieu" userId="a28de245-dc05-4206-b24f-6f403ed1344a" providerId="ADAL" clId="{97AE8C35-2375-40D4-8F09-DBC209B3CDBF}" dt="2021-03-06T16:27:27.440" v="6071" actId="478"/>
          <ac:picMkLst>
            <pc:docMk/>
            <pc:sldMk cId="2061092586" sldId="507"/>
            <ac:picMk id="102" creationId="{813ADAAB-FE0F-4270-A279-7C482F6F68D4}"/>
          </ac:picMkLst>
        </pc:picChg>
      </pc:sldChg>
      <pc:sldChg chg="addSp delSp modSp add mod">
        <pc:chgData name="MOUAMMAR Matthieu" userId="a28de245-dc05-4206-b24f-6f403ed1344a" providerId="ADAL" clId="{97AE8C35-2375-40D4-8F09-DBC209B3CDBF}" dt="2021-03-07T15:21:35.437" v="8331" actId="21"/>
        <pc:sldMkLst>
          <pc:docMk/>
          <pc:sldMk cId="2910459607" sldId="508"/>
        </pc:sldMkLst>
        <pc:spChg chg="mod">
          <ac:chgData name="MOUAMMAR Matthieu" userId="a28de245-dc05-4206-b24f-6f403ed1344a" providerId="ADAL" clId="{97AE8C35-2375-40D4-8F09-DBC209B3CDBF}" dt="2021-03-06T16:50:41.446" v="7491" actId="20577"/>
          <ac:spMkLst>
            <pc:docMk/>
            <pc:sldMk cId="2910459607" sldId="508"/>
            <ac:spMk id="5" creationId="{00000000-0000-0000-0000-000000000000}"/>
          </ac:spMkLst>
        </pc:spChg>
        <pc:spChg chg="del">
          <ac:chgData name="MOUAMMAR Matthieu" userId="a28de245-dc05-4206-b24f-6f403ed1344a" providerId="ADAL" clId="{97AE8C35-2375-40D4-8F09-DBC209B3CDBF}" dt="2021-03-06T16:32:27.493" v="6098" actId="478"/>
          <ac:spMkLst>
            <pc:docMk/>
            <pc:sldMk cId="2910459607" sldId="508"/>
            <ac:spMk id="7" creationId="{F7460B39-0051-432C-8587-28B99120ABB5}"/>
          </ac:spMkLst>
        </pc:spChg>
        <pc:spChg chg="add mod">
          <ac:chgData name="MOUAMMAR Matthieu" userId="a28de245-dc05-4206-b24f-6f403ed1344a" providerId="ADAL" clId="{97AE8C35-2375-40D4-8F09-DBC209B3CDBF}" dt="2021-03-06T16:34:11.461" v="6197" actId="14100"/>
          <ac:spMkLst>
            <pc:docMk/>
            <pc:sldMk cId="2910459607" sldId="508"/>
            <ac:spMk id="8" creationId="{52B1F984-09E9-4D55-A6D9-ACAFCA6223DF}"/>
          </ac:spMkLst>
        </pc:spChg>
        <pc:spChg chg="add mod">
          <ac:chgData name="MOUAMMAR Matthieu" userId="a28de245-dc05-4206-b24f-6f403ed1344a" providerId="ADAL" clId="{97AE8C35-2375-40D4-8F09-DBC209B3CDBF}" dt="2021-03-06T16:33:27.059" v="6190" actId="1076"/>
          <ac:spMkLst>
            <pc:docMk/>
            <pc:sldMk cId="2910459607" sldId="508"/>
            <ac:spMk id="11" creationId="{A38EBCA5-CD51-4438-B465-073DF8B9320B}"/>
          </ac:spMkLst>
        </pc:spChg>
        <pc:spChg chg="add del mod">
          <ac:chgData name="MOUAMMAR Matthieu" userId="a28de245-dc05-4206-b24f-6f403ed1344a" providerId="ADAL" clId="{97AE8C35-2375-40D4-8F09-DBC209B3CDBF}" dt="2021-03-07T15:21:35.437" v="8331" actId="21"/>
          <ac:spMkLst>
            <pc:docMk/>
            <pc:sldMk cId="2910459607" sldId="508"/>
            <ac:spMk id="14" creationId="{E12CA1AC-24DF-42BD-AA04-66C93B2A5130}"/>
          </ac:spMkLst>
        </pc:spChg>
        <pc:picChg chg="del">
          <ac:chgData name="MOUAMMAR Matthieu" userId="a28de245-dc05-4206-b24f-6f403ed1344a" providerId="ADAL" clId="{97AE8C35-2375-40D4-8F09-DBC209B3CDBF}" dt="2021-03-06T16:32:26.342" v="6097" actId="478"/>
          <ac:picMkLst>
            <pc:docMk/>
            <pc:sldMk cId="2910459607" sldId="508"/>
            <ac:picMk id="10" creationId="{AC72BCB7-3427-4118-8003-C521A71BF7DC}"/>
          </ac:picMkLst>
        </pc:picChg>
        <pc:picChg chg="add mod">
          <ac:chgData name="MOUAMMAR Matthieu" userId="a28de245-dc05-4206-b24f-6f403ed1344a" providerId="ADAL" clId="{97AE8C35-2375-40D4-8F09-DBC209B3CDBF}" dt="2021-03-06T16:33:34.893" v="6192"/>
          <ac:picMkLst>
            <pc:docMk/>
            <pc:sldMk cId="2910459607" sldId="508"/>
            <ac:picMk id="12" creationId="{AEF183DD-23C1-432A-90EE-30244E9D4E66}"/>
          </ac:picMkLst>
        </pc:picChg>
        <pc:picChg chg="add mod">
          <ac:chgData name="MOUAMMAR Matthieu" userId="a28de245-dc05-4206-b24f-6f403ed1344a" providerId="ADAL" clId="{97AE8C35-2375-40D4-8F09-DBC209B3CDBF}" dt="2021-03-06T16:34:00.189" v="6195" actId="1076"/>
          <ac:picMkLst>
            <pc:docMk/>
            <pc:sldMk cId="2910459607" sldId="508"/>
            <ac:picMk id="13" creationId="{168DCE3A-B7FC-45D1-9B01-E11563075B2E}"/>
          </ac:picMkLst>
        </pc:picChg>
        <pc:picChg chg="add del mod">
          <ac:chgData name="MOUAMMAR Matthieu" userId="a28de245-dc05-4206-b24f-6f403ed1344a" providerId="ADAL" clId="{97AE8C35-2375-40D4-8F09-DBC209B3CDBF}" dt="2021-03-07T15:21:35.437" v="8331" actId="21"/>
          <ac:picMkLst>
            <pc:docMk/>
            <pc:sldMk cId="2910459607" sldId="508"/>
            <ac:picMk id="15" creationId="{EE735546-BBA1-47FC-BFBF-F252EAB5C240}"/>
          </ac:picMkLst>
        </pc:picChg>
      </pc:sldChg>
      <pc:sldChg chg="addSp delSp modSp add mod">
        <pc:chgData name="MOUAMMAR Matthieu" userId="a28de245-dc05-4206-b24f-6f403ed1344a" providerId="ADAL" clId="{97AE8C35-2375-40D4-8F09-DBC209B3CDBF}" dt="2021-03-07T15:21:41.175" v="8332"/>
        <pc:sldMkLst>
          <pc:docMk/>
          <pc:sldMk cId="925563899" sldId="509"/>
        </pc:sldMkLst>
        <pc:spChg chg="mod">
          <ac:chgData name="MOUAMMAR Matthieu" userId="a28de245-dc05-4206-b24f-6f403ed1344a" providerId="ADAL" clId="{97AE8C35-2375-40D4-8F09-DBC209B3CDBF}" dt="2021-03-06T16:50:47.472" v="7494" actId="20577"/>
          <ac:spMkLst>
            <pc:docMk/>
            <pc:sldMk cId="925563899" sldId="509"/>
            <ac:spMk id="5" creationId="{00000000-0000-0000-0000-000000000000}"/>
          </ac:spMkLst>
        </pc:spChg>
        <pc:spChg chg="mod">
          <ac:chgData name="MOUAMMAR Matthieu" userId="a28de245-dc05-4206-b24f-6f403ed1344a" providerId="ADAL" clId="{97AE8C35-2375-40D4-8F09-DBC209B3CDBF}" dt="2021-03-06T16:35:12.591" v="6254" actId="20577"/>
          <ac:spMkLst>
            <pc:docMk/>
            <pc:sldMk cId="925563899" sldId="509"/>
            <ac:spMk id="8" creationId="{52B1F984-09E9-4D55-A6D9-ACAFCA6223DF}"/>
          </ac:spMkLst>
        </pc:spChg>
        <pc:spChg chg="add mod">
          <ac:chgData name="MOUAMMAR Matthieu" userId="a28de245-dc05-4206-b24f-6f403ed1344a" providerId="ADAL" clId="{97AE8C35-2375-40D4-8F09-DBC209B3CDBF}" dt="2021-03-07T15:21:41.175" v="8332"/>
          <ac:spMkLst>
            <pc:docMk/>
            <pc:sldMk cId="925563899" sldId="509"/>
            <ac:spMk id="9" creationId="{879FBF78-C3F3-40E6-8F88-6A0DA532BAEC}"/>
          </ac:spMkLst>
        </pc:spChg>
        <pc:spChg chg="del">
          <ac:chgData name="MOUAMMAR Matthieu" userId="a28de245-dc05-4206-b24f-6f403ed1344a" providerId="ADAL" clId="{97AE8C35-2375-40D4-8F09-DBC209B3CDBF}" dt="2021-03-06T16:35:18.018" v="6256" actId="478"/>
          <ac:spMkLst>
            <pc:docMk/>
            <pc:sldMk cId="925563899" sldId="509"/>
            <ac:spMk id="11" creationId="{A38EBCA5-CD51-4438-B465-073DF8B9320B}"/>
          </ac:spMkLst>
        </pc:spChg>
        <pc:spChg chg="del">
          <ac:chgData name="MOUAMMAR Matthieu" userId="a28de245-dc05-4206-b24f-6f403ed1344a" providerId="ADAL" clId="{97AE8C35-2375-40D4-8F09-DBC209B3CDBF}" dt="2021-03-06T16:35:08.821" v="6253" actId="478"/>
          <ac:spMkLst>
            <pc:docMk/>
            <pc:sldMk cId="925563899" sldId="509"/>
            <ac:spMk id="14" creationId="{E12CA1AC-24DF-42BD-AA04-66C93B2A5130}"/>
          </ac:spMkLst>
        </pc:spChg>
        <pc:picChg chg="add mod">
          <ac:chgData name="MOUAMMAR Matthieu" userId="a28de245-dc05-4206-b24f-6f403ed1344a" providerId="ADAL" clId="{97AE8C35-2375-40D4-8F09-DBC209B3CDBF}" dt="2021-03-07T15:21:41.175" v="8332"/>
          <ac:picMkLst>
            <pc:docMk/>
            <pc:sldMk cId="925563899" sldId="509"/>
            <ac:picMk id="10" creationId="{C4917AA2-5C29-4AB9-BB20-C80AEAFF4C6D}"/>
          </ac:picMkLst>
        </pc:picChg>
        <pc:picChg chg="del">
          <ac:chgData name="MOUAMMAR Matthieu" userId="a28de245-dc05-4206-b24f-6f403ed1344a" providerId="ADAL" clId="{97AE8C35-2375-40D4-8F09-DBC209B3CDBF}" dt="2021-03-06T16:35:18.566" v="6257" actId="478"/>
          <ac:picMkLst>
            <pc:docMk/>
            <pc:sldMk cId="925563899" sldId="509"/>
            <ac:picMk id="12" creationId="{AEF183DD-23C1-432A-90EE-30244E9D4E66}"/>
          </ac:picMkLst>
        </pc:picChg>
        <pc:picChg chg="del">
          <ac:chgData name="MOUAMMAR Matthieu" userId="a28de245-dc05-4206-b24f-6f403ed1344a" providerId="ADAL" clId="{97AE8C35-2375-40D4-8F09-DBC209B3CDBF}" dt="2021-03-06T16:35:17.333" v="6255" actId="478"/>
          <ac:picMkLst>
            <pc:docMk/>
            <pc:sldMk cId="925563899" sldId="509"/>
            <ac:picMk id="13" creationId="{168DCE3A-B7FC-45D1-9B01-E11563075B2E}"/>
          </ac:picMkLst>
        </pc:picChg>
        <pc:picChg chg="del">
          <ac:chgData name="MOUAMMAR Matthieu" userId="a28de245-dc05-4206-b24f-6f403ed1344a" providerId="ADAL" clId="{97AE8C35-2375-40D4-8F09-DBC209B3CDBF}" dt="2021-03-06T16:35:08.821" v="6253" actId="478"/>
          <ac:picMkLst>
            <pc:docMk/>
            <pc:sldMk cId="925563899" sldId="509"/>
            <ac:picMk id="15" creationId="{EE735546-BBA1-47FC-BFBF-F252EAB5C240}"/>
          </ac:picMkLst>
        </pc:picChg>
        <pc:picChg chg="add mod">
          <ac:chgData name="MOUAMMAR Matthieu" userId="a28de245-dc05-4206-b24f-6f403ed1344a" providerId="ADAL" clId="{97AE8C35-2375-40D4-8F09-DBC209B3CDBF}" dt="2021-03-06T16:35:19.454" v="6258"/>
          <ac:picMkLst>
            <pc:docMk/>
            <pc:sldMk cId="925563899" sldId="509"/>
            <ac:picMk id="16" creationId="{B8963550-383E-4754-B8E4-6F51ECEE1CE5}"/>
          </ac:picMkLst>
        </pc:picChg>
      </pc:sldChg>
      <pc:sldChg chg="addSp delSp modSp add mod">
        <pc:chgData name="MOUAMMAR Matthieu" userId="a28de245-dc05-4206-b24f-6f403ed1344a" providerId="ADAL" clId="{97AE8C35-2375-40D4-8F09-DBC209B3CDBF}" dt="2021-03-06T16:50:49.813" v="7495"/>
        <pc:sldMkLst>
          <pc:docMk/>
          <pc:sldMk cId="2840233392" sldId="510"/>
        </pc:sldMkLst>
        <pc:spChg chg="mod">
          <ac:chgData name="MOUAMMAR Matthieu" userId="a28de245-dc05-4206-b24f-6f403ed1344a" providerId="ADAL" clId="{97AE8C35-2375-40D4-8F09-DBC209B3CDBF}" dt="2021-03-06T16:50:49.813" v="7495"/>
          <ac:spMkLst>
            <pc:docMk/>
            <pc:sldMk cId="2840233392" sldId="510"/>
            <ac:spMk id="5" creationId="{00000000-0000-0000-0000-000000000000}"/>
          </ac:spMkLst>
        </pc:spChg>
        <pc:spChg chg="mod">
          <ac:chgData name="MOUAMMAR Matthieu" userId="a28de245-dc05-4206-b24f-6f403ed1344a" providerId="ADAL" clId="{97AE8C35-2375-40D4-8F09-DBC209B3CDBF}" dt="2021-03-06T16:39:02.713" v="6710" actId="20577"/>
          <ac:spMkLst>
            <pc:docMk/>
            <pc:sldMk cId="2840233392" sldId="510"/>
            <ac:spMk id="8" creationId="{52B1F984-09E9-4D55-A6D9-ACAFCA6223DF}"/>
          </ac:spMkLst>
        </pc:spChg>
        <pc:picChg chg="add mod">
          <ac:chgData name="MOUAMMAR Matthieu" userId="a28de245-dc05-4206-b24f-6f403ed1344a" providerId="ADAL" clId="{97AE8C35-2375-40D4-8F09-DBC209B3CDBF}" dt="2021-03-06T16:37:18.566" v="6436"/>
          <ac:picMkLst>
            <pc:docMk/>
            <pc:sldMk cId="2840233392" sldId="510"/>
            <ac:picMk id="9" creationId="{16323FC7-1391-46B8-9648-68A46CA5FAA3}"/>
          </ac:picMkLst>
        </pc:picChg>
        <pc:picChg chg="add mod">
          <ac:chgData name="MOUAMMAR Matthieu" userId="a28de245-dc05-4206-b24f-6f403ed1344a" providerId="ADAL" clId="{97AE8C35-2375-40D4-8F09-DBC209B3CDBF}" dt="2021-03-06T16:38:01.391" v="6510" actId="1076"/>
          <ac:picMkLst>
            <pc:docMk/>
            <pc:sldMk cId="2840233392" sldId="510"/>
            <ac:picMk id="10" creationId="{04A6FF10-385B-4652-928E-7A690FC2D245}"/>
          </ac:picMkLst>
        </pc:picChg>
        <pc:picChg chg="add del mod">
          <ac:chgData name="MOUAMMAR Matthieu" userId="a28de245-dc05-4206-b24f-6f403ed1344a" providerId="ADAL" clId="{97AE8C35-2375-40D4-8F09-DBC209B3CDBF}" dt="2021-03-06T16:38:08.424" v="6512"/>
          <ac:picMkLst>
            <pc:docMk/>
            <pc:sldMk cId="2840233392" sldId="510"/>
            <ac:picMk id="11" creationId="{598FC870-D5CB-4616-BCCE-5418EEB596C6}"/>
          </ac:picMkLst>
        </pc:picChg>
        <pc:picChg chg="del">
          <ac:chgData name="MOUAMMAR Matthieu" userId="a28de245-dc05-4206-b24f-6f403ed1344a" providerId="ADAL" clId="{97AE8C35-2375-40D4-8F09-DBC209B3CDBF}" dt="2021-03-06T16:37:18.332" v="6435" actId="478"/>
          <ac:picMkLst>
            <pc:docMk/>
            <pc:sldMk cId="2840233392" sldId="510"/>
            <ac:picMk id="16" creationId="{B8963550-383E-4754-B8E4-6F51ECEE1CE5}"/>
          </ac:picMkLst>
        </pc:picChg>
      </pc:sldChg>
      <pc:sldChg chg="addSp delSp modSp add mod">
        <pc:chgData name="MOUAMMAR Matthieu" userId="a28de245-dc05-4206-b24f-6f403ed1344a" providerId="ADAL" clId="{97AE8C35-2375-40D4-8F09-DBC209B3CDBF}" dt="2021-03-07T15:10:42.954" v="8330" actId="1076"/>
        <pc:sldMkLst>
          <pc:docMk/>
          <pc:sldMk cId="2199531580" sldId="511"/>
        </pc:sldMkLst>
        <pc:spChg chg="mod">
          <ac:chgData name="MOUAMMAR Matthieu" userId="a28de245-dc05-4206-b24f-6f403ed1344a" providerId="ADAL" clId="{97AE8C35-2375-40D4-8F09-DBC209B3CDBF}" dt="2021-03-06T16:50:51.773" v="7496"/>
          <ac:spMkLst>
            <pc:docMk/>
            <pc:sldMk cId="2199531580" sldId="511"/>
            <ac:spMk id="5" creationId="{00000000-0000-0000-0000-000000000000}"/>
          </ac:spMkLst>
        </pc:spChg>
        <pc:spChg chg="mod">
          <ac:chgData name="MOUAMMAR Matthieu" userId="a28de245-dc05-4206-b24f-6f403ed1344a" providerId="ADAL" clId="{97AE8C35-2375-40D4-8F09-DBC209B3CDBF}" dt="2021-03-07T15:10:37.202" v="8329" actId="14100"/>
          <ac:spMkLst>
            <pc:docMk/>
            <pc:sldMk cId="2199531580" sldId="511"/>
            <ac:spMk id="8" creationId="{52B1F984-09E9-4D55-A6D9-ACAFCA6223DF}"/>
          </ac:spMkLst>
        </pc:spChg>
        <pc:spChg chg="add del mod">
          <ac:chgData name="MOUAMMAR Matthieu" userId="a28de245-dc05-4206-b24f-6f403ed1344a" providerId="ADAL" clId="{97AE8C35-2375-40D4-8F09-DBC209B3CDBF}" dt="2021-03-07T15:10:21.475" v="8326"/>
          <ac:spMkLst>
            <pc:docMk/>
            <pc:sldMk cId="2199531580" sldId="511"/>
            <ac:spMk id="11" creationId="{1754A820-DB09-4471-9C1D-9EB0CCC4E7E3}"/>
          </ac:spMkLst>
        </pc:spChg>
        <pc:spChg chg="mod topLvl">
          <ac:chgData name="MOUAMMAR Matthieu" userId="a28de245-dc05-4206-b24f-6f403ed1344a" providerId="ADAL" clId="{97AE8C35-2375-40D4-8F09-DBC209B3CDBF}" dt="2021-03-06T16:42:15.523" v="6814" actId="478"/>
          <ac:spMkLst>
            <pc:docMk/>
            <pc:sldMk cId="2199531580" sldId="511"/>
            <ac:spMk id="13" creationId="{699D5F4A-6DE5-4554-BBFC-8C821B58AA47}"/>
          </ac:spMkLst>
        </pc:spChg>
        <pc:spChg chg="add mod">
          <ac:chgData name="MOUAMMAR Matthieu" userId="a28de245-dc05-4206-b24f-6f403ed1344a" providerId="ADAL" clId="{97AE8C35-2375-40D4-8F09-DBC209B3CDBF}" dt="2021-03-06T16:45:41.938" v="7102" actId="1076"/>
          <ac:spMkLst>
            <pc:docMk/>
            <pc:sldMk cId="2199531580" sldId="511"/>
            <ac:spMk id="14" creationId="{39162372-EDC7-4D08-B738-95D46B17C3F5}"/>
          </ac:spMkLst>
        </pc:spChg>
        <pc:spChg chg="add mod">
          <ac:chgData name="MOUAMMAR Matthieu" userId="a28de245-dc05-4206-b24f-6f403ed1344a" providerId="ADAL" clId="{97AE8C35-2375-40D4-8F09-DBC209B3CDBF}" dt="2021-03-07T15:10:30.803" v="8328" actId="1076"/>
          <ac:spMkLst>
            <pc:docMk/>
            <pc:sldMk cId="2199531580" sldId="511"/>
            <ac:spMk id="16" creationId="{3559A2A4-3929-4120-836F-9ECB8B853F50}"/>
          </ac:spMkLst>
        </pc:spChg>
        <pc:grpChg chg="add del mod">
          <ac:chgData name="MOUAMMAR Matthieu" userId="a28de245-dc05-4206-b24f-6f403ed1344a" providerId="ADAL" clId="{97AE8C35-2375-40D4-8F09-DBC209B3CDBF}" dt="2021-03-06T16:42:15.523" v="6814" actId="478"/>
          <ac:grpSpMkLst>
            <pc:docMk/>
            <pc:sldMk cId="2199531580" sldId="511"/>
            <ac:grpSpMk id="11" creationId="{45AE3502-5DA3-4DD1-8EAA-2070733C8F5A}"/>
          </ac:grpSpMkLst>
        </pc:grpChg>
        <pc:picChg chg="add mod">
          <ac:chgData name="MOUAMMAR Matthieu" userId="a28de245-dc05-4206-b24f-6f403ed1344a" providerId="ADAL" clId="{97AE8C35-2375-40D4-8F09-DBC209B3CDBF}" dt="2021-03-07T15:10:42.954" v="8330" actId="1076"/>
          <ac:picMkLst>
            <pc:docMk/>
            <pc:sldMk cId="2199531580" sldId="511"/>
            <ac:picMk id="7" creationId="{07EA3182-E84C-4048-89BF-1B9302269D2C}"/>
          </ac:picMkLst>
        </pc:picChg>
        <pc:picChg chg="del">
          <ac:chgData name="MOUAMMAR Matthieu" userId="a28de245-dc05-4206-b24f-6f403ed1344a" providerId="ADAL" clId="{97AE8C35-2375-40D4-8F09-DBC209B3CDBF}" dt="2021-03-06T16:38:54.187" v="6704" actId="478"/>
          <ac:picMkLst>
            <pc:docMk/>
            <pc:sldMk cId="2199531580" sldId="511"/>
            <ac:picMk id="9" creationId="{16323FC7-1391-46B8-9648-68A46CA5FAA3}"/>
          </ac:picMkLst>
        </pc:picChg>
        <pc:picChg chg="del">
          <ac:chgData name="MOUAMMAR Matthieu" userId="a28de245-dc05-4206-b24f-6f403ed1344a" providerId="ADAL" clId="{97AE8C35-2375-40D4-8F09-DBC209B3CDBF}" dt="2021-03-06T16:39:56.607" v="6807" actId="478"/>
          <ac:picMkLst>
            <pc:docMk/>
            <pc:sldMk cId="2199531580" sldId="511"/>
            <ac:picMk id="10" creationId="{04A6FF10-385B-4652-928E-7A690FC2D245}"/>
          </ac:picMkLst>
        </pc:picChg>
        <pc:picChg chg="add del mod">
          <ac:chgData name="MOUAMMAR Matthieu" userId="a28de245-dc05-4206-b24f-6f403ed1344a" providerId="ADAL" clId="{97AE8C35-2375-40D4-8F09-DBC209B3CDBF}" dt="2021-03-07T15:10:21.475" v="8326"/>
          <ac:picMkLst>
            <pc:docMk/>
            <pc:sldMk cId="2199531580" sldId="511"/>
            <ac:picMk id="12" creationId="{541E28F9-F48F-4E47-B83B-4ADA19F700A3}"/>
          </ac:picMkLst>
        </pc:picChg>
        <pc:picChg chg="del mod topLvl">
          <ac:chgData name="MOUAMMAR Matthieu" userId="a28de245-dc05-4206-b24f-6f403ed1344a" providerId="ADAL" clId="{97AE8C35-2375-40D4-8F09-DBC209B3CDBF}" dt="2021-03-06T16:42:15.523" v="6814" actId="478"/>
          <ac:picMkLst>
            <pc:docMk/>
            <pc:sldMk cId="2199531580" sldId="511"/>
            <ac:picMk id="12" creationId="{EF343F5A-251D-4A3C-8F7C-FF4869B94A38}"/>
          </ac:picMkLst>
        </pc:picChg>
        <pc:picChg chg="add mod">
          <ac:chgData name="MOUAMMAR Matthieu" userId="a28de245-dc05-4206-b24f-6f403ed1344a" providerId="ADAL" clId="{97AE8C35-2375-40D4-8F09-DBC209B3CDBF}" dt="2021-03-06T16:45:41.938" v="7102" actId="1076"/>
          <ac:picMkLst>
            <pc:docMk/>
            <pc:sldMk cId="2199531580" sldId="511"/>
            <ac:picMk id="15" creationId="{5DD8C7C9-BAF0-4095-BCFF-1685B1A3CC23}"/>
          </ac:picMkLst>
        </pc:picChg>
        <pc:picChg chg="add mod">
          <ac:chgData name="MOUAMMAR Matthieu" userId="a28de245-dc05-4206-b24f-6f403ed1344a" providerId="ADAL" clId="{97AE8C35-2375-40D4-8F09-DBC209B3CDBF}" dt="2021-03-07T15:10:30.803" v="8328" actId="1076"/>
          <ac:picMkLst>
            <pc:docMk/>
            <pc:sldMk cId="2199531580" sldId="511"/>
            <ac:picMk id="17" creationId="{39C3ADE0-27CB-47F0-AC76-A54CC58E24E4}"/>
          </ac:picMkLst>
        </pc:picChg>
      </pc:sldChg>
      <pc:sldChg chg="addSp delSp modSp add mod">
        <pc:chgData name="MOUAMMAR Matthieu" userId="a28de245-dc05-4206-b24f-6f403ed1344a" providerId="ADAL" clId="{97AE8C35-2375-40D4-8F09-DBC209B3CDBF}" dt="2021-03-07T14:05:45.618" v="7993" actId="20577"/>
        <pc:sldMkLst>
          <pc:docMk/>
          <pc:sldMk cId="2593687577" sldId="512"/>
        </pc:sldMkLst>
        <pc:spChg chg="mod">
          <ac:chgData name="MOUAMMAR Matthieu" userId="a28de245-dc05-4206-b24f-6f403ed1344a" providerId="ADAL" clId="{97AE8C35-2375-40D4-8F09-DBC209B3CDBF}" dt="2021-03-06T16:50:53.927" v="7497"/>
          <ac:spMkLst>
            <pc:docMk/>
            <pc:sldMk cId="2593687577" sldId="512"/>
            <ac:spMk id="5" creationId="{00000000-0000-0000-0000-000000000000}"/>
          </ac:spMkLst>
        </pc:spChg>
        <pc:spChg chg="mod">
          <ac:chgData name="MOUAMMAR Matthieu" userId="a28de245-dc05-4206-b24f-6f403ed1344a" providerId="ADAL" clId="{97AE8C35-2375-40D4-8F09-DBC209B3CDBF}" dt="2021-03-07T14:05:45.618" v="7993" actId="20577"/>
          <ac:spMkLst>
            <pc:docMk/>
            <pc:sldMk cId="2593687577" sldId="512"/>
            <ac:spMk id="8" creationId="{52B1F984-09E9-4D55-A6D9-ACAFCA6223DF}"/>
          </ac:spMkLst>
        </pc:spChg>
        <pc:spChg chg="add mod">
          <ac:chgData name="MOUAMMAR Matthieu" userId="a28de245-dc05-4206-b24f-6f403ed1344a" providerId="ADAL" clId="{97AE8C35-2375-40D4-8F09-DBC209B3CDBF}" dt="2021-03-06T16:47:17.514" v="7352" actId="1076"/>
          <ac:spMkLst>
            <pc:docMk/>
            <pc:sldMk cId="2593687577" sldId="512"/>
            <ac:spMk id="11" creationId="{BB7C7135-74A2-4CEB-A7D5-5F5C8F7F3E25}"/>
          </ac:spMkLst>
        </pc:spChg>
        <pc:spChg chg="del">
          <ac:chgData name="MOUAMMAR Matthieu" userId="a28de245-dc05-4206-b24f-6f403ed1344a" providerId="ADAL" clId="{97AE8C35-2375-40D4-8F09-DBC209B3CDBF}" dt="2021-03-06T16:49:17.914" v="7399" actId="478"/>
          <ac:spMkLst>
            <pc:docMk/>
            <pc:sldMk cId="2593687577" sldId="512"/>
            <ac:spMk id="13" creationId="{699D5F4A-6DE5-4554-BBFC-8C821B58AA47}"/>
          </ac:spMkLst>
        </pc:spChg>
        <pc:spChg chg="del">
          <ac:chgData name="MOUAMMAR Matthieu" userId="a28de245-dc05-4206-b24f-6f403ed1344a" providerId="ADAL" clId="{97AE8C35-2375-40D4-8F09-DBC209B3CDBF}" dt="2021-03-06T16:46:52.779" v="7337" actId="478"/>
          <ac:spMkLst>
            <pc:docMk/>
            <pc:sldMk cId="2593687577" sldId="512"/>
            <ac:spMk id="14" creationId="{39162372-EDC7-4D08-B738-95D46B17C3F5}"/>
          </ac:spMkLst>
        </pc:spChg>
        <pc:picChg chg="del">
          <ac:chgData name="MOUAMMAR Matthieu" userId="a28de245-dc05-4206-b24f-6f403ed1344a" providerId="ADAL" clId="{97AE8C35-2375-40D4-8F09-DBC209B3CDBF}" dt="2021-03-06T16:46:50.138" v="7336" actId="478"/>
          <ac:picMkLst>
            <pc:docMk/>
            <pc:sldMk cId="2593687577" sldId="512"/>
            <ac:picMk id="7" creationId="{07EA3182-E84C-4048-89BF-1B9302269D2C}"/>
          </ac:picMkLst>
        </pc:picChg>
        <pc:picChg chg="add mod">
          <ac:chgData name="MOUAMMAR Matthieu" userId="a28de245-dc05-4206-b24f-6f403ed1344a" providerId="ADAL" clId="{97AE8C35-2375-40D4-8F09-DBC209B3CDBF}" dt="2021-03-06T16:49:48.447" v="7482" actId="1076"/>
          <ac:picMkLst>
            <pc:docMk/>
            <pc:sldMk cId="2593687577" sldId="512"/>
            <ac:picMk id="9" creationId="{E3607D81-5632-444C-8D2D-25A6FDAA2F80}"/>
          </ac:picMkLst>
        </pc:picChg>
        <pc:picChg chg="add mod">
          <ac:chgData name="MOUAMMAR Matthieu" userId="a28de245-dc05-4206-b24f-6f403ed1344a" providerId="ADAL" clId="{97AE8C35-2375-40D4-8F09-DBC209B3CDBF}" dt="2021-03-06T16:47:17.514" v="7352" actId="1076"/>
          <ac:picMkLst>
            <pc:docMk/>
            <pc:sldMk cId="2593687577" sldId="512"/>
            <ac:picMk id="12" creationId="{417AEDAF-F52F-44D9-80B9-AF684AF5E140}"/>
          </ac:picMkLst>
        </pc:picChg>
        <pc:picChg chg="del">
          <ac:chgData name="MOUAMMAR Matthieu" userId="a28de245-dc05-4206-b24f-6f403ed1344a" providerId="ADAL" clId="{97AE8C35-2375-40D4-8F09-DBC209B3CDBF}" dt="2021-03-06T16:46:52.779" v="7337" actId="478"/>
          <ac:picMkLst>
            <pc:docMk/>
            <pc:sldMk cId="2593687577" sldId="512"/>
            <ac:picMk id="15" creationId="{5DD8C7C9-BAF0-4095-BCFF-1685B1A3CC23}"/>
          </ac:picMkLst>
        </pc:picChg>
      </pc:sldChg>
    </pc:docChg>
  </pc:docChgLst>
  <pc:docChgLst>
    <pc:chgData name="MOUAMMAR Matthieu" userId="a28de245-dc05-4206-b24f-6f403ed1344a" providerId="ADAL" clId="{200045D8-CE09-47B5-80FF-F0B1F4CEE75C}"/>
    <pc:docChg chg="custSel modSld">
      <pc:chgData name="MOUAMMAR Matthieu" userId="a28de245-dc05-4206-b24f-6f403ed1344a" providerId="ADAL" clId="{200045D8-CE09-47B5-80FF-F0B1F4CEE75C}" dt="2021-10-14T12:31:55.603" v="43"/>
      <pc:docMkLst>
        <pc:docMk/>
      </pc:docMkLst>
      <pc:sldChg chg="addSp delSp modSp mod">
        <pc:chgData name="MOUAMMAR Matthieu" userId="a28de245-dc05-4206-b24f-6f403ed1344a" providerId="ADAL" clId="{200045D8-CE09-47B5-80FF-F0B1F4CEE75C}" dt="2021-10-11T13:22:23.141" v="38" actId="1076"/>
        <pc:sldMkLst>
          <pc:docMk/>
          <pc:sldMk cId="1037278630" sldId="467"/>
        </pc:sldMkLst>
        <pc:spChg chg="mod">
          <ac:chgData name="MOUAMMAR Matthieu" userId="a28de245-dc05-4206-b24f-6f403ed1344a" providerId="ADAL" clId="{200045D8-CE09-47B5-80FF-F0B1F4CEE75C}" dt="2021-10-11T13:21:51.250" v="33"/>
          <ac:spMkLst>
            <pc:docMk/>
            <pc:sldMk cId="1037278630" sldId="467"/>
            <ac:spMk id="2" creationId="{00000000-0000-0000-0000-000000000000}"/>
          </ac:spMkLst>
        </pc:spChg>
        <pc:picChg chg="del">
          <ac:chgData name="MOUAMMAR Matthieu" userId="a28de245-dc05-4206-b24f-6f403ed1344a" providerId="ADAL" clId="{200045D8-CE09-47B5-80FF-F0B1F4CEE75C}" dt="2021-10-11T13:22:15.548" v="34" actId="478"/>
          <ac:picMkLst>
            <pc:docMk/>
            <pc:sldMk cId="1037278630" sldId="467"/>
            <ac:picMk id="28" creationId="{4D570588-AEE6-424B-8121-BB2BF9245516}"/>
          </ac:picMkLst>
        </pc:picChg>
        <pc:picChg chg="add mod">
          <ac:chgData name="MOUAMMAR Matthieu" userId="a28de245-dc05-4206-b24f-6f403ed1344a" providerId="ADAL" clId="{200045D8-CE09-47B5-80FF-F0B1F4CEE75C}" dt="2021-10-11T13:22:23.141" v="38" actId="1076"/>
          <ac:picMkLst>
            <pc:docMk/>
            <pc:sldMk cId="1037278630" sldId="467"/>
            <ac:picMk id="29" creationId="{DC420959-ED3F-4364-A719-DC6E5F5294FD}"/>
          </ac:picMkLst>
        </pc:picChg>
      </pc:sldChg>
      <pc:sldChg chg="modSp mod">
        <pc:chgData name="MOUAMMAR Matthieu" userId="a28de245-dc05-4206-b24f-6f403ed1344a" providerId="ADAL" clId="{200045D8-CE09-47B5-80FF-F0B1F4CEE75C}" dt="2021-10-06T07:36:13.741" v="32" actId="20577"/>
        <pc:sldMkLst>
          <pc:docMk/>
          <pc:sldMk cId="2719757677" sldId="473"/>
        </pc:sldMkLst>
        <pc:spChg chg="mod">
          <ac:chgData name="MOUAMMAR Matthieu" userId="a28de245-dc05-4206-b24f-6f403ed1344a" providerId="ADAL" clId="{200045D8-CE09-47B5-80FF-F0B1F4CEE75C}" dt="2021-10-06T07:36:13.741" v="32" actId="20577"/>
          <ac:spMkLst>
            <pc:docMk/>
            <pc:sldMk cId="2719757677" sldId="473"/>
            <ac:spMk id="33" creationId="{48F88ED5-B2C6-4B0E-AC34-5AD1226D3D51}"/>
          </ac:spMkLst>
        </pc:spChg>
      </pc:sldChg>
      <pc:sldChg chg="modSp mod">
        <pc:chgData name="MOUAMMAR Matthieu" userId="a28de245-dc05-4206-b24f-6f403ed1344a" providerId="ADAL" clId="{200045D8-CE09-47B5-80FF-F0B1F4CEE75C}" dt="2021-10-14T12:31:55.603" v="43"/>
        <pc:sldMkLst>
          <pc:docMk/>
          <pc:sldMk cId="2597604076" sldId="488"/>
        </pc:sldMkLst>
        <pc:spChg chg="mod">
          <ac:chgData name="MOUAMMAR Matthieu" userId="a28de245-dc05-4206-b24f-6f403ed1344a" providerId="ADAL" clId="{200045D8-CE09-47B5-80FF-F0B1F4CEE75C}" dt="2021-10-14T12:31:55.603" v="43"/>
          <ac:spMkLst>
            <pc:docMk/>
            <pc:sldMk cId="2597604076" sldId="488"/>
            <ac:spMk id="101" creationId="{C33FABC3-3E4B-4694-BBDF-71A7692F4511}"/>
          </ac:spMkLst>
        </pc:spChg>
      </pc:sldChg>
      <pc:sldChg chg="modSp mod">
        <pc:chgData name="MOUAMMAR Matthieu" userId="a28de245-dc05-4206-b24f-6f403ed1344a" providerId="ADAL" clId="{200045D8-CE09-47B5-80FF-F0B1F4CEE75C}" dt="2021-10-11T13:43:21.132" v="40" actId="20577"/>
        <pc:sldMkLst>
          <pc:docMk/>
          <pc:sldMk cId="735275288" sldId="493"/>
        </pc:sldMkLst>
        <pc:spChg chg="mod">
          <ac:chgData name="MOUAMMAR Matthieu" userId="a28de245-dc05-4206-b24f-6f403ed1344a" providerId="ADAL" clId="{200045D8-CE09-47B5-80FF-F0B1F4CEE75C}" dt="2021-10-11T13:43:21.132" v="40" actId="20577"/>
          <ac:spMkLst>
            <pc:docMk/>
            <pc:sldMk cId="735275288" sldId="493"/>
            <ac:spMk id="18" creationId="{A3EA8172-7CDE-4459-B9A3-A8C201193A61}"/>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46AEBD5-9297-47AD-A614-B535C64E35A1}" type="doc">
      <dgm:prSet loTypeId="urn:microsoft.com/office/officeart/2005/8/layout/chevron1" loCatId="process" qsTypeId="urn:microsoft.com/office/officeart/2005/8/quickstyle/simple1" qsCatId="simple" csTypeId="urn:microsoft.com/office/officeart/2005/8/colors/colorful1" csCatId="colorful" phldr="1"/>
      <dgm:spPr/>
    </dgm:pt>
    <dgm:pt modelId="{F42ECED3-F0B4-4A8D-A902-FAC8D46C2645}">
      <dgm:prSet phldrT="[Texte]"/>
      <dgm:spPr/>
      <dgm:t>
        <a:bodyPr/>
        <a:lstStyle/>
        <a:p>
          <a:r>
            <a:rPr lang="fr-FR" dirty="0"/>
            <a:t>2010</a:t>
          </a:r>
        </a:p>
      </dgm:t>
    </dgm:pt>
    <dgm:pt modelId="{67691D85-B97E-4AF2-8DA4-210F21D3E69A}" type="parTrans" cxnId="{CE74447E-9BAE-47B8-8DA9-D53848C61564}">
      <dgm:prSet/>
      <dgm:spPr/>
      <dgm:t>
        <a:bodyPr/>
        <a:lstStyle/>
        <a:p>
          <a:endParaRPr lang="fr-FR"/>
        </a:p>
      </dgm:t>
    </dgm:pt>
    <dgm:pt modelId="{3C98E206-A16A-45CC-9D38-FC38756F419F}" type="sibTrans" cxnId="{CE74447E-9BAE-47B8-8DA9-D53848C61564}">
      <dgm:prSet/>
      <dgm:spPr/>
      <dgm:t>
        <a:bodyPr/>
        <a:lstStyle/>
        <a:p>
          <a:endParaRPr lang="fr-FR"/>
        </a:p>
      </dgm:t>
    </dgm:pt>
    <dgm:pt modelId="{47876724-E19A-4DA6-8679-0F46A72BAE55}">
      <dgm:prSet phldrT="[Texte]"/>
      <dgm:spPr/>
      <dgm:t>
        <a:bodyPr/>
        <a:lstStyle/>
        <a:p>
          <a:r>
            <a:rPr lang="fr-FR" dirty="0"/>
            <a:t>2011</a:t>
          </a:r>
        </a:p>
      </dgm:t>
    </dgm:pt>
    <dgm:pt modelId="{3D5B4C0E-EDD0-49A5-90CA-25EEED045D93}" type="parTrans" cxnId="{E032D65F-7858-454F-BA25-DA4E64253775}">
      <dgm:prSet/>
      <dgm:spPr/>
      <dgm:t>
        <a:bodyPr/>
        <a:lstStyle/>
        <a:p>
          <a:endParaRPr lang="fr-FR"/>
        </a:p>
      </dgm:t>
    </dgm:pt>
    <dgm:pt modelId="{3CF6407D-07FA-4447-B235-75F99D7B8010}" type="sibTrans" cxnId="{E032D65F-7858-454F-BA25-DA4E64253775}">
      <dgm:prSet/>
      <dgm:spPr/>
      <dgm:t>
        <a:bodyPr/>
        <a:lstStyle/>
        <a:p>
          <a:endParaRPr lang="fr-FR"/>
        </a:p>
      </dgm:t>
    </dgm:pt>
    <dgm:pt modelId="{1E86D1EC-D945-4CB5-8CE6-61A46A6EFFC4}">
      <dgm:prSet phldrT="[Texte]"/>
      <dgm:spPr/>
      <dgm:t>
        <a:bodyPr/>
        <a:lstStyle/>
        <a:p>
          <a:r>
            <a:rPr lang="fr-FR" dirty="0"/>
            <a:t>2012</a:t>
          </a:r>
        </a:p>
      </dgm:t>
    </dgm:pt>
    <dgm:pt modelId="{A65BF048-F291-4FE8-B195-A33E4EB91DAF}" type="parTrans" cxnId="{64B64616-D684-4E8F-8B00-127763C52DBC}">
      <dgm:prSet/>
      <dgm:spPr/>
      <dgm:t>
        <a:bodyPr/>
        <a:lstStyle/>
        <a:p>
          <a:endParaRPr lang="fr-FR"/>
        </a:p>
      </dgm:t>
    </dgm:pt>
    <dgm:pt modelId="{160EF35F-5703-4E76-8958-68529A9F3383}" type="sibTrans" cxnId="{64B64616-D684-4E8F-8B00-127763C52DBC}">
      <dgm:prSet/>
      <dgm:spPr/>
      <dgm:t>
        <a:bodyPr/>
        <a:lstStyle/>
        <a:p>
          <a:endParaRPr lang="fr-FR"/>
        </a:p>
      </dgm:t>
    </dgm:pt>
    <dgm:pt modelId="{21E44B4A-6DE6-45F5-B361-AAED1E9CCBA4}">
      <dgm:prSet phldrT="[Texte]"/>
      <dgm:spPr/>
      <dgm:t>
        <a:bodyPr/>
        <a:lstStyle/>
        <a:p>
          <a:r>
            <a:rPr lang="fr-FR" dirty="0"/>
            <a:t>2013</a:t>
          </a:r>
        </a:p>
      </dgm:t>
    </dgm:pt>
    <dgm:pt modelId="{1F64F757-8F61-4B21-944C-457817D2F7B0}" type="parTrans" cxnId="{73C94D80-76A8-4166-BDD1-FEA26791BF99}">
      <dgm:prSet/>
      <dgm:spPr/>
      <dgm:t>
        <a:bodyPr/>
        <a:lstStyle/>
        <a:p>
          <a:endParaRPr lang="fr-FR"/>
        </a:p>
      </dgm:t>
    </dgm:pt>
    <dgm:pt modelId="{15757D91-587D-49BF-AB9F-30A4F02F712C}" type="sibTrans" cxnId="{73C94D80-76A8-4166-BDD1-FEA26791BF99}">
      <dgm:prSet/>
      <dgm:spPr/>
      <dgm:t>
        <a:bodyPr/>
        <a:lstStyle/>
        <a:p>
          <a:endParaRPr lang="fr-FR"/>
        </a:p>
      </dgm:t>
    </dgm:pt>
    <dgm:pt modelId="{3639AC4A-0CDC-4938-9233-57043EAFE1F2}">
      <dgm:prSet phldrT="[Texte]"/>
      <dgm:spPr/>
      <dgm:t>
        <a:bodyPr/>
        <a:lstStyle/>
        <a:p>
          <a:r>
            <a:rPr lang="fr-FR" dirty="0"/>
            <a:t>2014</a:t>
          </a:r>
        </a:p>
      </dgm:t>
    </dgm:pt>
    <dgm:pt modelId="{484773F4-0532-4F0D-88ED-B8855C2670AB}" type="parTrans" cxnId="{7808C543-3BBD-49F8-8EC9-4FD36DF28268}">
      <dgm:prSet/>
      <dgm:spPr/>
      <dgm:t>
        <a:bodyPr/>
        <a:lstStyle/>
        <a:p>
          <a:endParaRPr lang="fr-FR"/>
        </a:p>
      </dgm:t>
    </dgm:pt>
    <dgm:pt modelId="{FA5AC3CF-BE8C-456F-A167-995AFC21DA14}" type="sibTrans" cxnId="{7808C543-3BBD-49F8-8EC9-4FD36DF28268}">
      <dgm:prSet/>
      <dgm:spPr/>
      <dgm:t>
        <a:bodyPr/>
        <a:lstStyle/>
        <a:p>
          <a:endParaRPr lang="fr-FR"/>
        </a:p>
      </dgm:t>
    </dgm:pt>
    <dgm:pt modelId="{656674E3-9EDD-4779-8912-A450FA343361}">
      <dgm:prSet phldrT="[Texte]"/>
      <dgm:spPr/>
      <dgm:t>
        <a:bodyPr/>
        <a:lstStyle/>
        <a:p>
          <a:r>
            <a:rPr lang="fr-FR" dirty="0"/>
            <a:t>2015</a:t>
          </a:r>
        </a:p>
      </dgm:t>
    </dgm:pt>
    <dgm:pt modelId="{5C8E7164-EDBD-4C9E-8D6C-8210E945F556}" type="parTrans" cxnId="{4176B748-3091-4709-A8D9-F04B71081114}">
      <dgm:prSet/>
      <dgm:spPr/>
      <dgm:t>
        <a:bodyPr/>
        <a:lstStyle/>
        <a:p>
          <a:endParaRPr lang="fr-FR"/>
        </a:p>
      </dgm:t>
    </dgm:pt>
    <dgm:pt modelId="{F2A9F26F-A653-4E80-A2F9-64BFF33362A2}" type="sibTrans" cxnId="{4176B748-3091-4709-A8D9-F04B71081114}">
      <dgm:prSet/>
      <dgm:spPr/>
      <dgm:t>
        <a:bodyPr/>
        <a:lstStyle/>
        <a:p>
          <a:endParaRPr lang="fr-FR"/>
        </a:p>
      </dgm:t>
    </dgm:pt>
    <dgm:pt modelId="{B51B005F-8DFE-49F7-9896-F99440202DD3}">
      <dgm:prSet phldrT="[Texte]"/>
      <dgm:spPr/>
      <dgm:t>
        <a:bodyPr/>
        <a:lstStyle/>
        <a:p>
          <a:r>
            <a:rPr lang="fr-FR" dirty="0"/>
            <a:t>2016</a:t>
          </a:r>
        </a:p>
      </dgm:t>
    </dgm:pt>
    <dgm:pt modelId="{530CA3DA-DCC5-4036-AC57-3F090A3AEA92}" type="parTrans" cxnId="{9BCE73B8-0D36-4714-B8CE-64A76B2A36DE}">
      <dgm:prSet/>
      <dgm:spPr/>
      <dgm:t>
        <a:bodyPr/>
        <a:lstStyle/>
        <a:p>
          <a:endParaRPr lang="fr-FR"/>
        </a:p>
      </dgm:t>
    </dgm:pt>
    <dgm:pt modelId="{8E67B681-7F8F-4594-959E-5E58F0791F54}" type="sibTrans" cxnId="{9BCE73B8-0D36-4714-B8CE-64A76B2A36DE}">
      <dgm:prSet/>
      <dgm:spPr/>
      <dgm:t>
        <a:bodyPr/>
        <a:lstStyle/>
        <a:p>
          <a:endParaRPr lang="fr-FR"/>
        </a:p>
      </dgm:t>
    </dgm:pt>
    <dgm:pt modelId="{615084C2-EDC7-413B-B050-173EEDE291A4}">
      <dgm:prSet phldrT="[Texte]"/>
      <dgm:spPr/>
      <dgm:t>
        <a:bodyPr/>
        <a:lstStyle/>
        <a:p>
          <a:r>
            <a:rPr lang="fr-FR" dirty="0"/>
            <a:t>2017</a:t>
          </a:r>
        </a:p>
      </dgm:t>
    </dgm:pt>
    <dgm:pt modelId="{AFFEFE5B-5244-4DF9-AA8E-17B9BC603602}" type="parTrans" cxnId="{34FDF6BD-254D-45EB-83B3-0F1B37A873F7}">
      <dgm:prSet/>
      <dgm:spPr/>
      <dgm:t>
        <a:bodyPr/>
        <a:lstStyle/>
        <a:p>
          <a:endParaRPr lang="fr-FR"/>
        </a:p>
      </dgm:t>
    </dgm:pt>
    <dgm:pt modelId="{1F99461F-BA39-4A22-B42F-49BF709F7557}" type="sibTrans" cxnId="{34FDF6BD-254D-45EB-83B3-0F1B37A873F7}">
      <dgm:prSet/>
      <dgm:spPr/>
      <dgm:t>
        <a:bodyPr/>
        <a:lstStyle/>
        <a:p>
          <a:endParaRPr lang="fr-FR"/>
        </a:p>
      </dgm:t>
    </dgm:pt>
    <dgm:pt modelId="{1C32781A-622A-41F4-9326-966436C191AE}">
      <dgm:prSet phldrT="[Texte]"/>
      <dgm:spPr/>
      <dgm:t>
        <a:bodyPr/>
        <a:lstStyle/>
        <a:p>
          <a:r>
            <a:rPr lang="fr-FR" dirty="0"/>
            <a:t>2018</a:t>
          </a:r>
        </a:p>
      </dgm:t>
    </dgm:pt>
    <dgm:pt modelId="{A06C3CBA-87F3-42CB-ACF9-DD8082416EE3}" type="parTrans" cxnId="{8D7133E2-B496-406E-89F0-3DDD37D5CB4A}">
      <dgm:prSet/>
      <dgm:spPr/>
      <dgm:t>
        <a:bodyPr/>
        <a:lstStyle/>
        <a:p>
          <a:endParaRPr lang="fr-FR"/>
        </a:p>
      </dgm:t>
    </dgm:pt>
    <dgm:pt modelId="{E5943572-59EB-4650-90E3-18621E35742E}" type="sibTrans" cxnId="{8D7133E2-B496-406E-89F0-3DDD37D5CB4A}">
      <dgm:prSet/>
      <dgm:spPr/>
      <dgm:t>
        <a:bodyPr/>
        <a:lstStyle/>
        <a:p>
          <a:endParaRPr lang="fr-FR"/>
        </a:p>
      </dgm:t>
    </dgm:pt>
    <dgm:pt modelId="{A5290075-BC21-4B21-886A-8875995FB12D}" type="pres">
      <dgm:prSet presAssocID="{B46AEBD5-9297-47AD-A614-B535C64E35A1}" presName="Name0" presStyleCnt="0">
        <dgm:presLayoutVars>
          <dgm:dir/>
          <dgm:animLvl val="lvl"/>
          <dgm:resizeHandles val="exact"/>
        </dgm:presLayoutVars>
      </dgm:prSet>
      <dgm:spPr/>
    </dgm:pt>
    <dgm:pt modelId="{59FACF88-C498-48A7-B695-53CEE393E7B1}" type="pres">
      <dgm:prSet presAssocID="{F42ECED3-F0B4-4A8D-A902-FAC8D46C2645}" presName="parTxOnly" presStyleLbl="node1" presStyleIdx="0" presStyleCnt="9">
        <dgm:presLayoutVars>
          <dgm:chMax val="0"/>
          <dgm:chPref val="0"/>
          <dgm:bulletEnabled val="1"/>
        </dgm:presLayoutVars>
      </dgm:prSet>
      <dgm:spPr/>
    </dgm:pt>
    <dgm:pt modelId="{679A4988-B916-469B-B37B-433A6A728F22}" type="pres">
      <dgm:prSet presAssocID="{3C98E206-A16A-45CC-9D38-FC38756F419F}" presName="parTxOnlySpace" presStyleCnt="0"/>
      <dgm:spPr/>
    </dgm:pt>
    <dgm:pt modelId="{03981F53-D939-4E6C-9337-2CD8EAF7E1A8}" type="pres">
      <dgm:prSet presAssocID="{47876724-E19A-4DA6-8679-0F46A72BAE55}" presName="parTxOnly" presStyleLbl="node1" presStyleIdx="1" presStyleCnt="9">
        <dgm:presLayoutVars>
          <dgm:chMax val="0"/>
          <dgm:chPref val="0"/>
          <dgm:bulletEnabled val="1"/>
        </dgm:presLayoutVars>
      </dgm:prSet>
      <dgm:spPr/>
    </dgm:pt>
    <dgm:pt modelId="{C2BA7EAF-6495-43CE-AFF4-079F4194C520}" type="pres">
      <dgm:prSet presAssocID="{3CF6407D-07FA-4447-B235-75F99D7B8010}" presName="parTxOnlySpace" presStyleCnt="0"/>
      <dgm:spPr/>
    </dgm:pt>
    <dgm:pt modelId="{1C947995-5434-4211-B9E2-30898F1D7CB8}" type="pres">
      <dgm:prSet presAssocID="{1E86D1EC-D945-4CB5-8CE6-61A46A6EFFC4}" presName="parTxOnly" presStyleLbl="node1" presStyleIdx="2" presStyleCnt="9">
        <dgm:presLayoutVars>
          <dgm:chMax val="0"/>
          <dgm:chPref val="0"/>
          <dgm:bulletEnabled val="1"/>
        </dgm:presLayoutVars>
      </dgm:prSet>
      <dgm:spPr/>
    </dgm:pt>
    <dgm:pt modelId="{845ABD0E-0C39-4EF4-9569-86E6DB4DC3D9}" type="pres">
      <dgm:prSet presAssocID="{160EF35F-5703-4E76-8958-68529A9F3383}" presName="parTxOnlySpace" presStyleCnt="0"/>
      <dgm:spPr/>
    </dgm:pt>
    <dgm:pt modelId="{9FB221C2-0049-467C-B32B-33E90DB196CC}" type="pres">
      <dgm:prSet presAssocID="{21E44B4A-6DE6-45F5-B361-AAED1E9CCBA4}" presName="parTxOnly" presStyleLbl="node1" presStyleIdx="3" presStyleCnt="9">
        <dgm:presLayoutVars>
          <dgm:chMax val="0"/>
          <dgm:chPref val="0"/>
          <dgm:bulletEnabled val="1"/>
        </dgm:presLayoutVars>
      </dgm:prSet>
      <dgm:spPr/>
    </dgm:pt>
    <dgm:pt modelId="{609FF892-1044-4E61-BE87-0A96C897C971}" type="pres">
      <dgm:prSet presAssocID="{15757D91-587D-49BF-AB9F-30A4F02F712C}" presName="parTxOnlySpace" presStyleCnt="0"/>
      <dgm:spPr/>
    </dgm:pt>
    <dgm:pt modelId="{A23CAFC2-A7E4-4A9B-8323-9363CB90E305}" type="pres">
      <dgm:prSet presAssocID="{3639AC4A-0CDC-4938-9233-57043EAFE1F2}" presName="parTxOnly" presStyleLbl="node1" presStyleIdx="4" presStyleCnt="9">
        <dgm:presLayoutVars>
          <dgm:chMax val="0"/>
          <dgm:chPref val="0"/>
          <dgm:bulletEnabled val="1"/>
        </dgm:presLayoutVars>
      </dgm:prSet>
      <dgm:spPr/>
    </dgm:pt>
    <dgm:pt modelId="{7A70CA3D-DF53-4099-BB2A-93F62F9BEEE4}" type="pres">
      <dgm:prSet presAssocID="{FA5AC3CF-BE8C-456F-A167-995AFC21DA14}" presName="parTxOnlySpace" presStyleCnt="0"/>
      <dgm:spPr/>
    </dgm:pt>
    <dgm:pt modelId="{467AC5F3-E251-40DB-9AAC-B2FA17F31E65}" type="pres">
      <dgm:prSet presAssocID="{656674E3-9EDD-4779-8912-A450FA343361}" presName="parTxOnly" presStyleLbl="node1" presStyleIdx="5" presStyleCnt="9">
        <dgm:presLayoutVars>
          <dgm:chMax val="0"/>
          <dgm:chPref val="0"/>
          <dgm:bulletEnabled val="1"/>
        </dgm:presLayoutVars>
      </dgm:prSet>
      <dgm:spPr/>
    </dgm:pt>
    <dgm:pt modelId="{98DE5CEA-EA26-46F9-9417-A0C1D970B02B}" type="pres">
      <dgm:prSet presAssocID="{F2A9F26F-A653-4E80-A2F9-64BFF33362A2}" presName="parTxOnlySpace" presStyleCnt="0"/>
      <dgm:spPr/>
    </dgm:pt>
    <dgm:pt modelId="{C9C479CE-72B2-4B52-9362-B58BFFD91966}" type="pres">
      <dgm:prSet presAssocID="{B51B005F-8DFE-49F7-9896-F99440202DD3}" presName="parTxOnly" presStyleLbl="node1" presStyleIdx="6" presStyleCnt="9">
        <dgm:presLayoutVars>
          <dgm:chMax val="0"/>
          <dgm:chPref val="0"/>
          <dgm:bulletEnabled val="1"/>
        </dgm:presLayoutVars>
      </dgm:prSet>
      <dgm:spPr/>
    </dgm:pt>
    <dgm:pt modelId="{451AE1F7-02DC-413C-A7DC-F9F0875525FE}" type="pres">
      <dgm:prSet presAssocID="{8E67B681-7F8F-4594-959E-5E58F0791F54}" presName="parTxOnlySpace" presStyleCnt="0"/>
      <dgm:spPr/>
    </dgm:pt>
    <dgm:pt modelId="{0282AA08-75E6-45C6-B634-D5F251065222}" type="pres">
      <dgm:prSet presAssocID="{615084C2-EDC7-413B-B050-173EEDE291A4}" presName="parTxOnly" presStyleLbl="node1" presStyleIdx="7" presStyleCnt="9">
        <dgm:presLayoutVars>
          <dgm:chMax val="0"/>
          <dgm:chPref val="0"/>
          <dgm:bulletEnabled val="1"/>
        </dgm:presLayoutVars>
      </dgm:prSet>
      <dgm:spPr/>
    </dgm:pt>
    <dgm:pt modelId="{55BA03E4-DC28-4837-9E26-0DFC4C00E493}" type="pres">
      <dgm:prSet presAssocID="{1F99461F-BA39-4A22-B42F-49BF709F7557}" presName="parTxOnlySpace" presStyleCnt="0"/>
      <dgm:spPr/>
    </dgm:pt>
    <dgm:pt modelId="{0AE93C0B-DF37-48E5-98D1-BAB7CA218DEB}" type="pres">
      <dgm:prSet presAssocID="{1C32781A-622A-41F4-9326-966436C191AE}" presName="parTxOnly" presStyleLbl="node1" presStyleIdx="8" presStyleCnt="9">
        <dgm:presLayoutVars>
          <dgm:chMax val="0"/>
          <dgm:chPref val="0"/>
          <dgm:bulletEnabled val="1"/>
        </dgm:presLayoutVars>
      </dgm:prSet>
      <dgm:spPr/>
    </dgm:pt>
  </dgm:ptLst>
  <dgm:cxnLst>
    <dgm:cxn modelId="{64B64616-D684-4E8F-8B00-127763C52DBC}" srcId="{B46AEBD5-9297-47AD-A614-B535C64E35A1}" destId="{1E86D1EC-D945-4CB5-8CE6-61A46A6EFFC4}" srcOrd="2" destOrd="0" parTransId="{A65BF048-F291-4FE8-B195-A33E4EB91DAF}" sibTransId="{160EF35F-5703-4E76-8958-68529A9F3383}"/>
    <dgm:cxn modelId="{949F9932-09B4-4AE3-A842-92E2328EDAD1}" type="presOf" srcId="{1E86D1EC-D945-4CB5-8CE6-61A46A6EFFC4}" destId="{1C947995-5434-4211-B9E2-30898F1D7CB8}" srcOrd="0" destOrd="0" presId="urn:microsoft.com/office/officeart/2005/8/layout/chevron1"/>
    <dgm:cxn modelId="{E032D65F-7858-454F-BA25-DA4E64253775}" srcId="{B46AEBD5-9297-47AD-A614-B535C64E35A1}" destId="{47876724-E19A-4DA6-8679-0F46A72BAE55}" srcOrd="1" destOrd="0" parTransId="{3D5B4C0E-EDD0-49A5-90CA-25EEED045D93}" sibTransId="{3CF6407D-07FA-4447-B235-75F99D7B8010}"/>
    <dgm:cxn modelId="{7808C543-3BBD-49F8-8EC9-4FD36DF28268}" srcId="{B46AEBD5-9297-47AD-A614-B535C64E35A1}" destId="{3639AC4A-0CDC-4938-9233-57043EAFE1F2}" srcOrd="4" destOrd="0" parTransId="{484773F4-0532-4F0D-88ED-B8855C2670AB}" sibTransId="{FA5AC3CF-BE8C-456F-A167-995AFC21DA14}"/>
    <dgm:cxn modelId="{4176B748-3091-4709-A8D9-F04B71081114}" srcId="{B46AEBD5-9297-47AD-A614-B535C64E35A1}" destId="{656674E3-9EDD-4779-8912-A450FA343361}" srcOrd="5" destOrd="0" parTransId="{5C8E7164-EDBD-4C9E-8D6C-8210E945F556}" sibTransId="{F2A9F26F-A653-4E80-A2F9-64BFF33362A2}"/>
    <dgm:cxn modelId="{7713AF76-4C09-4CC1-BF80-9F4A0DD4F7F0}" type="presOf" srcId="{1C32781A-622A-41F4-9326-966436C191AE}" destId="{0AE93C0B-DF37-48E5-98D1-BAB7CA218DEB}" srcOrd="0" destOrd="0" presId="urn:microsoft.com/office/officeart/2005/8/layout/chevron1"/>
    <dgm:cxn modelId="{CE74447E-9BAE-47B8-8DA9-D53848C61564}" srcId="{B46AEBD5-9297-47AD-A614-B535C64E35A1}" destId="{F42ECED3-F0B4-4A8D-A902-FAC8D46C2645}" srcOrd="0" destOrd="0" parTransId="{67691D85-B97E-4AF2-8DA4-210F21D3E69A}" sibTransId="{3C98E206-A16A-45CC-9D38-FC38756F419F}"/>
    <dgm:cxn modelId="{15454F7F-5BBF-4A1D-8567-EFF7FB852C99}" type="presOf" srcId="{47876724-E19A-4DA6-8679-0F46A72BAE55}" destId="{03981F53-D939-4E6C-9337-2CD8EAF7E1A8}" srcOrd="0" destOrd="0" presId="urn:microsoft.com/office/officeart/2005/8/layout/chevron1"/>
    <dgm:cxn modelId="{73C94D80-76A8-4166-BDD1-FEA26791BF99}" srcId="{B46AEBD5-9297-47AD-A614-B535C64E35A1}" destId="{21E44B4A-6DE6-45F5-B361-AAED1E9CCBA4}" srcOrd="3" destOrd="0" parTransId="{1F64F757-8F61-4B21-944C-457817D2F7B0}" sibTransId="{15757D91-587D-49BF-AB9F-30A4F02F712C}"/>
    <dgm:cxn modelId="{F0048188-B289-40F2-958C-2A5A89FF7EC5}" type="presOf" srcId="{21E44B4A-6DE6-45F5-B361-AAED1E9CCBA4}" destId="{9FB221C2-0049-467C-B32B-33E90DB196CC}" srcOrd="0" destOrd="0" presId="urn:microsoft.com/office/officeart/2005/8/layout/chevron1"/>
    <dgm:cxn modelId="{9BCE73B8-0D36-4714-B8CE-64A76B2A36DE}" srcId="{B46AEBD5-9297-47AD-A614-B535C64E35A1}" destId="{B51B005F-8DFE-49F7-9896-F99440202DD3}" srcOrd="6" destOrd="0" parTransId="{530CA3DA-DCC5-4036-AC57-3F090A3AEA92}" sibTransId="{8E67B681-7F8F-4594-959E-5E58F0791F54}"/>
    <dgm:cxn modelId="{66D750B9-5AA6-46B3-BCC2-8D4A29954CF6}" type="presOf" srcId="{B46AEBD5-9297-47AD-A614-B535C64E35A1}" destId="{A5290075-BC21-4B21-886A-8875995FB12D}" srcOrd="0" destOrd="0" presId="urn:microsoft.com/office/officeart/2005/8/layout/chevron1"/>
    <dgm:cxn modelId="{34FDF6BD-254D-45EB-83B3-0F1B37A873F7}" srcId="{B46AEBD5-9297-47AD-A614-B535C64E35A1}" destId="{615084C2-EDC7-413B-B050-173EEDE291A4}" srcOrd="7" destOrd="0" parTransId="{AFFEFE5B-5244-4DF9-AA8E-17B9BC603602}" sibTransId="{1F99461F-BA39-4A22-B42F-49BF709F7557}"/>
    <dgm:cxn modelId="{701075D8-2389-4911-ABA8-88582D064F4C}" type="presOf" srcId="{656674E3-9EDD-4779-8912-A450FA343361}" destId="{467AC5F3-E251-40DB-9AAC-B2FA17F31E65}" srcOrd="0" destOrd="0" presId="urn:microsoft.com/office/officeart/2005/8/layout/chevron1"/>
    <dgm:cxn modelId="{8D7133E2-B496-406E-89F0-3DDD37D5CB4A}" srcId="{B46AEBD5-9297-47AD-A614-B535C64E35A1}" destId="{1C32781A-622A-41F4-9326-966436C191AE}" srcOrd="8" destOrd="0" parTransId="{A06C3CBA-87F3-42CB-ACF9-DD8082416EE3}" sibTransId="{E5943572-59EB-4650-90E3-18621E35742E}"/>
    <dgm:cxn modelId="{0B1543E2-5AF7-41FA-B519-EEA7ADC5A137}" type="presOf" srcId="{3639AC4A-0CDC-4938-9233-57043EAFE1F2}" destId="{A23CAFC2-A7E4-4A9B-8323-9363CB90E305}" srcOrd="0" destOrd="0" presId="urn:microsoft.com/office/officeart/2005/8/layout/chevron1"/>
    <dgm:cxn modelId="{B37767E6-5C56-4BAC-BD59-DCCAE8000BA0}" type="presOf" srcId="{615084C2-EDC7-413B-B050-173EEDE291A4}" destId="{0282AA08-75E6-45C6-B634-D5F251065222}" srcOrd="0" destOrd="0" presId="urn:microsoft.com/office/officeart/2005/8/layout/chevron1"/>
    <dgm:cxn modelId="{E61994E6-117A-4AC3-9050-C8C5C6F24FD6}" type="presOf" srcId="{B51B005F-8DFE-49F7-9896-F99440202DD3}" destId="{C9C479CE-72B2-4B52-9362-B58BFFD91966}" srcOrd="0" destOrd="0" presId="urn:microsoft.com/office/officeart/2005/8/layout/chevron1"/>
    <dgm:cxn modelId="{1F0D76FD-3383-43EB-B763-FD11B5336548}" type="presOf" srcId="{F42ECED3-F0B4-4A8D-A902-FAC8D46C2645}" destId="{59FACF88-C498-48A7-B695-53CEE393E7B1}" srcOrd="0" destOrd="0" presId="urn:microsoft.com/office/officeart/2005/8/layout/chevron1"/>
    <dgm:cxn modelId="{2C3A1B66-8A48-46D8-982E-8CB4FB8E215A}" type="presParOf" srcId="{A5290075-BC21-4B21-886A-8875995FB12D}" destId="{59FACF88-C498-48A7-B695-53CEE393E7B1}" srcOrd="0" destOrd="0" presId="urn:microsoft.com/office/officeart/2005/8/layout/chevron1"/>
    <dgm:cxn modelId="{7AB19C64-18E8-4890-9E91-342CB5742518}" type="presParOf" srcId="{A5290075-BC21-4B21-886A-8875995FB12D}" destId="{679A4988-B916-469B-B37B-433A6A728F22}" srcOrd="1" destOrd="0" presId="urn:microsoft.com/office/officeart/2005/8/layout/chevron1"/>
    <dgm:cxn modelId="{A71632DF-A91A-4D68-9840-E1EA6E039757}" type="presParOf" srcId="{A5290075-BC21-4B21-886A-8875995FB12D}" destId="{03981F53-D939-4E6C-9337-2CD8EAF7E1A8}" srcOrd="2" destOrd="0" presId="urn:microsoft.com/office/officeart/2005/8/layout/chevron1"/>
    <dgm:cxn modelId="{61FB0BF0-DB76-4781-A10A-058AFA30FFE1}" type="presParOf" srcId="{A5290075-BC21-4B21-886A-8875995FB12D}" destId="{C2BA7EAF-6495-43CE-AFF4-079F4194C520}" srcOrd="3" destOrd="0" presId="urn:microsoft.com/office/officeart/2005/8/layout/chevron1"/>
    <dgm:cxn modelId="{AD0EA157-2263-4396-831E-ED077FD7CD41}" type="presParOf" srcId="{A5290075-BC21-4B21-886A-8875995FB12D}" destId="{1C947995-5434-4211-B9E2-30898F1D7CB8}" srcOrd="4" destOrd="0" presId="urn:microsoft.com/office/officeart/2005/8/layout/chevron1"/>
    <dgm:cxn modelId="{866C458C-7C0E-441B-997F-EC1F88866ABC}" type="presParOf" srcId="{A5290075-BC21-4B21-886A-8875995FB12D}" destId="{845ABD0E-0C39-4EF4-9569-86E6DB4DC3D9}" srcOrd="5" destOrd="0" presId="urn:microsoft.com/office/officeart/2005/8/layout/chevron1"/>
    <dgm:cxn modelId="{B48F92B0-C9A3-4374-8FA5-46BF5194BF51}" type="presParOf" srcId="{A5290075-BC21-4B21-886A-8875995FB12D}" destId="{9FB221C2-0049-467C-B32B-33E90DB196CC}" srcOrd="6" destOrd="0" presId="urn:microsoft.com/office/officeart/2005/8/layout/chevron1"/>
    <dgm:cxn modelId="{80544CAE-3B0B-403B-B7A3-8F0D0DA5B31B}" type="presParOf" srcId="{A5290075-BC21-4B21-886A-8875995FB12D}" destId="{609FF892-1044-4E61-BE87-0A96C897C971}" srcOrd="7" destOrd="0" presId="urn:microsoft.com/office/officeart/2005/8/layout/chevron1"/>
    <dgm:cxn modelId="{F769AB24-2D77-4EA7-80E0-FE0154D15D10}" type="presParOf" srcId="{A5290075-BC21-4B21-886A-8875995FB12D}" destId="{A23CAFC2-A7E4-4A9B-8323-9363CB90E305}" srcOrd="8" destOrd="0" presId="urn:microsoft.com/office/officeart/2005/8/layout/chevron1"/>
    <dgm:cxn modelId="{CCC4051D-6B39-43AE-BACE-B4519972CC20}" type="presParOf" srcId="{A5290075-BC21-4B21-886A-8875995FB12D}" destId="{7A70CA3D-DF53-4099-BB2A-93F62F9BEEE4}" srcOrd="9" destOrd="0" presId="urn:microsoft.com/office/officeart/2005/8/layout/chevron1"/>
    <dgm:cxn modelId="{4A9CBFD7-8524-464B-87F0-EB435BD10C82}" type="presParOf" srcId="{A5290075-BC21-4B21-886A-8875995FB12D}" destId="{467AC5F3-E251-40DB-9AAC-B2FA17F31E65}" srcOrd="10" destOrd="0" presId="urn:microsoft.com/office/officeart/2005/8/layout/chevron1"/>
    <dgm:cxn modelId="{E3152740-7FF1-427C-B55E-AB34551FF7B0}" type="presParOf" srcId="{A5290075-BC21-4B21-886A-8875995FB12D}" destId="{98DE5CEA-EA26-46F9-9417-A0C1D970B02B}" srcOrd="11" destOrd="0" presId="urn:microsoft.com/office/officeart/2005/8/layout/chevron1"/>
    <dgm:cxn modelId="{EF2B9F50-F6B7-41BD-B25F-D72A8A427104}" type="presParOf" srcId="{A5290075-BC21-4B21-886A-8875995FB12D}" destId="{C9C479CE-72B2-4B52-9362-B58BFFD91966}" srcOrd="12" destOrd="0" presId="urn:microsoft.com/office/officeart/2005/8/layout/chevron1"/>
    <dgm:cxn modelId="{87353BFD-9DA6-4326-A9AA-4FD730FB59AD}" type="presParOf" srcId="{A5290075-BC21-4B21-886A-8875995FB12D}" destId="{451AE1F7-02DC-413C-A7DC-F9F0875525FE}" srcOrd="13" destOrd="0" presId="urn:microsoft.com/office/officeart/2005/8/layout/chevron1"/>
    <dgm:cxn modelId="{B61B7B4B-5948-4E19-A22F-73C17BB4061A}" type="presParOf" srcId="{A5290075-BC21-4B21-886A-8875995FB12D}" destId="{0282AA08-75E6-45C6-B634-D5F251065222}" srcOrd="14" destOrd="0" presId="urn:microsoft.com/office/officeart/2005/8/layout/chevron1"/>
    <dgm:cxn modelId="{01E3B43E-174E-4495-89E2-FBADB96F3047}" type="presParOf" srcId="{A5290075-BC21-4B21-886A-8875995FB12D}" destId="{55BA03E4-DC28-4837-9E26-0DFC4C00E493}" srcOrd="15" destOrd="0" presId="urn:microsoft.com/office/officeart/2005/8/layout/chevron1"/>
    <dgm:cxn modelId="{96223298-2882-4AE1-B926-EE89A2739E4D}" type="presParOf" srcId="{A5290075-BC21-4B21-886A-8875995FB12D}" destId="{0AE93C0B-DF37-48E5-98D1-BAB7CA218DEB}" srcOrd="16"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E3746B7-B68B-4187-8C99-3D65C97CD19C}" type="doc">
      <dgm:prSet loTypeId="urn:microsoft.com/office/officeart/2005/8/layout/gear1" loCatId="relationship" qsTypeId="urn:microsoft.com/office/officeart/2005/8/quickstyle/3d3" qsCatId="3D" csTypeId="urn:microsoft.com/office/officeart/2005/8/colors/accent0_2" csCatId="mainScheme" phldr="1"/>
      <dgm:spPr/>
    </dgm:pt>
    <dgm:pt modelId="{77850179-72F0-401D-A1C6-B4C83EDBA7FC}">
      <dgm:prSet phldrT="[Texte]" custT="1"/>
      <dgm:spPr/>
      <dgm:t>
        <a:bodyPr/>
        <a:lstStyle/>
        <a:p>
          <a:endParaRPr lang="fr-FR" sz="1200" dirty="0"/>
        </a:p>
      </dgm:t>
    </dgm:pt>
    <dgm:pt modelId="{EFB874C1-A65D-46CE-9C53-D7964257D26E}" type="parTrans" cxnId="{32FD016B-DE45-46FF-93A2-D79EB854FFD4}">
      <dgm:prSet/>
      <dgm:spPr/>
      <dgm:t>
        <a:bodyPr/>
        <a:lstStyle/>
        <a:p>
          <a:endParaRPr lang="fr-FR"/>
        </a:p>
      </dgm:t>
    </dgm:pt>
    <dgm:pt modelId="{03BC7F34-5908-425C-BC0C-CFD6BCB1588F}" type="sibTrans" cxnId="{32FD016B-DE45-46FF-93A2-D79EB854FFD4}">
      <dgm:prSet/>
      <dgm:spPr/>
      <dgm:t>
        <a:bodyPr/>
        <a:lstStyle/>
        <a:p>
          <a:endParaRPr lang="fr-FR"/>
        </a:p>
      </dgm:t>
    </dgm:pt>
    <dgm:pt modelId="{DC5EAB43-4B7C-44E0-82BC-8E317F6875EC}">
      <dgm:prSet phldrT="[Texte]" custT="1"/>
      <dgm:spPr/>
      <dgm:t>
        <a:bodyPr/>
        <a:lstStyle/>
        <a:p>
          <a:endParaRPr lang="fr-FR" sz="1200" dirty="0"/>
        </a:p>
      </dgm:t>
    </dgm:pt>
    <dgm:pt modelId="{F4C39D32-E615-4498-99B3-C46D8A57FDE0}" type="parTrans" cxnId="{6DEF1A2B-A496-4C84-B059-5F4EC53F8C85}">
      <dgm:prSet/>
      <dgm:spPr/>
      <dgm:t>
        <a:bodyPr/>
        <a:lstStyle/>
        <a:p>
          <a:endParaRPr lang="fr-FR"/>
        </a:p>
      </dgm:t>
    </dgm:pt>
    <dgm:pt modelId="{855AA709-7F51-42BB-AE97-5AEEEA91F94C}" type="sibTrans" cxnId="{6DEF1A2B-A496-4C84-B059-5F4EC53F8C85}">
      <dgm:prSet/>
      <dgm:spPr/>
      <dgm:t>
        <a:bodyPr/>
        <a:lstStyle/>
        <a:p>
          <a:endParaRPr lang="fr-FR"/>
        </a:p>
      </dgm:t>
    </dgm:pt>
    <dgm:pt modelId="{41724B52-8D00-459E-8B64-DAD28500889E}">
      <dgm:prSet phldrT="[Texte]" custT="1"/>
      <dgm:spPr/>
      <dgm:t>
        <a:bodyPr/>
        <a:lstStyle/>
        <a:p>
          <a:endParaRPr lang="fr-FR" sz="1400" dirty="0"/>
        </a:p>
      </dgm:t>
    </dgm:pt>
    <dgm:pt modelId="{CD1D7619-6B54-4EF5-9451-483909CF590C}" type="parTrans" cxnId="{D7040E89-655A-45FA-9A56-D47161AD5813}">
      <dgm:prSet/>
      <dgm:spPr/>
      <dgm:t>
        <a:bodyPr/>
        <a:lstStyle/>
        <a:p>
          <a:endParaRPr lang="fr-FR"/>
        </a:p>
      </dgm:t>
    </dgm:pt>
    <dgm:pt modelId="{4DE50393-FC2B-423E-B381-06D19D80253B}" type="sibTrans" cxnId="{D7040E89-655A-45FA-9A56-D47161AD5813}">
      <dgm:prSet/>
      <dgm:spPr/>
      <dgm:t>
        <a:bodyPr/>
        <a:lstStyle/>
        <a:p>
          <a:endParaRPr lang="fr-FR"/>
        </a:p>
      </dgm:t>
    </dgm:pt>
    <dgm:pt modelId="{3DE05767-C5CA-4B49-88DD-00C0CBBB6FED}" type="pres">
      <dgm:prSet presAssocID="{7E3746B7-B68B-4187-8C99-3D65C97CD19C}" presName="composite" presStyleCnt="0">
        <dgm:presLayoutVars>
          <dgm:chMax val="3"/>
          <dgm:animLvl val="lvl"/>
          <dgm:resizeHandles val="exact"/>
        </dgm:presLayoutVars>
      </dgm:prSet>
      <dgm:spPr/>
    </dgm:pt>
    <dgm:pt modelId="{5E259B29-A15F-4003-B0D1-368D0CA6B0CB}" type="pres">
      <dgm:prSet presAssocID="{77850179-72F0-401D-A1C6-B4C83EDBA7FC}" presName="gear1" presStyleLbl="node1" presStyleIdx="0" presStyleCnt="3">
        <dgm:presLayoutVars>
          <dgm:chMax val="1"/>
          <dgm:bulletEnabled val="1"/>
        </dgm:presLayoutVars>
      </dgm:prSet>
      <dgm:spPr/>
    </dgm:pt>
    <dgm:pt modelId="{042EE819-113C-40E0-A50D-EB8622822D8C}" type="pres">
      <dgm:prSet presAssocID="{77850179-72F0-401D-A1C6-B4C83EDBA7FC}" presName="gear1srcNode" presStyleLbl="node1" presStyleIdx="0" presStyleCnt="3"/>
      <dgm:spPr/>
    </dgm:pt>
    <dgm:pt modelId="{C86EB5D9-5327-4D46-A435-05E9C374B821}" type="pres">
      <dgm:prSet presAssocID="{77850179-72F0-401D-A1C6-B4C83EDBA7FC}" presName="gear1dstNode" presStyleLbl="node1" presStyleIdx="0" presStyleCnt="3"/>
      <dgm:spPr/>
    </dgm:pt>
    <dgm:pt modelId="{0689EEC7-E989-46DB-A868-8329A91DA000}" type="pres">
      <dgm:prSet presAssocID="{DC5EAB43-4B7C-44E0-82BC-8E317F6875EC}" presName="gear2" presStyleLbl="node1" presStyleIdx="1" presStyleCnt="3">
        <dgm:presLayoutVars>
          <dgm:chMax val="1"/>
          <dgm:bulletEnabled val="1"/>
        </dgm:presLayoutVars>
      </dgm:prSet>
      <dgm:spPr/>
    </dgm:pt>
    <dgm:pt modelId="{88C65EB8-4978-4A7E-9B9A-99957773B14D}" type="pres">
      <dgm:prSet presAssocID="{DC5EAB43-4B7C-44E0-82BC-8E317F6875EC}" presName="gear2srcNode" presStyleLbl="node1" presStyleIdx="1" presStyleCnt="3"/>
      <dgm:spPr/>
    </dgm:pt>
    <dgm:pt modelId="{2FD06F17-8BF9-4F95-BD9C-40AE5786C31F}" type="pres">
      <dgm:prSet presAssocID="{DC5EAB43-4B7C-44E0-82BC-8E317F6875EC}" presName="gear2dstNode" presStyleLbl="node1" presStyleIdx="1" presStyleCnt="3"/>
      <dgm:spPr/>
    </dgm:pt>
    <dgm:pt modelId="{392A61DF-2E0C-4907-93CD-500184CBF751}" type="pres">
      <dgm:prSet presAssocID="{41724B52-8D00-459E-8B64-DAD28500889E}" presName="gear3" presStyleLbl="node1" presStyleIdx="2" presStyleCnt="3"/>
      <dgm:spPr/>
    </dgm:pt>
    <dgm:pt modelId="{9301A098-FE31-4F0A-96DD-417EB94558A9}" type="pres">
      <dgm:prSet presAssocID="{41724B52-8D00-459E-8B64-DAD28500889E}" presName="gear3tx" presStyleLbl="node1" presStyleIdx="2" presStyleCnt="3">
        <dgm:presLayoutVars>
          <dgm:chMax val="1"/>
          <dgm:bulletEnabled val="1"/>
        </dgm:presLayoutVars>
      </dgm:prSet>
      <dgm:spPr/>
    </dgm:pt>
    <dgm:pt modelId="{37AA5B2D-3036-4C96-A2D9-8EE79AF6E2C5}" type="pres">
      <dgm:prSet presAssocID="{41724B52-8D00-459E-8B64-DAD28500889E}" presName="gear3srcNode" presStyleLbl="node1" presStyleIdx="2" presStyleCnt="3"/>
      <dgm:spPr/>
    </dgm:pt>
    <dgm:pt modelId="{1C484E18-F4B0-41AF-9655-61F082C8CDCA}" type="pres">
      <dgm:prSet presAssocID="{41724B52-8D00-459E-8B64-DAD28500889E}" presName="gear3dstNode" presStyleLbl="node1" presStyleIdx="2" presStyleCnt="3"/>
      <dgm:spPr/>
    </dgm:pt>
    <dgm:pt modelId="{557EBF33-5917-404D-A280-5F8F7224C03F}" type="pres">
      <dgm:prSet presAssocID="{03BC7F34-5908-425C-BC0C-CFD6BCB1588F}" presName="connector1" presStyleLbl="sibTrans2D1" presStyleIdx="0" presStyleCnt="3"/>
      <dgm:spPr/>
    </dgm:pt>
    <dgm:pt modelId="{7C5F66EF-BA93-4780-9E25-F1CB2C193E3B}" type="pres">
      <dgm:prSet presAssocID="{855AA709-7F51-42BB-AE97-5AEEEA91F94C}" presName="connector2" presStyleLbl="sibTrans2D1" presStyleIdx="1" presStyleCnt="3"/>
      <dgm:spPr/>
    </dgm:pt>
    <dgm:pt modelId="{B14F890E-9FC3-43B0-A6B2-051DB6BA4A47}" type="pres">
      <dgm:prSet presAssocID="{4DE50393-FC2B-423E-B381-06D19D80253B}" presName="connector3" presStyleLbl="sibTrans2D1" presStyleIdx="2" presStyleCnt="3"/>
      <dgm:spPr/>
    </dgm:pt>
  </dgm:ptLst>
  <dgm:cxnLst>
    <dgm:cxn modelId="{FC745009-2639-482D-8DA3-286B11F64715}" type="presOf" srcId="{41724B52-8D00-459E-8B64-DAD28500889E}" destId="{9301A098-FE31-4F0A-96DD-417EB94558A9}" srcOrd="1" destOrd="0" presId="urn:microsoft.com/office/officeart/2005/8/layout/gear1"/>
    <dgm:cxn modelId="{E6D06411-1DCE-4DBE-A079-61C1E1338165}" type="presOf" srcId="{DC5EAB43-4B7C-44E0-82BC-8E317F6875EC}" destId="{0689EEC7-E989-46DB-A868-8329A91DA000}" srcOrd="0" destOrd="0" presId="urn:microsoft.com/office/officeart/2005/8/layout/gear1"/>
    <dgm:cxn modelId="{BC7DCF15-326F-47D3-8C6E-57C06F52E302}" type="presOf" srcId="{77850179-72F0-401D-A1C6-B4C83EDBA7FC}" destId="{5E259B29-A15F-4003-B0D1-368D0CA6B0CB}" srcOrd="0" destOrd="0" presId="urn:microsoft.com/office/officeart/2005/8/layout/gear1"/>
    <dgm:cxn modelId="{6B00441B-A2E8-4DAD-9834-C88D47A0A99B}" type="presOf" srcId="{DC5EAB43-4B7C-44E0-82BC-8E317F6875EC}" destId="{88C65EB8-4978-4A7E-9B9A-99957773B14D}" srcOrd="1" destOrd="0" presId="urn:microsoft.com/office/officeart/2005/8/layout/gear1"/>
    <dgm:cxn modelId="{6DEF1A2B-A496-4C84-B059-5F4EC53F8C85}" srcId="{7E3746B7-B68B-4187-8C99-3D65C97CD19C}" destId="{DC5EAB43-4B7C-44E0-82BC-8E317F6875EC}" srcOrd="1" destOrd="0" parTransId="{F4C39D32-E615-4498-99B3-C46D8A57FDE0}" sibTransId="{855AA709-7F51-42BB-AE97-5AEEEA91F94C}"/>
    <dgm:cxn modelId="{591E2F30-208B-42DD-ADAE-8BF3F30D96DC}" type="presOf" srcId="{7E3746B7-B68B-4187-8C99-3D65C97CD19C}" destId="{3DE05767-C5CA-4B49-88DD-00C0CBBB6FED}" srcOrd="0" destOrd="0" presId="urn:microsoft.com/office/officeart/2005/8/layout/gear1"/>
    <dgm:cxn modelId="{C0766460-91A3-4041-8999-6FBBD5D1E371}" type="presOf" srcId="{77850179-72F0-401D-A1C6-B4C83EDBA7FC}" destId="{C86EB5D9-5327-4D46-A435-05E9C374B821}" srcOrd="2" destOrd="0" presId="urn:microsoft.com/office/officeart/2005/8/layout/gear1"/>
    <dgm:cxn modelId="{6D497D65-6008-4BF6-B1A4-2FE7A14607ED}" type="presOf" srcId="{41724B52-8D00-459E-8B64-DAD28500889E}" destId="{1C484E18-F4B0-41AF-9655-61F082C8CDCA}" srcOrd="3" destOrd="0" presId="urn:microsoft.com/office/officeart/2005/8/layout/gear1"/>
    <dgm:cxn modelId="{32FD016B-DE45-46FF-93A2-D79EB854FFD4}" srcId="{7E3746B7-B68B-4187-8C99-3D65C97CD19C}" destId="{77850179-72F0-401D-A1C6-B4C83EDBA7FC}" srcOrd="0" destOrd="0" parTransId="{EFB874C1-A65D-46CE-9C53-D7964257D26E}" sibTransId="{03BC7F34-5908-425C-BC0C-CFD6BCB1588F}"/>
    <dgm:cxn modelId="{1FE2F756-538F-4766-9C59-B0584F31049F}" type="presOf" srcId="{4DE50393-FC2B-423E-B381-06D19D80253B}" destId="{B14F890E-9FC3-43B0-A6B2-051DB6BA4A47}" srcOrd="0" destOrd="0" presId="urn:microsoft.com/office/officeart/2005/8/layout/gear1"/>
    <dgm:cxn modelId="{CB1C7877-9D72-4BDD-96DA-EB9B96CAB157}" type="presOf" srcId="{41724B52-8D00-459E-8B64-DAD28500889E}" destId="{37AA5B2D-3036-4C96-A2D9-8EE79AF6E2C5}" srcOrd="2" destOrd="0" presId="urn:microsoft.com/office/officeart/2005/8/layout/gear1"/>
    <dgm:cxn modelId="{D7040E89-655A-45FA-9A56-D47161AD5813}" srcId="{7E3746B7-B68B-4187-8C99-3D65C97CD19C}" destId="{41724B52-8D00-459E-8B64-DAD28500889E}" srcOrd="2" destOrd="0" parTransId="{CD1D7619-6B54-4EF5-9451-483909CF590C}" sibTransId="{4DE50393-FC2B-423E-B381-06D19D80253B}"/>
    <dgm:cxn modelId="{FD275595-4505-400A-806B-76D50E54A184}" type="presOf" srcId="{77850179-72F0-401D-A1C6-B4C83EDBA7FC}" destId="{042EE819-113C-40E0-A50D-EB8622822D8C}" srcOrd="1" destOrd="0" presId="urn:microsoft.com/office/officeart/2005/8/layout/gear1"/>
    <dgm:cxn modelId="{E523049A-B622-4C67-90CF-7840349E963E}" type="presOf" srcId="{03BC7F34-5908-425C-BC0C-CFD6BCB1588F}" destId="{557EBF33-5917-404D-A280-5F8F7224C03F}" srcOrd="0" destOrd="0" presId="urn:microsoft.com/office/officeart/2005/8/layout/gear1"/>
    <dgm:cxn modelId="{5F63B7D1-12DC-42F9-B5B7-E1F7EE5D7BE9}" type="presOf" srcId="{855AA709-7F51-42BB-AE97-5AEEEA91F94C}" destId="{7C5F66EF-BA93-4780-9E25-F1CB2C193E3B}" srcOrd="0" destOrd="0" presId="urn:microsoft.com/office/officeart/2005/8/layout/gear1"/>
    <dgm:cxn modelId="{40DD45DA-8F9D-4840-9DA4-DE377C9284BF}" type="presOf" srcId="{41724B52-8D00-459E-8B64-DAD28500889E}" destId="{392A61DF-2E0C-4907-93CD-500184CBF751}" srcOrd="0" destOrd="0" presId="urn:microsoft.com/office/officeart/2005/8/layout/gear1"/>
    <dgm:cxn modelId="{56061DDD-3146-4C0E-BDB6-9DFFDEC29CE9}" type="presOf" srcId="{DC5EAB43-4B7C-44E0-82BC-8E317F6875EC}" destId="{2FD06F17-8BF9-4F95-BD9C-40AE5786C31F}" srcOrd="2" destOrd="0" presId="urn:microsoft.com/office/officeart/2005/8/layout/gear1"/>
    <dgm:cxn modelId="{8CBB0EBD-0264-41C5-A1FC-B38B05874F97}" type="presParOf" srcId="{3DE05767-C5CA-4B49-88DD-00C0CBBB6FED}" destId="{5E259B29-A15F-4003-B0D1-368D0CA6B0CB}" srcOrd="0" destOrd="0" presId="urn:microsoft.com/office/officeart/2005/8/layout/gear1"/>
    <dgm:cxn modelId="{F699618F-D4AC-4E8F-9B3E-C5E986C9190C}" type="presParOf" srcId="{3DE05767-C5CA-4B49-88DD-00C0CBBB6FED}" destId="{042EE819-113C-40E0-A50D-EB8622822D8C}" srcOrd="1" destOrd="0" presId="urn:microsoft.com/office/officeart/2005/8/layout/gear1"/>
    <dgm:cxn modelId="{2FCFEEC6-32E4-46EF-B9AF-35B875931B21}" type="presParOf" srcId="{3DE05767-C5CA-4B49-88DD-00C0CBBB6FED}" destId="{C86EB5D9-5327-4D46-A435-05E9C374B821}" srcOrd="2" destOrd="0" presId="urn:microsoft.com/office/officeart/2005/8/layout/gear1"/>
    <dgm:cxn modelId="{CD9C2FA8-4C5A-48EF-9283-C1B33641B59D}" type="presParOf" srcId="{3DE05767-C5CA-4B49-88DD-00C0CBBB6FED}" destId="{0689EEC7-E989-46DB-A868-8329A91DA000}" srcOrd="3" destOrd="0" presId="urn:microsoft.com/office/officeart/2005/8/layout/gear1"/>
    <dgm:cxn modelId="{08D021D0-D818-4EED-89B4-719CD6CCDA1D}" type="presParOf" srcId="{3DE05767-C5CA-4B49-88DD-00C0CBBB6FED}" destId="{88C65EB8-4978-4A7E-9B9A-99957773B14D}" srcOrd="4" destOrd="0" presId="urn:microsoft.com/office/officeart/2005/8/layout/gear1"/>
    <dgm:cxn modelId="{256DCD1D-0E47-4231-8B2E-AC18489C2981}" type="presParOf" srcId="{3DE05767-C5CA-4B49-88DD-00C0CBBB6FED}" destId="{2FD06F17-8BF9-4F95-BD9C-40AE5786C31F}" srcOrd="5" destOrd="0" presId="urn:microsoft.com/office/officeart/2005/8/layout/gear1"/>
    <dgm:cxn modelId="{386777FF-1808-4D07-B9DD-F8F10EF0F5A8}" type="presParOf" srcId="{3DE05767-C5CA-4B49-88DD-00C0CBBB6FED}" destId="{392A61DF-2E0C-4907-93CD-500184CBF751}" srcOrd="6" destOrd="0" presId="urn:microsoft.com/office/officeart/2005/8/layout/gear1"/>
    <dgm:cxn modelId="{022AD07F-C5A3-4024-9FC1-21FADDC759FA}" type="presParOf" srcId="{3DE05767-C5CA-4B49-88DD-00C0CBBB6FED}" destId="{9301A098-FE31-4F0A-96DD-417EB94558A9}" srcOrd="7" destOrd="0" presId="urn:microsoft.com/office/officeart/2005/8/layout/gear1"/>
    <dgm:cxn modelId="{3870FAE3-693F-453D-BD63-9568B006BD05}" type="presParOf" srcId="{3DE05767-C5CA-4B49-88DD-00C0CBBB6FED}" destId="{37AA5B2D-3036-4C96-A2D9-8EE79AF6E2C5}" srcOrd="8" destOrd="0" presId="urn:microsoft.com/office/officeart/2005/8/layout/gear1"/>
    <dgm:cxn modelId="{DD40586C-D7DD-424D-8EB8-01413ACF9AB8}" type="presParOf" srcId="{3DE05767-C5CA-4B49-88DD-00C0CBBB6FED}" destId="{1C484E18-F4B0-41AF-9655-61F082C8CDCA}" srcOrd="9" destOrd="0" presId="urn:microsoft.com/office/officeart/2005/8/layout/gear1"/>
    <dgm:cxn modelId="{CF705F86-9D10-4558-A164-C905AC833338}" type="presParOf" srcId="{3DE05767-C5CA-4B49-88DD-00C0CBBB6FED}" destId="{557EBF33-5917-404D-A280-5F8F7224C03F}" srcOrd="10" destOrd="0" presId="urn:microsoft.com/office/officeart/2005/8/layout/gear1"/>
    <dgm:cxn modelId="{6031A6FA-FAEE-4F9B-A962-6442E8C26DB9}" type="presParOf" srcId="{3DE05767-C5CA-4B49-88DD-00C0CBBB6FED}" destId="{7C5F66EF-BA93-4780-9E25-F1CB2C193E3B}" srcOrd="11" destOrd="0" presId="urn:microsoft.com/office/officeart/2005/8/layout/gear1"/>
    <dgm:cxn modelId="{6C0C9D54-EBC4-40EA-AF93-DE0E57C76A26}" type="presParOf" srcId="{3DE05767-C5CA-4B49-88DD-00C0CBBB6FED}" destId="{B14F890E-9FC3-43B0-A6B2-051DB6BA4A47}"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FACF88-C498-48A7-B695-53CEE393E7B1}">
      <dsp:nvSpPr>
        <dsp:cNvPr id="0" name=""/>
        <dsp:cNvSpPr/>
      </dsp:nvSpPr>
      <dsp:spPr>
        <a:xfrm>
          <a:off x="121" y="2466201"/>
          <a:ext cx="1215660" cy="486264"/>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29337" rIns="29337" bIns="29337" numCol="1" spcCol="1270" anchor="ctr" anchorCtr="0">
          <a:noAutofit/>
        </a:bodyPr>
        <a:lstStyle/>
        <a:p>
          <a:pPr marL="0" lvl="0" indent="0" algn="ctr" defTabSz="977900">
            <a:lnSpc>
              <a:spcPct val="90000"/>
            </a:lnSpc>
            <a:spcBef>
              <a:spcPct val="0"/>
            </a:spcBef>
            <a:spcAft>
              <a:spcPct val="35000"/>
            </a:spcAft>
            <a:buNone/>
          </a:pPr>
          <a:r>
            <a:rPr lang="fr-FR" sz="2200" kern="1200" dirty="0"/>
            <a:t>2010</a:t>
          </a:r>
        </a:p>
      </dsp:txBody>
      <dsp:txXfrm>
        <a:off x="243253" y="2466201"/>
        <a:ext cx="729396" cy="486264"/>
      </dsp:txXfrm>
    </dsp:sp>
    <dsp:sp modelId="{03981F53-D939-4E6C-9337-2CD8EAF7E1A8}">
      <dsp:nvSpPr>
        <dsp:cNvPr id="0" name=""/>
        <dsp:cNvSpPr/>
      </dsp:nvSpPr>
      <dsp:spPr>
        <a:xfrm>
          <a:off x="1094215" y="2466201"/>
          <a:ext cx="1215660" cy="486264"/>
        </a:xfrm>
        <a:prstGeom prst="chevron">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29337" rIns="29337" bIns="29337" numCol="1" spcCol="1270" anchor="ctr" anchorCtr="0">
          <a:noAutofit/>
        </a:bodyPr>
        <a:lstStyle/>
        <a:p>
          <a:pPr marL="0" lvl="0" indent="0" algn="ctr" defTabSz="977900">
            <a:lnSpc>
              <a:spcPct val="90000"/>
            </a:lnSpc>
            <a:spcBef>
              <a:spcPct val="0"/>
            </a:spcBef>
            <a:spcAft>
              <a:spcPct val="35000"/>
            </a:spcAft>
            <a:buNone/>
          </a:pPr>
          <a:r>
            <a:rPr lang="fr-FR" sz="2200" kern="1200" dirty="0"/>
            <a:t>2011</a:t>
          </a:r>
        </a:p>
      </dsp:txBody>
      <dsp:txXfrm>
        <a:off x="1337347" y="2466201"/>
        <a:ext cx="729396" cy="486264"/>
      </dsp:txXfrm>
    </dsp:sp>
    <dsp:sp modelId="{1C947995-5434-4211-B9E2-30898F1D7CB8}">
      <dsp:nvSpPr>
        <dsp:cNvPr id="0" name=""/>
        <dsp:cNvSpPr/>
      </dsp:nvSpPr>
      <dsp:spPr>
        <a:xfrm>
          <a:off x="2188309" y="2466201"/>
          <a:ext cx="1215660" cy="486264"/>
        </a:xfrm>
        <a:prstGeom prst="chevron">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29337" rIns="29337" bIns="29337" numCol="1" spcCol="1270" anchor="ctr" anchorCtr="0">
          <a:noAutofit/>
        </a:bodyPr>
        <a:lstStyle/>
        <a:p>
          <a:pPr marL="0" lvl="0" indent="0" algn="ctr" defTabSz="977900">
            <a:lnSpc>
              <a:spcPct val="90000"/>
            </a:lnSpc>
            <a:spcBef>
              <a:spcPct val="0"/>
            </a:spcBef>
            <a:spcAft>
              <a:spcPct val="35000"/>
            </a:spcAft>
            <a:buNone/>
          </a:pPr>
          <a:r>
            <a:rPr lang="fr-FR" sz="2200" kern="1200" dirty="0"/>
            <a:t>2012</a:t>
          </a:r>
        </a:p>
      </dsp:txBody>
      <dsp:txXfrm>
        <a:off x="2431441" y="2466201"/>
        <a:ext cx="729396" cy="486264"/>
      </dsp:txXfrm>
    </dsp:sp>
    <dsp:sp modelId="{9FB221C2-0049-467C-B32B-33E90DB196CC}">
      <dsp:nvSpPr>
        <dsp:cNvPr id="0" name=""/>
        <dsp:cNvSpPr/>
      </dsp:nvSpPr>
      <dsp:spPr>
        <a:xfrm>
          <a:off x="3282403" y="2466201"/>
          <a:ext cx="1215660" cy="486264"/>
        </a:xfrm>
        <a:prstGeom prst="chevron">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29337" rIns="29337" bIns="29337" numCol="1" spcCol="1270" anchor="ctr" anchorCtr="0">
          <a:noAutofit/>
        </a:bodyPr>
        <a:lstStyle/>
        <a:p>
          <a:pPr marL="0" lvl="0" indent="0" algn="ctr" defTabSz="977900">
            <a:lnSpc>
              <a:spcPct val="90000"/>
            </a:lnSpc>
            <a:spcBef>
              <a:spcPct val="0"/>
            </a:spcBef>
            <a:spcAft>
              <a:spcPct val="35000"/>
            </a:spcAft>
            <a:buNone/>
          </a:pPr>
          <a:r>
            <a:rPr lang="fr-FR" sz="2200" kern="1200" dirty="0"/>
            <a:t>2013</a:t>
          </a:r>
        </a:p>
      </dsp:txBody>
      <dsp:txXfrm>
        <a:off x="3525535" y="2466201"/>
        <a:ext cx="729396" cy="486264"/>
      </dsp:txXfrm>
    </dsp:sp>
    <dsp:sp modelId="{A23CAFC2-A7E4-4A9B-8323-9363CB90E305}">
      <dsp:nvSpPr>
        <dsp:cNvPr id="0" name=""/>
        <dsp:cNvSpPr/>
      </dsp:nvSpPr>
      <dsp:spPr>
        <a:xfrm>
          <a:off x="4376497" y="2466201"/>
          <a:ext cx="1215660" cy="486264"/>
        </a:xfrm>
        <a:prstGeom prst="chevron">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29337" rIns="29337" bIns="29337" numCol="1" spcCol="1270" anchor="ctr" anchorCtr="0">
          <a:noAutofit/>
        </a:bodyPr>
        <a:lstStyle/>
        <a:p>
          <a:pPr marL="0" lvl="0" indent="0" algn="ctr" defTabSz="977900">
            <a:lnSpc>
              <a:spcPct val="90000"/>
            </a:lnSpc>
            <a:spcBef>
              <a:spcPct val="0"/>
            </a:spcBef>
            <a:spcAft>
              <a:spcPct val="35000"/>
            </a:spcAft>
            <a:buNone/>
          </a:pPr>
          <a:r>
            <a:rPr lang="fr-FR" sz="2200" kern="1200" dirty="0"/>
            <a:t>2014</a:t>
          </a:r>
        </a:p>
      </dsp:txBody>
      <dsp:txXfrm>
        <a:off x="4619629" y="2466201"/>
        <a:ext cx="729396" cy="486264"/>
      </dsp:txXfrm>
    </dsp:sp>
    <dsp:sp modelId="{467AC5F3-E251-40DB-9AAC-B2FA17F31E65}">
      <dsp:nvSpPr>
        <dsp:cNvPr id="0" name=""/>
        <dsp:cNvSpPr/>
      </dsp:nvSpPr>
      <dsp:spPr>
        <a:xfrm>
          <a:off x="5470592" y="2466201"/>
          <a:ext cx="1215660" cy="486264"/>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29337" rIns="29337" bIns="29337" numCol="1" spcCol="1270" anchor="ctr" anchorCtr="0">
          <a:noAutofit/>
        </a:bodyPr>
        <a:lstStyle/>
        <a:p>
          <a:pPr marL="0" lvl="0" indent="0" algn="ctr" defTabSz="977900">
            <a:lnSpc>
              <a:spcPct val="90000"/>
            </a:lnSpc>
            <a:spcBef>
              <a:spcPct val="0"/>
            </a:spcBef>
            <a:spcAft>
              <a:spcPct val="35000"/>
            </a:spcAft>
            <a:buNone/>
          </a:pPr>
          <a:r>
            <a:rPr lang="fr-FR" sz="2200" kern="1200" dirty="0"/>
            <a:t>2015</a:t>
          </a:r>
        </a:p>
      </dsp:txBody>
      <dsp:txXfrm>
        <a:off x="5713724" y="2466201"/>
        <a:ext cx="729396" cy="486264"/>
      </dsp:txXfrm>
    </dsp:sp>
    <dsp:sp modelId="{C9C479CE-72B2-4B52-9362-B58BFFD91966}">
      <dsp:nvSpPr>
        <dsp:cNvPr id="0" name=""/>
        <dsp:cNvSpPr/>
      </dsp:nvSpPr>
      <dsp:spPr>
        <a:xfrm>
          <a:off x="6564686" y="2466201"/>
          <a:ext cx="1215660" cy="486264"/>
        </a:xfrm>
        <a:prstGeom prst="chevron">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29337" rIns="29337" bIns="29337" numCol="1" spcCol="1270" anchor="ctr" anchorCtr="0">
          <a:noAutofit/>
        </a:bodyPr>
        <a:lstStyle/>
        <a:p>
          <a:pPr marL="0" lvl="0" indent="0" algn="ctr" defTabSz="977900">
            <a:lnSpc>
              <a:spcPct val="90000"/>
            </a:lnSpc>
            <a:spcBef>
              <a:spcPct val="0"/>
            </a:spcBef>
            <a:spcAft>
              <a:spcPct val="35000"/>
            </a:spcAft>
            <a:buNone/>
          </a:pPr>
          <a:r>
            <a:rPr lang="fr-FR" sz="2200" kern="1200" dirty="0"/>
            <a:t>2016</a:t>
          </a:r>
        </a:p>
      </dsp:txBody>
      <dsp:txXfrm>
        <a:off x="6807818" y="2466201"/>
        <a:ext cx="729396" cy="486264"/>
      </dsp:txXfrm>
    </dsp:sp>
    <dsp:sp modelId="{0282AA08-75E6-45C6-B634-D5F251065222}">
      <dsp:nvSpPr>
        <dsp:cNvPr id="0" name=""/>
        <dsp:cNvSpPr/>
      </dsp:nvSpPr>
      <dsp:spPr>
        <a:xfrm>
          <a:off x="7658780" y="2466201"/>
          <a:ext cx="1215660" cy="486264"/>
        </a:xfrm>
        <a:prstGeom prst="chevron">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29337" rIns="29337" bIns="29337" numCol="1" spcCol="1270" anchor="ctr" anchorCtr="0">
          <a:noAutofit/>
        </a:bodyPr>
        <a:lstStyle/>
        <a:p>
          <a:pPr marL="0" lvl="0" indent="0" algn="ctr" defTabSz="977900">
            <a:lnSpc>
              <a:spcPct val="90000"/>
            </a:lnSpc>
            <a:spcBef>
              <a:spcPct val="0"/>
            </a:spcBef>
            <a:spcAft>
              <a:spcPct val="35000"/>
            </a:spcAft>
            <a:buNone/>
          </a:pPr>
          <a:r>
            <a:rPr lang="fr-FR" sz="2200" kern="1200" dirty="0"/>
            <a:t>2017</a:t>
          </a:r>
        </a:p>
      </dsp:txBody>
      <dsp:txXfrm>
        <a:off x="7901912" y="2466201"/>
        <a:ext cx="729396" cy="486264"/>
      </dsp:txXfrm>
    </dsp:sp>
    <dsp:sp modelId="{0AE93C0B-DF37-48E5-98D1-BAB7CA218DEB}">
      <dsp:nvSpPr>
        <dsp:cNvPr id="0" name=""/>
        <dsp:cNvSpPr/>
      </dsp:nvSpPr>
      <dsp:spPr>
        <a:xfrm>
          <a:off x="8752874" y="2466201"/>
          <a:ext cx="1215660" cy="486264"/>
        </a:xfrm>
        <a:prstGeom prst="chevron">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29337" rIns="29337" bIns="29337" numCol="1" spcCol="1270" anchor="ctr" anchorCtr="0">
          <a:noAutofit/>
        </a:bodyPr>
        <a:lstStyle/>
        <a:p>
          <a:pPr marL="0" lvl="0" indent="0" algn="ctr" defTabSz="977900">
            <a:lnSpc>
              <a:spcPct val="90000"/>
            </a:lnSpc>
            <a:spcBef>
              <a:spcPct val="0"/>
            </a:spcBef>
            <a:spcAft>
              <a:spcPct val="35000"/>
            </a:spcAft>
            <a:buNone/>
          </a:pPr>
          <a:r>
            <a:rPr lang="fr-FR" sz="2200" kern="1200" dirty="0"/>
            <a:t>2018</a:t>
          </a:r>
        </a:p>
      </dsp:txBody>
      <dsp:txXfrm>
        <a:off x="8996006" y="2466201"/>
        <a:ext cx="729396" cy="4862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259B29-A15F-4003-B0D1-368D0CA6B0CB}">
      <dsp:nvSpPr>
        <dsp:cNvPr id="0" name=""/>
        <dsp:cNvSpPr/>
      </dsp:nvSpPr>
      <dsp:spPr>
        <a:xfrm>
          <a:off x="2154904" y="1564860"/>
          <a:ext cx="1912606" cy="1912606"/>
        </a:xfrm>
        <a:prstGeom prst="gear9">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fr-FR" sz="1200" kern="1200" dirty="0"/>
        </a:p>
      </dsp:txBody>
      <dsp:txXfrm>
        <a:off x="2539423" y="2012879"/>
        <a:ext cx="1143568" cy="983119"/>
      </dsp:txXfrm>
    </dsp:sp>
    <dsp:sp modelId="{0689EEC7-E989-46DB-A868-8329A91DA000}">
      <dsp:nvSpPr>
        <dsp:cNvPr id="0" name=""/>
        <dsp:cNvSpPr/>
      </dsp:nvSpPr>
      <dsp:spPr>
        <a:xfrm>
          <a:off x="1042114" y="1112789"/>
          <a:ext cx="1390986" cy="1390986"/>
        </a:xfrm>
        <a:prstGeom prst="gear6">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fr-FR" sz="1200" kern="1200" dirty="0"/>
        </a:p>
      </dsp:txBody>
      <dsp:txXfrm>
        <a:off x="1392299" y="1465090"/>
        <a:ext cx="690616" cy="686384"/>
      </dsp:txXfrm>
    </dsp:sp>
    <dsp:sp modelId="{392A61DF-2E0C-4907-93CD-500184CBF751}">
      <dsp:nvSpPr>
        <dsp:cNvPr id="0" name=""/>
        <dsp:cNvSpPr/>
      </dsp:nvSpPr>
      <dsp:spPr>
        <a:xfrm rot="20700000">
          <a:off x="1821209" y="153150"/>
          <a:ext cx="1362883" cy="1362883"/>
        </a:xfrm>
        <a:prstGeom prst="gear6">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endParaRPr lang="fr-FR" sz="1400" kern="1200" dirty="0"/>
        </a:p>
      </dsp:txBody>
      <dsp:txXfrm rot="-20700000">
        <a:off x="2120129" y="452070"/>
        <a:ext cx="765042" cy="765042"/>
      </dsp:txXfrm>
    </dsp:sp>
    <dsp:sp modelId="{557EBF33-5917-404D-A280-5F8F7224C03F}">
      <dsp:nvSpPr>
        <dsp:cNvPr id="0" name=""/>
        <dsp:cNvSpPr/>
      </dsp:nvSpPr>
      <dsp:spPr>
        <a:xfrm>
          <a:off x="2000126" y="1280610"/>
          <a:ext cx="2448136" cy="2448136"/>
        </a:xfrm>
        <a:prstGeom prst="circularArrow">
          <a:avLst>
            <a:gd name="adj1" fmla="val 4687"/>
            <a:gd name="adj2" fmla="val 299029"/>
            <a:gd name="adj3" fmla="val 2496357"/>
            <a:gd name="adj4" fmla="val 15904626"/>
            <a:gd name="adj5" fmla="val 5469"/>
          </a:avLst>
        </a:prstGeom>
        <a:solidFill>
          <a:schemeClr val="dk2">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7C5F66EF-BA93-4780-9E25-F1CB2C193E3B}">
      <dsp:nvSpPr>
        <dsp:cNvPr id="0" name=""/>
        <dsp:cNvSpPr/>
      </dsp:nvSpPr>
      <dsp:spPr>
        <a:xfrm>
          <a:off x="795773" y="808093"/>
          <a:ext cx="1778724" cy="1778724"/>
        </a:xfrm>
        <a:prstGeom prst="leftCircularArrow">
          <a:avLst>
            <a:gd name="adj1" fmla="val 6452"/>
            <a:gd name="adj2" fmla="val 429999"/>
            <a:gd name="adj3" fmla="val 10489124"/>
            <a:gd name="adj4" fmla="val 14837806"/>
            <a:gd name="adj5" fmla="val 7527"/>
          </a:avLst>
        </a:prstGeom>
        <a:solidFill>
          <a:schemeClr val="dk2">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B14F890E-9FC3-43B0-A6B2-051DB6BA4A47}">
      <dsp:nvSpPr>
        <dsp:cNvPr id="0" name=""/>
        <dsp:cNvSpPr/>
      </dsp:nvSpPr>
      <dsp:spPr>
        <a:xfrm>
          <a:off x="1505960" y="-142295"/>
          <a:ext cx="1917823" cy="1917823"/>
        </a:xfrm>
        <a:prstGeom prst="circularArrow">
          <a:avLst>
            <a:gd name="adj1" fmla="val 5984"/>
            <a:gd name="adj2" fmla="val 394124"/>
            <a:gd name="adj3" fmla="val 13313824"/>
            <a:gd name="adj4" fmla="val 10508221"/>
            <a:gd name="adj5" fmla="val 6981"/>
          </a:avLst>
        </a:prstGeom>
        <a:solidFill>
          <a:schemeClr val="dk2">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2F909176-B8EA-41DD-8F92-1C989DF343B2}"/>
              </a:ext>
            </a:extLst>
          </p:cNvPr>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r>
              <a:rPr lang="fr-FR" dirty="0"/>
              <a:t>Sopra Steria</a:t>
            </a:r>
          </a:p>
        </p:txBody>
      </p:sp>
      <p:sp>
        <p:nvSpPr>
          <p:cNvPr id="3" name="Espace réservé de la date 2">
            <a:extLst>
              <a:ext uri="{FF2B5EF4-FFF2-40B4-BE49-F238E27FC236}">
                <a16:creationId xmlns:a16="http://schemas.microsoft.com/office/drawing/2014/main" id="{5DC9821C-F7AD-4360-B041-FD7C83E57314}"/>
              </a:ext>
            </a:extLst>
          </p:cNvPr>
          <p:cNvSpPr>
            <a:spLocks noGrp="1"/>
          </p:cNvSpPr>
          <p:nvPr>
            <p:ph type="dt" sz="quarter" idx="1"/>
          </p:nvPr>
        </p:nvSpPr>
        <p:spPr>
          <a:xfrm>
            <a:off x="3854939" y="0"/>
            <a:ext cx="2949099" cy="498932"/>
          </a:xfrm>
          <a:prstGeom prst="rect">
            <a:avLst/>
          </a:prstGeom>
        </p:spPr>
        <p:txBody>
          <a:bodyPr vert="horz" lIns="91440" tIns="45720" rIns="91440" bIns="45720" rtlCol="0"/>
          <a:lstStyle>
            <a:lvl1pPr algn="r">
              <a:defRPr sz="1200"/>
            </a:lvl1pPr>
          </a:lstStyle>
          <a:p>
            <a:fld id="{0089990E-EF74-4690-9C49-66B753ABCBE5}" type="datetimeFigureOut">
              <a:rPr lang="fr-FR" smtClean="0"/>
              <a:t>14/10/2021</a:t>
            </a:fld>
            <a:endParaRPr lang="fr-FR"/>
          </a:p>
        </p:txBody>
      </p:sp>
      <p:sp>
        <p:nvSpPr>
          <p:cNvPr id="4" name="Espace réservé du pied de page 3">
            <a:extLst>
              <a:ext uri="{FF2B5EF4-FFF2-40B4-BE49-F238E27FC236}">
                <a16:creationId xmlns:a16="http://schemas.microsoft.com/office/drawing/2014/main" id="{EB8CF8D4-1618-452C-887D-A91AC8FC953B}"/>
              </a:ext>
            </a:extLst>
          </p:cNvPr>
          <p:cNvSpPr>
            <a:spLocks noGrp="1"/>
          </p:cNvSpPr>
          <p:nvPr>
            <p:ph type="ftr" sz="quarter" idx="2"/>
          </p:nvPr>
        </p:nvSpPr>
        <p:spPr>
          <a:xfrm>
            <a:off x="0" y="9445170"/>
            <a:ext cx="2949099" cy="498931"/>
          </a:xfrm>
          <a:prstGeom prst="rect">
            <a:avLst/>
          </a:prstGeom>
        </p:spPr>
        <p:txBody>
          <a:bodyPr vert="horz" lIns="91440" tIns="45720" rIns="91440" bIns="45720" rtlCol="0" anchor="b"/>
          <a:lstStyle>
            <a:lvl1pPr algn="l">
              <a:defRPr sz="1200"/>
            </a:lvl1pPr>
          </a:lstStyle>
          <a:p>
            <a:r>
              <a:rPr lang="fr-FR" dirty="0"/>
              <a:t>Intitulé du document - Sopra Steria</a:t>
            </a:r>
          </a:p>
        </p:txBody>
      </p:sp>
      <p:sp>
        <p:nvSpPr>
          <p:cNvPr id="5" name="Espace réservé du numéro de diapositive 4">
            <a:extLst>
              <a:ext uri="{FF2B5EF4-FFF2-40B4-BE49-F238E27FC236}">
                <a16:creationId xmlns:a16="http://schemas.microsoft.com/office/drawing/2014/main" id="{ABC10792-DA87-4BDA-BA6B-D87502BBBF5C}"/>
              </a:ext>
            </a:extLst>
          </p:cNvPr>
          <p:cNvSpPr>
            <a:spLocks noGrp="1"/>
          </p:cNvSpPr>
          <p:nvPr>
            <p:ph type="sldNum" sz="quarter" idx="3"/>
          </p:nvPr>
        </p:nvSpPr>
        <p:spPr>
          <a:xfrm>
            <a:off x="3854939" y="9445170"/>
            <a:ext cx="2949099" cy="498931"/>
          </a:xfrm>
          <a:prstGeom prst="rect">
            <a:avLst/>
          </a:prstGeom>
        </p:spPr>
        <p:txBody>
          <a:bodyPr vert="horz" lIns="91440" tIns="45720" rIns="91440" bIns="45720" rtlCol="0" anchor="b"/>
          <a:lstStyle>
            <a:lvl1pPr algn="r">
              <a:defRPr sz="1200"/>
            </a:lvl1pPr>
          </a:lstStyle>
          <a:p>
            <a:fld id="{C7FA86D7-3F34-4350-90B7-F3AF3732A64B}" type="slidenum">
              <a:rPr lang="fr-FR" smtClean="0"/>
              <a:t>‹N°›</a:t>
            </a:fld>
            <a:endParaRPr lang="fr-FR"/>
          </a:p>
        </p:txBody>
      </p:sp>
    </p:spTree>
    <p:extLst>
      <p:ext uri="{BB962C8B-B14F-4D97-AF65-F5344CB8AC3E}">
        <p14:creationId xmlns:p14="http://schemas.microsoft.com/office/powerpoint/2010/main" val="2538581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r>
              <a:rPr lang="fr-FR" dirty="0"/>
              <a:t>Sopra Steria</a:t>
            </a:r>
          </a:p>
        </p:txBody>
      </p:sp>
      <p:sp>
        <p:nvSpPr>
          <p:cNvPr id="3" name="Espace réservé de la date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FFA15751-71F6-48FA-9E72-AC2A9C8346A7}" type="datetimeFigureOut">
              <a:rPr lang="fr-FR" smtClean="0"/>
              <a:t>14/10/2021</a:t>
            </a:fld>
            <a:endParaRPr lang="fr-FR"/>
          </a:p>
        </p:txBody>
      </p:sp>
      <p:sp>
        <p:nvSpPr>
          <p:cNvPr id="4" name="Espace réservé de l'image des diapositives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r>
              <a:rPr lang="fr-FR" dirty="0"/>
              <a:t>Intitulé du document - Sopra Steria</a:t>
            </a:r>
          </a:p>
        </p:txBody>
      </p:sp>
      <p:sp>
        <p:nvSpPr>
          <p:cNvPr id="7" name="Espace réservé du numéro de diapositive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2F99E83D-10BD-4912-838C-C14C2B9472B3}" type="slidenum">
              <a:rPr lang="fr-FR" smtClean="0"/>
              <a:t>‹N°›</a:t>
            </a:fld>
            <a:endParaRPr lang="fr-FR"/>
          </a:p>
        </p:txBody>
      </p:sp>
    </p:spTree>
    <p:extLst>
      <p:ext uri="{BB962C8B-B14F-4D97-AF65-F5344CB8AC3E}">
        <p14:creationId xmlns:p14="http://schemas.microsoft.com/office/powerpoint/2010/main" val="17614458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uverture_Dégradé_TexteBlanc">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1468418" cy="5426311"/>
          </a:xfrm>
          <a:prstGeom prst="rect">
            <a:avLst/>
          </a:prstGeom>
        </p:spPr>
      </p:pic>
      <p:sp>
        <p:nvSpPr>
          <p:cNvPr id="2" name="Titre 1">
            <a:extLst>
              <a:ext uri="{FF2B5EF4-FFF2-40B4-BE49-F238E27FC236}">
                <a16:creationId xmlns:a16="http://schemas.microsoft.com/office/drawing/2014/main" id="{50C5EE01-F973-4120-91B8-34CAA765DBA3}"/>
              </a:ext>
            </a:extLst>
          </p:cNvPr>
          <p:cNvSpPr>
            <a:spLocks noGrp="1"/>
          </p:cNvSpPr>
          <p:nvPr>
            <p:ph type="ctrTitle" hasCustomPrompt="1"/>
          </p:nvPr>
        </p:nvSpPr>
        <p:spPr>
          <a:xfrm>
            <a:off x="719138" y="788400"/>
            <a:ext cx="6120000" cy="1980000"/>
          </a:xfrm>
        </p:spPr>
        <p:txBody>
          <a:bodyPr anchor="b"/>
          <a:lstStyle>
            <a:lvl1pPr algn="l">
              <a:defRPr sz="4000" b="1">
                <a:solidFill>
                  <a:schemeClr val="bg1"/>
                </a:solidFill>
              </a:defRPr>
            </a:lvl1pPr>
          </a:lstStyle>
          <a:p>
            <a:r>
              <a:rPr lang="fr-FR" noProof="0" dirty="0"/>
              <a:t>Modifiez le style </a:t>
            </a:r>
            <a:br>
              <a:rPr lang="fr-FR" noProof="0" dirty="0"/>
            </a:br>
            <a:r>
              <a:rPr lang="fr-FR" noProof="0" dirty="0"/>
              <a:t>du titre</a:t>
            </a:r>
          </a:p>
        </p:txBody>
      </p:sp>
      <p:sp>
        <p:nvSpPr>
          <p:cNvPr id="3" name="Sous-titre 2">
            <a:extLst>
              <a:ext uri="{FF2B5EF4-FFF2-40B4-BE49-F238E27FC236}">
                <a16:creationId xmlns:a16="http://schemas.microsoft.com/office/drawing/2014/main" id="{40AEA671-FC71-4FFA-B81F-CABE73D6E490}"/>
              </a:ext>
            </a:extLst>
          </p:cNvPr>
          <p:cNvSpPr>
            <a:spLocks noGrp="1"/>
          </p:cNvSpPr>
          <p:nvPr>
            <p:ph type="subTitle" idx="1"/>
          </p:nvPr>
        </p:nvSpPr>
        <p:spPr>
          <a:xfrm>
            <a:off x="719556" y="3785955"/>
            <a:ext cx="5475216" cy="540000"/>
          </a:xfrm>
        </p:spPr>
        <p:txBody>
          <a:bodyPr anchor="t"/>
          <a:lstStyle>
            <a:lvl1pPr marL="0" indent="0" algn="l">
              <a:buNone/>
              <a:defRPr sz="1400" b="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noProof="0"/>
              <a:t>Modifier le style des sous-titres du masque</a:t>
            </a:r>
            <a:endParaRPr lang="fr-FR" noProof="0" dirty="0"/>
          </a:p>
        </p:txBody>
      </p:sp>
      <p:cxnSp>
        <p:nvCxnSpPr>
          <p:cNvPr id="16" name="Connecteur droit 15">
            <a:extLst>
              <a:ext uri="{FF2B5EF4-FFF2-40B4-BE49-F238E27FC236}">
                <a16:creationId xmlns:a16="http://schemas.microsoft.com/office/drawing/2014/main" id="{0B0C77F6-E4AE-4496-B76D-D2AF8FFF1815}"/>
              </a:ext>
            </a:extLst>
          </p:cNvPr>
          <p:cNvCxnSpPr>
            <a:cxnSpLocks/>
          </p:cNvCxnSpPr>
          <p:nvPr userDrawn="1"/>
        </p:nvCxnSpPr>
        <p:spPr>
          <a:xfrm>
            <a:off x="719138" y="3233737"/>
            <a:ext cx="72151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ZoneTexte 8"/>
          <p:cNvSpPr txBox="1"/>
          <p:nvPr userDrawn="1"/>
        </p:nvSpPr>
        <p:spPr>
          <a:xfrm>
            <a:off x="252000"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s textes</a:t>
            </a:r>
            <a:endParaRPr lang="fr-FR" sz="1200" noProof="0" dirty="0"/>
          </a:p>
        </p:txBody>
      </p:sp>
      <p:sp>
        <p:nvSpPr>
          <p:cNvPr id="11" name="Rectangle 1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pic>
        <p:nvPicPr>
          <p:cNvPr id="17" name="Imag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4543" y="6021827"/>
            <a:ext cx="2705573" cy="371353"/>
          </a:xfrm>
          <a:prstGeom prst="rect">
            <a:avLst/>
          </a:prstGeom>
        </p:spPr>
      </p:pic>
      <p:sp>
        <p:nvSpPr>
          <p:cNvPr id="4" name="ZoneTexte 3"/>
          <p:cNvSpPr txBox="1"/>
          <p:nvPr userDrawn="1"/>
        </p:nvSpPr>
        <p:spPr>
          <a:xfrm>
            <a:off x="3101676" y="6039576"/>
            <a:ext cx="248584" cy="184666"/>
          </a:xfrm>
          <a:prstGeom prst="rect">
            <a:avLst/>
          </a:prstGeom>
          <a:noFill/>
        </p:spPr>
        <p:txBody>
          <a:bodyPr wrap="square" rtlCol="0">
            <a:spAutoFit/>
          </a:bodyPr>
          <a:lstStyle/>
          <a:p>
            <a:r>
              <a:rPr lang="fr-FR" sz="600" b="1" noProof="0" dirty="0">
                <a:solidFill>
                  <a:schemeClr val="tx2"/>
                </a:solidFill>
              </a:rPr>
              <a:t>*</a:t>
            </a:r>
            <a:endParaRPr lang="fr-FR" sz="1050" b="1" noProof="0" dirty="0">
              <a:solidFill>
                <a:schemeClr val="tx2"/>
              </a:solidFill>
            </a:endParaRPr>
          </a:p>
        </p:txBody>
      </p:sp>
      <p:sp>
        <p:nvSpPr>
          <p:cNvPr id="19" name="ZoneTexte 18"/>
          <p:cNvSpPr txBox="1"/>
          <p:nvPr userDrawn="1"/>
        </p:nvSpPr>
        <p:spPr>
          <a:xfrm rot="16200000">
            <a:off x="10855001" y="4732026"/>
            <a:ext cx="1396111" cy="169277"/>
          </a:xfrm>
          <a:prstGeom prst="rect">
            <a:avLst/>
          </a:prstGeom>
          <a:noFill/>
        </p:spPr>
        <p:txBody>
          <a:bodyPr wrap="square" rtlCol="0">
            <a:spAutoFit/>
          </a:bodyPr>
          <a:lstStyle/>
          <a:p>
            <a:r>
              <a:rPr lang="fr-FR" sz="500" b="0" kern="1200" noProof="0" dirty="0">
                <a:solidFill>
                  <a:schemeClr val="tx1"/>
                </a:solidFill>
                <a:effectLst/>
                <a:latin typeface="+mn-lt"/>
                <a:ea typeface="+mn-ea"/>
                <a:cs typeface="+mn-cs"/>
              </a:rPr>
              <a:t>* Le monde est tel que nous le façonnons.</a:t>
            </a:r>
            <a:endParaRPr lang="fr-FR" sz="500" b="0" noProof="0" dirty="0">
              <a:solidFill>
                <a:schemeClr val="tx1"/>
              </a:solidFill>
            </a:endParaRPr>
          </a:p>
        </p:txBody>
      </p:sp>
      <p:pic>
        <p:nvPicPr>
          <p:cNvPr id="12" name="Imag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679180" y="5767514"/>
            <a:ext cx="2990850" cy="744855"/>
          </a:xfrm>
          <a:prstGeom prst="rect">
            <a:avLst/>
          </a:prstGeom>
        </p:spPr>
      </p:pic>
    </p:spTree>
    <p:extLst>
      <p:ext uri="{BB962C8B-B14F-4D97-AF65-F5344CB8AC3E}">
        <p14:creationId xmlns:p14="http://schemas.microsoft.com/office/powerpoint/2010/main" val="24498646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QuatrièmeIntercalaire_Dégradé">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34B7DA-FA75-4149-8676-64791F4D66D2}"/>
              </a:ext>
            </a:extLst>
          </p:cNvPr>
          <p:cNvSpPr>
            <a:spLocks noGrp="1"/>
          </p:cNvSpPr>
          <p:nvPr>
            <p:ph type="title" hasCustomPrompt="1"/>
          </p:nvPr>
        </p:nvSpPr>
        <p:spPr>
          <a:xfrm>
            <a:off x="6618979" y="1116000"/>
            <a:ext cx="2880000" cy="1620000"/>
          </a:xfrm>
        </p:spPr>
        <p:txBody>
          <a:bodyPr anchor="ctr"/>
          <a:lstStyle>
            <a:lvl1pPr>
              <a:defRPr sz="13500" b="1">
                <a:solidFill>
                  <a:srgbClr val="007AC2"/>
                </a:solidFill>
              </a:defRPr>
            </a:lvl1pPr>
          </a:lstStyle>
          <a:p>
            <a:r>
              <a:rPr lang="fr-FR" noProof="0" dirty="0"/>
              <a:t>NN</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6618979" y="2916076"/>
            <a:ext cx="4851661" cy="1800000"/>
          </a:xfrm>
        </p:spPr>
        <p:txBody>
          <a:bodyPr anchor="t"/>
          <a:lstStyle>
            <a:lvl1pPr marL="0" indent="0">
              <a:spcBef>
                <a:spcPts val="0"/>
              </a:spcBef>
              <a:buNone/>
              <a:defRPr sz="3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Modifier les styles du texte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p:txBody>
          <a:bodyPr/>
          <a:lstStyle>
            <a:lvl1pPr>
              <a:defRPr>
                <a:solidFill>
                  <a:schemeClr val="tx1"/>
                </a:solidFill>
              </a:defRPr>
            </a:lvl1pPr>
          </a:lstStyle>
          <a:p>
            <a:fld id="{22AE107B-0014-4735-905E-C90B44EC59D2}" type="datetime1">
              <a:rPr lang="fr-FR" noProof="0" smtClean="0"/>
              <a:t>14/10/2021</a:t>
            </a:fld>
            <a:endParaRPr lang="fr-FR" noProof="0" dirty="0"/>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p:txBody>
          <a:bodyPr/>
          <a:lstStyle>
            <a:lvl1pPr>
              <a:defRPr>
                <a:solidFill>
                  <a:schemeClr val="tx1"/>
                </a:solidFill>
              </a:defRPr>
            </a:lvl1pPr>
          </a:lstStyle>
          <a:p>
            <a:r>
              <a:rPr lang="fr-FR" noProof="0"/>
              <a:t>Initiation à la méthode SAFe</a:t>
            </a:r>
            <a:endParaRPr lang="fr-FR" noProof="0"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lvl1pPr>
              <a:defRPr>
                <a:solidFill>
                  <a:schemeClr val="tx1"/>
                </a:solidFill>
              </a:defRPr>
            </a:lvl1pPr>
          </a:lstStyle>
          <a:p>
            <a:fld id="{975A587B-5814-4D9B-9598-FE9CB954CB01}" type="slidenum">
              <a:rPr lang="fr-FR" noProof="0" smtClean="0"/>
              <a:pPr/>
              <a:t>‹N°›</a:t>
            </a:fld>
            <a:endParaRPr lang="fr-FR" noProof="0" dirty="0"/>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6618979" y="4849847"/>
            <a:ext cx="4851661" cy="288000"/>
          </a:xfrm>
        </p:spPr>
        <p:txBody>
          <a:bodyPr/>
          <a:lstStyle>
            <a:lvl1pPr marL="0" indent="0">
              <a:buNone/>
              <a:defRPr sz="1400" b="0" cap="all" baseline="0">
                <a:solidFill>
                  <a:schemeClr val="tx2"/>
                </a:solidFill>
              </a:defRPr>
            </a:lvl1pPr>
          </a:lstStyle>
          <a:p>
            <a:pPr lvl="0"/>
            <a:r>
              <a:rPr lang="fr-FR" noProof="0" dirty="0"/>
              <a:t>Modifier les styles du texte du masque</a:t>
            </a:r>
          </a:p>
        </p:txBody>
      </p:sp>
      <p:sp>
        <p:nvSpPr>
          <p:cNvPr id="10" name="ZoneTexte 9"/>
          <p:cNvSpPr txBox="1"/>
          <p:nvPr userDrawn="1"/>
        </p:nvSpPr>
        <p:spPr>
          <a:xfrm>
            <a:off x="252000"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 numéro</a:t>
            </a:r>
            <a:endParaRPr lang="fr-FR" sz="1200" noProof="0" dirty="0"/>
          </a:p>
        </p:txBody>
      </p:sp>
      <p:sp>
        <p:nvSpPr>
          <p:cNvPr id="12" name="Rectangle 11"/>
          <p:cNvSpPr/>
          <p:nvPr userDrawn="1"/>
        </p:nvSpPr>
        <p:spPr>
          <a:xfrm>
            <a:off x="0" y="-374907"/>
            <a:ext cx="252000" cy="252000"/>
          </a:xfrm>
          <a:prstGeom prst="rect">
            <a:avLst/>
          </a:prstGeom>
          <a:solidFill>
            <a:srgbClr val="007A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5" name="Rectangle 14"/>
          <p:cNvSpPr/>
          <p:nvPr userDrawn="1"/>
        </p:nvSpPr>
        <p:spPr>
          <a:xfrm>
            <a:off x="0" y="-1"/>
            <a:ext cx="6090168" cy="6120962"/>
          </a:xfrm>
          <a:prstGeom prst="rect">
            <a:avLst/>
          </a:prstGeom>
          <a:gradFill flip="none" rotWithShape="1">
            <a:gsLst>
              <a:gs pos="50000">
                <a:srgbClr val="007AC2"/>
              </a:gs>
              <a:gs pos="100000">
                <a:srgbClr val="32ABD0"/>
              </a:gs>
            </a:gsLst>
            <a:path path="circle">
              <a:fillToRect t="100000" r="100000"/>
            </a:path>
            <a:tileRect l="-100000" b="-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noProof="0" dirty="0">
              <a:solidFill>
                <a:schemeClr val="tx1"/>
              </a:solidFill>
            </a:endParaRPr>
          </a:p>
        </p:txBody>
      </p:sp>
    </p:spTree>
    <p:extLst>
      <p:ext uri="{BB962C8B-B14F-4D97-AF65-F5344CB8AC3E}">
        <p14:creationId xmlns:p14="http://schemas.microsoft.com/office/powerpoint/2010/main" val="5015191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PremierIntercalaire_Photo">
    <p:spTree>
      <p:nvGrpSpPr>
        <p:cNvPr id="1" name=""/>
        <p:cNvGrpSpPr/>
        <p:nvPr/>
      </p:nvGrpSpPr>
      <p:grpSpPr>
        <a:xfrm>
          <a:off x="0" y="0"/>
          <a:ext cx="0" cy="0"/>
          <a:chOff x="0" y="0"/>
          <a:chExt cx="0" cy="0"/>
        </a:xfrm>
      </p:grpSpPr>
      <p:sp>
        <p:nvSpPr>
          <p:cNvPr id="12" name="Espace réservé pour une image  2">
            <a:extLst>
              <a:ext uri="{FF2B5EF4-FFF2-40B4-BE49-F238E27FC236}">
                <a16:creationId xmlns:a16="http://schemas.microsoft.com/office/drawing/2014/main" id="{9855EAE7-49DB-4EDD-97CF-B2992F550A65}"/>
              </a:ext>
            </a:extLst>
          </p:cNvPr>
          <p:cNvSpPr>
            <a:spLocks noGrp="1"/>
          </p:cNvSpPr>
          <p:nvPr>
            <p:ph type="pic" idx="14"/>
          </p:nvPr>
        </p:nvSpPr>
        <p:spPr>
          <a:xfrm>
            <a:off x="0" y="0"/>
            <a:ext cx="6094800" cy="6105600"/>
          </a:xfr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noProof="0"/>
              <a:t>Cliquez sur l'icône pour ajouter une image</a:t>
            </a:r>
            <a:endParaRPr lang="fr-FR" noProof="0" dirty="0"/>
          </a:p>
        </p:txBody>
      </p:sp>
      <p:sp>
        <p:nvSpPr>
          <p:cNvPr id="2" name="Titre 1">
            <a:extLst>
              <a:ext uri="{FF2B5EF4-FFF2-40B4-BE49-F238E27FC236}">
                <a16:creationId xmlns:a16="http://schemas.microsoft.com/office/drawing/2014/main" id="{8934B7DA-FA75-4149-8676-64791F4D66D2}"/>
              </a:ext>
            </a:extLst>
          </p:cNvPr>
          <p:cNvSpPr>
            <a:spLocks noGrp="1"/>
          </p:cNvSpPr>
          <p:nvPr>
            <p:ph type="title" hasCustomPrompt="1"/>
          </p:nvPr>
        </p:nvSpPr>
        <p:spPr>
          <a:xfrm>
            <a:off x="6618979" y="1116000"/>
            <a:ext cx="2880000" cy="1620000"/>
          </a:xfrm>
        </p:spPr>
        <p:txBody>
          <a:bodyPr anchor="ctr"/>
          <a:lstStyle>
            <a:lvl1pPr>
              <a:defRPr sz="13500" b="1">
                <a:solidFill>
                  <a:schemeClr val="tx2"/>
                </a:solidFill>
              </a:defRPr>
            </a:lvl1pPr>
          </a:lstStyle>
          <a:p>
            <a:r>
              <a:rPr lang="fr-FR" noProof="0" dirty="0"/>
              <a:t>NN</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6618979" y="2916076"/>
            <a:ext cx="4851661" cy="1800000"/>
          </a:xfrm>
        </p:spPr>
        <p:txBody>
          <a:bodyPr anchor="t"/>
          <a:lstStyle>
            <a:lvl1pPr marL="0" indent="0">
              <a:spcBef>
                <a:spcPts val="0"/>
              </a:spcBef>
              <a:buNone/>
              <a:defRPr sz="3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Modifier les styles du texte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p:txBody>
          <a:bodyPr/>
          <a:lstStyle>
            <a:lvl1pPr>
              <a:defRPr>
                <a:solidFill>
                  <a:schemeClr val="tx1"/>
                </a:solidFill>
              </a:defRPr>
            </a:lvl1pPr>
          </a:lstStyle>
          <a:p>
            <a:fld id="{D808FCB1-6D07-44F4-9C1C-86F33E919D8F}" type="datetime1">
              <a:rPr lang="fr-FR" noProof="0" smtClean="0"/>
              <a:t>14/10/2021</a:t>
            </a:fld>
            <a:endParaRPr lang="fr-FR" noProof="0" dirty="0"/>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p:txBody>
          <a:bodyPr/>
          <a:lstStyle>
            <a:lvl1pPr>
              <a:defRPr>
                <a:solidFill>
                  <a:schemeClr val="tx1"/>
                </a:solidFill>
              </a:defRPr>
            </a:lvl1pPr>
          </a:lstStyle>
          <a:p>
            <a:r>
              <a:rPr lang="fr-FR" noProof="0"/>
              <a:t>Initiation à la méthode SAFe</a:t>
            </a:r>
            <a:endParaRPr lang="fr-FR" noProof="0"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lvl1pPr>
              <a:defRPr>
                <a:solidFill>
                  <a:schemeClr val="tx1"/>
                </a:solidFill>
              </a:defRPr>
            </a:lvl1pPr>
          </a:lstStyle>
          <a:p>
            <a:fld id="{975A587B-5814-4D9B-9598-FE9CB954CB01}" type="slidenum">
              <a:rPr lang="fr-FR" noProof="0" smtClean="0"/>
              <a:pPr/>
              <a:t>‹N°›</a:t>
            </a:fld>
            <a:endParaRPr lang="fr-FR" noProof="0" dirty="0"/>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6618979" y="4849847"/>
            <a:ext cx="4851661" cy="288000"/>
          </a:xfrm>
        </p:spPr>
        <p:txBody>
          <a:bodyPr/>
          <a:lstStyle>
            <a:lvl1pPr marL="0" indent="0">
              <a:buNone/>
              <a:defRPr sz="1400" b="0" cap="all" baseline="0">
                <a:solidFill>
                  <a:schemeClr val="tx2"/>
                </a:solidFill>
              </a:defRPr>
            </a:lvl1pPr>
          </a:lstStyle>
          <a:p>
            <a:pPr lvl="0"/>
            <a:r>
              <a:rPr lang="fr-FR" noProof="0" dirty="0"/>
              <a:t>Modifier les styles du texte du masque</a:t>
            </a:r>
          </a:p>
        </p:txBody>
      </p:sp>
      <p:sp>
        <p:nvSpPr>
          <p:cNvPr id="26" name="ZoneTexte 25"/>
          <p:cNvSpPr txBox="1"/>
          <p:nvPr userDrawn="1"/>
        </p:nvSpPr>
        <p:spPr>
          <a:xfrm>
            <a:off x="252000"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 numéro</a:t>
            </a:r>
            <a:endParaRPr lang="fr-FR" sz="1200" noProof="0" dirty="0"/>
          </a:p>
        </p:txBody>
      </p:sp>
      <p:sp>
        <p:nvSpPr>
          <p:cNvPr id="27" name="Rectangle 26"/>
          <p:cNvSpPr/>
          <p:nvPr userDrawn="1"/>
        </p:nvSpPr>
        <p:spPr>
          <a:xfrm>
            <a:off x="0" y="-374907"/>
            <a:ext cx="25200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Tree>
    <p:extLst>
      <p:ext uri="{BB962C8B-B14F-4D97-AF65-F5344CB8AC3E}">
        <p14:creationId xmlns:p14="http://schemas.microsoft.com/office/powerpoint/2010/main" val="30855669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Texte">
    <p:spTree>
      <p:nvGrpSpPr>
        <p:cNvPr id="1" name=""/>
        <p:cNvGrpSpPr/>
        <p:nvPr/>
      </p:nvGrpSpPr>
      <p:grpSpPr>
        <a:xfrm>
          <a:off x="0" y="0"/>
          <a:ext cx="0" cy="0"/>
          <a:chOff x="0" y="0"/>
          <a:chExt cx="0" cy="0"/>
        </a:xfrm>
      </p:grpSpPr>
      <p:sp>
        <p:nvSpPr>
          <p:cNvPr id="9" name="Espace réservé du texte 8">
            <a:extLst>
              <a:ext uri="{FF2B5EF4-FFF2-40B4-BE49-F238E27FC236}">
                <a16:creationId xmlns:a16="http://schemas.microsoft.com/office/drawing/2014/main" id="{7BC41F0E-EC30-4D2A-AA16-7B987E32A160}"/>
              </a:ext>
            </a:extLst>
          </p:cNvPr>
          <p:cNvSpPr>
            <a:spLocks noGrp="1"/>
          </p:cNvSpPr>
          <p:nvPr>
            <p:ph type="body" sz="quarter" idx="13"/>
          </p:nvPr>
        </p:nvSpPr>
        <p:spPr>
          <a:xfrm>
            <a:off x="719137" y="1744980"/>
            <a:ext cx="10751504" cy="4389120"/>
          </a:xfrm>
        </p:spPr>
        <p:txBody>
          <a:bodyPr/>
          <a:lstStyle>
            <a:lvl1pPr marL="355600" indent="-355600">
              <a:defRPr>
                <a:solidFill>
                  <a:schemeClr val="tx1"/>
                </a:solidFill>
              </a:defRPr>
            </a:lvl1pPr>
            <a:lvl2pPr marL="630238" indent="-274638">
              <a:defRPr>
                <a:solidFill>
                  <a:schemeClr val="tx1"/>
                </a:solidFill>
              </a:defRPr>
            </a:lvl2pPr>
            <a:lvl3pPr marL="720725" indent="0">
              <a:defRPr>
                <a:solidFill>
                  <a:schemeClr val="tx1"/>
                </a:solidFill>
              </a:defRPr>
            </a:lvl3pPr>
            <a:lvl4pPr marL="893763" indent="0">
              <a:defRPr>
                <a:solidFill>
                  <a:schemeClr val="tx1"/>
                </a:solidFill>
              </a:defRPr>
            </a:lvl4pPr>
            <a:lvl5pPr>
              <a:defRPr>
                <a:solidFill>
                  <a:schemeClr val="tx1"/>
                </a:solidFill>
              </a:defRPr>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p:txBody>
      </p:sp>
      <p:sp>
        <p:nvSpPr>
          <p:cNvPr id="4" name="Espace réservé de la date 3">
            <a:extLst>
              <a:ext uri="{FF2B5EF4-FFF2-40B4-BE49-F238E27FC236}">
                <a16:creationId xmlns:a16="http://schemas.microsoft.com/office/drawing/2014/main" id="{3716C531-2CFB-4E5B-8F66-A15176016CE5}"/>
              </a:ext>
            </a:extLst>
          </p:cNvPr>
          <p:cNvSpPr>
            <a:spLocks noGrp="1"/>
          </p:cNvSpPr>
          <p:nvPr>
            <p:ph type="dt" sz="half" idx="10"/>
          </p:nvPr>
        </p:nvSpPr>
        <p:spPr>
          <a:xfrm>
            <a:off x="4741200" y="6337302"/>
            <a:ext cx="612000" cy="252000"/>
          </a:xfrm>
        </p:spPr>
        <p:txBody>
          <a:bodyPr/>
          <a:lstStyle>
            <a:lvl1pPr>
              <a:defRPr>
                <a:solidFill>
                  <a:schemeClr val="tx1"/>
                </a:solidFill>
              </a:defRPr>
            </a:lvl1pPr>
          </a:lstStyle>
          <a:p>
            <a:fld id="{E741EB34-38E5-4507-8C7D-1836A1D760BB}" type="datetime1">
              <a:rPr lang="fr-FR" noProof="0" smtClean="0"/>
              <a:t>14/10/2021</a:t>
            </a:fld>
            <a:endParaRPr lang="fr-FR" noProof="0" dirty="0"/>
          </a:p>
        </p:txBody>
      </p:sp>
      <p:sp>
        <p:nvSpPr>
          <p:cNvPr id="5" name="Espace réservé du pied de page 4">
            <a:extLst>
              <a:ext uri="{FF2B5EF4-FFF2-40B4-BE49-F238E27FC236}">
                <a16:creationId xmlns:a16="http://schemas.microsoft.com/office/drawing/2014/main" id="{A0EF3019-6813-4BCE-8FD7-8BAD1DDCC6A4}"/>
              </a:ext>
            </a:extLst>
          </p:cNvPr>
          <p:cNvSpPr>
            <a:spLocks noGrp="1"/>
          </p:cNvSpPr>
          <p:nvPr>
            <p:ph type="ftr" sz="quarter" idx="11"/>
          </p:nvPr>
        </p:nvSpPr>
        <p:spPr>
          <a:xfrm>
            <a:off x="1026000" y="6337302"/>
            <a:ext cx="3600000" cy="252000"/>
          </a:xfrm>
        </p:spPr>
        <p:txBody>
          <a:bodyPr/>
          <a:lstStyle>
            <a:lvl1pPr>
              <a:defRPr>
                <a:solidFill>
                  <a:schemeClr val="tx1"/>
                </a:solidFill>
              </a:defRPr>
            </a:lvl1pPr>
          </a:lstStyle>
          <a:p>
            <a:r>
              <a:rPr lang="fr-FR" noProof="0"/>
              <a:t>Initiation à la méthode SAFe</a:t>
            </a:r>
            <a:endParaRPr lang="fr-FR" noProof="0" dirty="0"/>
          </a:p>
        </p:txBody>
      </p:sp>
      <p:sp>
        <p:nvSpPr>
          <p:cNvPr id="6" name="Espace réservé du numéro de diapositive 5">
            <a:extLst>
              <a:ext uri="{FF2B5EF4-FFF2-40B4-BE49-F238E27FC236}">
                <a16:creationId xmlns:a16="http://schemas.microsoft.com/office/drawing/2014/main" id="{083150F9-E599-47C6-B00B-9E9475158114}"/>
              </a:ext>
            </a:extLst>
          </p:cNvPr>
          <p:cNvSpPr>
            <a:spLocks noGrp="1"/>
          </p:cNvSpPr>
          <p:nvPr>
            <p:ph type="sldNum" sz="quarter" idx="12"/>
          </p:nvPr>
        </p:nvSpPr>
        <p:spPr/>
        <p:txBody>
          <a:bodyPr/>
          <a:lstStyle>
            <a:lvl1pPr>
              <a:defRPr>
                <a:solidFill>
                  <a:schemeClr val="tx1"/>
                </a:solidFill>
              </a:defRPr>
            </a:lvl1pPr>
          </a:lstStyle>
          <a:p>
            <a:fld id="{975A587B-5814-4D9B-9598-FE9CB954CB01}" type="slidenum">
              <a:rPr lang="fr-FR" noProof="0" smtClean="0"/>
              <a:pPr/>
              <a:t>‹N°›</a:t>
            </a:fld>
            <a:endParaRPr lang="fr-FR" noProof="0" dirty="0"/>
          </a:p>
        </p:txBody>
      </p:sp>
      <p:sp>
        <p:nvSpPr>
          <p:cNvPr id="8" name="Rectangle 7"/>
          <p:cNvSpPr/>
          <p:nvPr userDrawn="1"/>
        </p:nvSpPr>
        <p:spPr>
          <a:xfrm>
            <a:off x="-1" y="-374907"/>
            <a:ext cx="25200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1" name="ZoneTexte 10"/>
          <p:cNvSpPr txBox="1"/>
          <p:nvPr userDrawn="1"/>
        </p:nvSpPr>
        <p:spPr>
          <a:xfrm>
            <a:off x="545702"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s textes</a:t>
            </a:r>
            <a:endParaRPr lang="fr-FR" sz="1200" noProof="0" dirty="0"/>
          </a:p>
        </p:txBody>
      </p:sp>
      <p:sp>
        <p:nvSpPr>
          <p:cNvPr id="12" name="Rectangle 11"/>
          <p:cNvSpPr/>
          <p:nvPr userDrawn="1"/>
        </p:nvSpPr>
        <p:spPr>
          <a:xfrm>
            <a:off x="293702" y="-374907"/>
            <a:ext cx="252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6" name="Espace réservé du texte 2">
            <a:extLst>
              <a:ext uri="{FF2B5EF4-FFF2-40B4-BE49-F238E27FC236}">
                <a16:creationId xmlns:a16="http://schemas.microsoft.com/office/drawing/2014/main" id="{A3DB4B53-525D-494B-81B7-D3D6DB4A234D}"/>
              </a:ext>
            </a:extLst>
          </p:cNvPr>
          <p:cNvSpPr>
            <a:spLocks noGrp="1"/>
          </p:cNvSpPr>
          <p:nvPr>
            <p:ph type="body" idx="1" hasCustomPrompt="1"/>
          </p:nvPr>
        </p:nvSpPr>
        <p:spPr>
          <a:xfrm>
            <a:off x="719137" y="981120"/>
            <a:ext cx="10751504" cy="360000"/>
          </a:xfrm>
        </p:spPr>
        <p:txBody>
          <a:bodyPr anchor="t"/>
          <a:lstStyle>
            <a:lvl1pPr marL="0" indent="0">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Modifier les styles du texte du masque</a:t>
            </a:r>
          </a:p>
        </p:txBody>
      </p:sp>
      <p:sp>
        <p:nvSpPr>
          <p:cNvPr id="17" name="Titre 6">
            <a:extLst>
              <a:ext uri="{FF2B5EF4-FFF2-40B4-BE49-F238E27FC236}">
                <a16:creationId xmlns:a16="http://schemas.microsoft.com/office/drawing/2014/main" id="{B7A985A6-151F-4CB0-B805-7356FF1FA8E6}"/>
              </a:ext>
            </a:extLst>
          </p:cNvPr>
          <p:cNvSpPr>
            <a:spLocks noGrp="1"/>
          </p:cNvSpPr>
          <p:nvPr>
            <p:ph type="title"/>
          </p:nvPr>
        </p:nvSpPr>
        <p:spPr>
          <a:xfrm>
            <a:off x="719137" y="30480"/>
            <a:ext cx="10751503" cy="936000"/>
          </a:xfrm>
        </p:spPr>
        <p:txBody>
          <a:bodyPr anchor="b"/>
          <a:lstStyle>
            <a:lvl1pPr>
              <a:defRPr baseline="0"/>
            </a:lvl1pPr>
          </a:lstStyle>
          <a:p>
            <a:r>
              <a:rPr lang="fr-FR" noProof="0"/>
              <a:t>Modifiez le style du titre</a:t>
            </a:r>
            <a:endParaRPr lang="fr-FR" noProof="0" dirty="0"/>
          </a:p>
        </p:txBody>
      </p:sp>
    </p:spTree>
    <p:extLst>
      <p:ext uri="{BB962C8B-B14F-4D97-AF65-F5344CB8AC3E}">
        <p14:creationId xmlns:p14="http://schemas.microsoft.com/office/powerpoint/2010/main" val="817015210"/>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exte_DeuxColonnes1">
    <p:spTree>
      <p:nvGrpSpPr>
        <p:cNvPr id="1" name=""/>
        <p:cNvGrpSpPr/>
        <p:nvPr/>
      </p:nvGrpSpPr>
      <p:grpSpPr>
        <a:xfrm>
          <a:off x="0" y="0"/>
          <a:ext cx="0" cy="0"/>
          <a:chOff x="0" y="0"/>
          <a:chExt cx="0" cy="0"/>
        </a:xfrm>
      </p:grpSpPr>
      <p:sp>
        <p:nvSpPr>
          <p:cNvPr id="9" name="Espace réservé du texte 8">
            <a:extLst>
              <a:ext uri="{FF2B5EF4-FFF2-40B4-BE49-F238E27FC236}">
                <a16:creationId xmlns:a16="http://schemas.microsoft.com/office/drawing/2014/main" id="{7BC41F0E-EC30-4D2A-AA16-7B987E32A160}"/>
              </a:ext>
            </a:extLst>
          </p:cNvPr>
          <p:cNvSpPr>
            <a:spLocks noGrp="1"/>
          </p:cNvSpPr>
          <p:nvPr>
            <p:ph type="body" sz="quarter" idx="13"/>
          </p:nvPr>
        </p:nvSpPr>
        <p:spPr>
          <a:xfrm>
            <a:off x="719137" y="1743240"/>
            <a:ext cx="5242392" cy="4383240"/>
          </a:xfrm>
        </p:spPr>
        <p:txBody>
          <a:bodyPr/>
          <a:lstStyle>
            <a:lvl1pPr marL="355600" indent="-355600">
              <a:defRPr/>
            </a:lvl1pPr>
            <a:lvl2pPr marL="630238" indent="-274638">
              <a:defRPr/>
            </a:lvl2pPr>
            <a:lvl3pPr marL="720725" indent="0">
              <a:defRPr/>
            </a:lvl3pPr>
            <a:lvl4pPr marL="893763" indent="0">
              <a:defRPr/>
            </a:lvl4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p:txBody>
      </p:sp>
      <p:sp>
        <p:nvSpPr>
          <p:cNvPr id="4" name="Espace réservé de la date 3">
            <a:extLst>
              <a:ext uri="{FF2B5EF4-FFF2-40B4-BE49-F238E27FC236}">
                <a16:creationId xmlns:a16="http://schemas.microsoft.com/office/drawing/2014/main" id="{3716C531-2CFB-4E5B-8F66-A15176016CE5}"/>
              </a:ext>
            </a:extLst>
          </p:cNvPr>
          <p:cNvSpPr>
            <a:spLocks noGrp="1"/>
          </p:cNvSpPr>
          <p:nvPr>
            <p:ph type="dt" sz="half" idx="10"/>
          </p:nvPr>
        </p:nvSpPr>
        <p:spPr/>
        <p:txBody>
          <a:bodyPr/>
          <a:lstStyle>
            <a:lvl1pPr>
              <a:defRPr>
                <a:solidFill>
                  <a:schemeClr val="tx1"/>
                </a:solidFill>
              </a:defRPr>
            </a:lvl1pPr>
          </a:lstStyle>
          <a:p>
            <a:fld id="{75CDC92D-BF8E-46FC-9BD1-2D4EE74374D6}" type="datetime1">
              <a:rPr lang="fr-FR" noProof="0" smtClean="0"/>
              <a:t>14/10/2021</a:t>
            </a:fld>
            <a:endParaRPr lang="fr-FR" noProof="0" dirty="0"/>
          </a:p>
        </p:txBody>
      </p:sp>
      <p:sp>
        <p:nvSpPr>
          <p:cNvPr id="5" name="Espace réservé du pied de page 4">
            <a:extLst>
              <a:ext uri="{FF2B5EF4-FFF2-40B4-BE49-F238E27FC236}">
                <a16:creationId xmlns:a16="http://schemas.microsoft.com/office/drawing/2014/main" id="{A0EF3019-6813-4BCE-8FD7-8BAD1DDCC6A4}"/>
              </a:ext>
            </a:extLst>
          </p:cNvPr>
          <p:cNvSpPr>
            <a:spLocks noGrp="1"/>
          </p:cNvSpPr>
          <p:nvPr>
            <p:ph type="ftr" sz="quarter" idx="11"/>
          </p:nvPr>
        </p:nvSpPr>
        <p:spPr/>
        <p:txBody>
          <a:bodyPr/>
          <a:lstStyle>
            <a:lvl1pPr>
              <a:defRPr>
                <a:solidFill>
                  <a:schemeClr val="tx1"/>
                </a:solidFill>
              </a:defRPr>
            </a:lvl1pPr>
          </a:lstStyle>
          <a:p>
            <a:r>
              <a:rPr lang="fr-FR" noProof="0"/>
              <a:t>Initiation à la méthode SAFe</a:t>
            </a:r>
            <a:endParaRPr lang="fr-FR" noProof="0" dirty="0"/>
          </a:p>
        </p:txBody>
      </p:sp>
      <p:sp>
        <p:nvSpPr>
          <p:cNvPr id="6" name="Espace réservé du numéro de diapositive 5">
            <a:extLst>
              <a:ext uri="{FF2B5EF4-FFF2-40B4-BE49-F238E27FC236}">
                <a16:creationId xmlns:a16="http://schemas.microsoft.com/office/drawing/2014/main" id="{083150F9-E599-47C6-B00B-9E9475158114}"/>
              </a:ext>
            </a:extLst>
          </p:cNvPr>
          <p:cNvSpPr>
            <a:spLocks noGrp="1"/>
          </p:cNvSpPr>
          <p:nvPr>
            <p:ph type="sldNum" sz="quarter" idx="12"/>
          </p:nvPr>
        </p:nvSpPr>
        <p:spPr/>
        <p:txBody>
          <a:bodyPr/>
          <a:lstStyle>
            <a:lvl1pPr>
              <a:defRPr>
                <a:solidFill>
                  <a:schemeClr val="tx1"/>
                </a:solidFill>
              </a:defRPr>
            </a:lvl1pPr>
          </a:lstStyle>
          <a:p>
            <a:fld id="{975A587B-5814-4D9B-9598-FE9CB954CB01}" type="slidenum">
              <a:rPr lang="fr-FR" noProof="0" smtClean="0"/>
              <a:pPr/>
              <a:t>‹N°›</a:t>
            </a:fld>
            <a:endParaRPr lang="fr-FR" noProof="0" dirty="0"/>
          </a:p>
        </p:txBody>
      </p:sp>
      <p:sp>
        <p:nvSpPr>
          <p:cNvPr id="11" name="Espace réservé du texte 8">
            <a:extLst>
              <a:ext uri="{FF2B5EF4-FFF2-40B4-BE49-F238E27FC236}">
                <a16:creationId xmlns:a16="http://schemas.microsoft.com/office/drawing/2014/main" id="{A56DBCFF-9EF4-4749-B7CA-DBFD50831D20}"/>
              </a:ext>
            </a:extLst>
          </p:cNvPr>
          <p:cNvSpPr>
            <a:spLocks noGrp="1"/>
          </p:cNvSpPr>
          <p:nvPr>
            <p:ph type="body" sz="quarter" idx="14"/>
          </p:nvPr>
        </p:nvSpPr>
        <p:spPr>
          <a:xfrm>
            <a:off x="6210300" y="1743240"/>
            <a:ext cx="5254477" cy="4383240"/>
          </a:xfrm>
        </p:spPr>
        <p:txBody>
          <a:bodyPr/>
          <a:lstStyle>
            <a:lvl1pPr marL="355600" indent="-355600">
              <a:defRPr/>
            </a:lvl1pPr>
            <a:lvl2pPr marL="630238" indent="-274638">
              <a:defRPr/>
            </a:lvl2pPr>
            <a:lvl3pPr marL="720725" indent="0">
              <a:defRPr/>
            </a:lvl3pPr>
            <a:lvl4pPr marL="893763" indent="0">
              <a:defRPr/>
            </a:lvl4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p:txBody>
      </p:sp>
      <p:sp>
        <p:nvSpPr>
          <p:cNvPr id="12" name="Rectangle 11"/>
          <p:cNvSpPr/>
          <p:nvPr userDrawn="1"/>
        </p:nvSpPr>
        <p:spPr>
          <a:xfrm>
            <a:off x="-1" y="-374907"/>
            <a:ext cx="25200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3" name="ZoneTexte 12"/>
          <p:cNvSpPr txBox="1"/>
          <p:nvPr userDrawn="1"/>
        </p:nvSpPr>
        <p:spPr>
          <a:xfrm>
            <a:off x="545702"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s textes</a:t>
            </a:r>
            <a:endParaRPr lang="fr-FR" sz="1200" noProof="0" dirty="0"/>
          </a:p>
        </p:txBody>
      </p:sp>
      <p:sp>
        <p:nvSpPr>
          <p:cNvPr id="14" name="Rectangle 13"/>
          <p:cNvSpPr/>
          <p:nvPr userDrawn="1"/>
        </p:nvSpPr>
        <p:spPr>
          <a:xfrm>
            <a:off x="293702" y="-374907"/>
            <a:ext cx="252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22" name="Espace réservé du texte 2">
            <a:extLst>
              <a:ext uri="{FF2B5EF4-FFF2-40B4-BE49-F238E27FC236}">
                <a16:creationId xmlns:a16="http://schemas.microsoft.com/office/drawing/2014/main" id="{A3DB4B53-525D-494B-81B7-D3D6DB4A234D}"/>
              </a:ext>
            </a:extLst>
          </p:cNvPr>
          <p:cNvSpPr>
            <a:spLocks noGrp="1"/>
          </p:cNvSpPr>
          <p:nvPr>
            <p:ph type="body" idx="1" hasCustomPrompt="1"/>
          </p:nvPr>
        </p:nvSpPr>
        <p:spPr>
          <a:xfrm>
            <a:off x="719137" y="981120"/>
            <a:ext cx="10751504" cy="360000"/>
          </a:xfrm>
        </p:spPr>
        <p:txBody>
          <a:bodyPr anchor="t"/>
          <a:lstStyle>
            <a:lvl1pPr marL="0" indent="0">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Modifier les styles du texte du masque</a:t>
            </a:r>
          </a:p>
        </p:txBody>
      </p:sp>
      <p:sp>
        <p:nvSpPr>
          <p:cNvPr id="23" name="Titre 6">
            <a:extLst>
              <a:ext uri="{FF2B5EF4-FFF2-40B4-BE49-F238E27FC236}">
                <a16:creationId xmlns:a16="http://schemas.microsoft.com/office/drawing/2014/main" id="{B7A985A6-151F-4CB0-B805-7356FF1FA8E6}"/>
              </a:ext>
            </a:extLst>
          </p:cNvPr>
          <p:cNvSpPr>
            <a:spLocks noGrp="1"/>
          </p:cNvSpPr>
          <p:nvPr>
            <p:ph type="title"/>
          </p:nvPr>
        </p:nvSpPr>
        <p:spPr>
          <a:xfrm>
            <a:off x="719137" y="30480"/>
            <a:ext cx="10751503" cy="936000"/>
          </a:xfrm>
        </p:spPr>
        <p:txBody>
          <a:bodyPr anchor="b"/>
          <a:lstStyle>
            <a:lvl1pPr>
              <a:defRPr baseline="0"/>
            </a:lvl1pPr>
          </a:lstStyle>
          <a:p>
            <a:r>
              <a:rPr lang="fr-FR" noProof="0"/>
              <a:t>Modifiez le style du titre</a:t>
            </a:r>
            <a:endParaRPr lang="fr-FR" noProof="0" dirty="0"/>
          </a:p>
        </p:txBody>
      </p:sp>
    </p:spTree>
    <p:extLst>
      <p:ext uri="{BB962C8B-B14F-4D97-AF65-F5344CB8AC3E}">
        <p14:creationId xmlns:p14="http://schemas.microsoft.com/office/powerpoint/2010/main" val="17103063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exte_DeuxColonnes2">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3716C531-2CFB-4E5B-8F66-A15176016CE5}"/>
              </a:ext>
            </a:extLst>
          </p:cNvPr>
          <p:cNvSpPr>
            <a:spLocks noGrp="1"/>
          </p:cNvSpPr>
          <p:nvPr>
            <p:ph type="dt" sz="half" idx="10"/>
          </p:nvPr>
        </p:nvSpPr>
        <p:spPr>
          <a:xfrm>
            <a:off x="4741200" y="6337302"/>
            <a:ext cx="612000" cy="252000"/>
          </a:xfrm>
        </p:spPr>
        <p:txBody>
          <a:bodyPr/>
          <a:lstStyle>
            <a:lvl1pPr>
              <a:defRPr>
                <a:solidFill>
                  <a:schemeClr val="tx1"/>
                </a:solidFill>
              </a:defRPr>
            </a:lvl1pPr>
          </a:lstStyle>
          <a:p>
            <a:fld id="{C44CDED4-5947-45AD-9E3D-15E9F464A565}" type="datetime1">
              <a:rPr lang="fr-FR" noProof="0" smtClean="0"/>
              <a:t>14/10/2021</a:t>
            </a:fld>
            <a:endParaRPr lang="fr-FR" noProof="0" dirty="0"/>
          </a:p>
        </p:txBody>
      </p:sp>
      <p:sp>
        <p:nvSpPr>
          <p:cNvPr id="5" name="Espace réservé du pied de page 4">
            <a:extLst>
              <a:ext uri="{FF2B5EF4-FFF2-40B4-BE49-F238E27FC236}">
                <a16:creationId xmlns:a16="http://schemas.microsoft.com/office/drawing/2014/main" id="{A0EF3019-6813-4BCE-8FD7-8BAD1DDCC6A4}"/>
              </a:ext>
            </a:extLst>
          </p:cNvPr>
          <p:cNvSpPr>
            <a:spLocks noGrp="1"/>
          </p:cNvSpPr>
          <p:nvPr>
            <p:ph type="ftr" sz="quarter" idx="11"/>
          </p:nvPr>
        </p:nvSpPr>
        <p:spPr>
          <a:xfrm>
            <a:off x="1026000" y="6337302"/>
            <a:ext cx="3600000" cy="252000"/>
          </a:xfrm>
        </p:spPr>
        <p:txBody>
          <a:bodyPr/>
          <a:lstStyle>
            <a:lvl1pPr>
              <a:defRPr>
                <a:solidFill>
                  <a:schemeClr val="tx1"/>
                </a:solidFill>
              </a:defRPr>
            </a:lvl1pPr>
          </a:lstStyle>
          <a:p>
            <a:r>
              <a:rPr lang="fr-FR" noProof="0"/>
              <a:t>Initiation à la méthode SAFe</a:t>
            </a:r>
            <a:endParaRPr lang="fr-FR" noProof="0" dirty="0"/>
          </a:p>
        </p:txBody>
      </p:sp>
      <p:sp>
        <p:nvSpPr>
          <p:cNvPr id="6" name="Espace réservé du numéro de diapositive 5">
            <a:extLst>
              <a:ext uri="{FF2B5EF4-FFF2-40B4-BE49-F238E27FC236}">
                <a16:creationId xmlns:a16="http://schemas.microsoft.com/office/drawing/2014/main" id="{083150F9-E599-47C6-B00B-9E9475158114}"/>
              </a:ext>
            </a:extLst>
          </p:cNvPr>
          <p:cNvSpPr>
            <a:spLocks noGrp="1"/>
          </p:cNvSpPr>
          <p:nvPr>
            <p:ph type="sldNum" sz="quarter" idx="12"/>
          </p:nvPr>
        </p:nvSpPr>
        <p:spPr/>
        <p:txBody>
          <a:bodyPr/>
          <a:lstStyle>
            <a:lvl1pPr>
              <a:defRPr>
                <a:solidFill>
                  <a:schemeClr val="tx1"/>
                </a:solidFill>
              </a:defRPr>
            </a:lvl1pPr>
          </a:lstStyle>
          <a:p>
            <a:fld id="{975A587B-5814-4D9B-9598-FE9CB954CB01}" type="slidenum">
              <a:rPr lang="fr-FR" noProof="0" smtClean="0"/>
              <a:pPr/>
              <a:t>‹N°›</a:t>
            </a:fld>
            <a:endParaRPr lang="fr-FR" noProof="0" dirty="0"/>
          </a:p>
        </p:txBody>
      </p:sp>
      <p:sp>
        <p:nvSpPr>
          <p:cNvPr id="8" name="Rectangle 7"/>
          <p:cNvSpPr/>
          <p:nvPr userDrawn="1"/>
        </p:nvSpPr>
        <p:spPr>
          <a:xfrm>
            <a:off x="-1" y="-374907"/>
            <a:ext cx="25200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1" name="ZoneTexte 10"/>
          <p:cNvSpPr txBox="1"/>
          <p:nvPr userDrawn="1"/>
        </p:nvSpPr>
        <p:spPr>
          <a:xfrm>
            <a:off x="545702"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s textes</a:t>
            </a:r>
            <a:endParaRPr lang="fr-FR" sz="1200" noProof="0" dirty="0"/>
          </a:p>
        </p:txBody>
      </p:sp>
      <p:sp>
        <p:nvSpPr>
          <p:cNvPr id="12" name="Rectangle 11"/>
          <p:cNvSpPr/>
          <p:nvPr userDrawn="1"/>
        </p:nvSpPr>
        <p:spPr>
          <a:xfrm>
            <a:off x="293702" y="-374907"/>
            <a:ext cx="252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5" name="Espace réservé du texte 8">
            <a:extLst>
              <a:ext uri="{FF2B5EF4-FFF2-40B4-BE49-F238E27FC236}">
                <a16:creationId xmlns:a16="http://schemas.microsoft.com/office/drawing/2014/main" id="{7BC41F0E-EC30-4D2A-AA16-7B987E32A160}"/>
              </a:ext>
            </a:extLst>
          </p:cNvPr>
          <p:cNvSpPr>
            <a:spLocks noGrp="1"/>
          </p:cNvSpPr>
          <p:nvPr>
            <p:ph type="body" sz="quarter" idx="14"/>
          </p:nvPr>
        </p:nvSpPr>
        <p:spPr>
          <a:xfrm>
            <a:off x="719137" y="1744980"/>
            <a:ext cx="10751504" cy="4389120"/>
          </a:xfrm>
        </p:spPr>
        <p:txBody>
          <a:bodyPr numCol="2" spcCol="216000"/>
          <a:lstStyle>
            <a:lvl1pPr marL="355600" indent="-355600">
              <a:defRPr>
                <a:solidFill>
                  <a:schemeClr val="tx1"/>
                </a:solidFill>
              </a:defRPr>
            </a:lvl1pPr>
            <a:lvl2pPr marL="630238" indent="-274638">
              <a:defRPr>
                <a:solidFill>
                  <a:schemeClr val="tx1"/>
                </a:solidFill>
              </a:defRPr>
            </a:lvl2pPr>
            <a:lvl3pPr marL="720725" indent="0">
              <a:defRPr>
                <a:solidFill>
                  <a:schemeClr val="tx1"/>
                </a:solidFill>
              </a:defRPr>
            </a:lvl3pPr>
            <a:lvl4pPr marL="893763" indent="0">
              <a:defRPr>
                <a:solidFill>
                  <a:schemeClr val="tx1"/>
                </a:solidFill>
              </a:defRPr>
            </a:lvl4pPr>
            <a:lvl5pPr>
              <a:defRPr>
                <a:solidFill>
                  <a:schemeClr val="tx1"/>
                </a:solidFill>
              </a:defRPr>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p:txBody>
      </p:sp>
      <p:sp>
        <p:nvSpPr>
          <p:cNvPr id="16" name="Espace réservé du texte 2">
            <a:extLst>
              <a:ext uri="{FF2B5EF4-FFF2-40B4-BE49-F238E27FC236}">
                <a16:creationId xmlns:a16="http://schemas.microsoft.com/office/drawing/2014/main" id="{A3DB4B53-525D-494B-81B7-D3D6DB4A234D}"/>
              </a:ext>
            </a:extLst>
          </p:cNvPr>
          <p:cNvSpPr>
            <a:spLocks noGrp="1"/>
          </p:cNvSpPr>
          <p:nvPr>
            <p:ph type="body" idx="1" hasCustomPrompt="1"/>
          </p:nvPr>
        </p:nvSpPr>
        <p:spPr>
          <a:xfrm>
            <a:off x="719137" y="981120"/>
            <a:ext cx="10751504" cy="360000"/>
          </a:xfrm>
        </p:spPr>
        <p:txBody>
          <a:bodyPr anchor="t"/>
          <a:lstStyle>
            <a:lvl1pPr marL="0" indent="0">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Modifier les styles du texte du masque</a:t>
            </a:r>
          </a:p>
        </p:txBody>
      </p:sp>
      <p:sp>
        <p:nvSpPr>
          <p:cNvPr id="17" name="Titre 6">
            <a:extLst>
              <a:ext uri="{FF2B5EF4-FFF2-40B4-BE49-F238E27FC236}">
                <a16:creationId xmlns:a16="http://schemas.microsoft.com/office/drawing/2014/main" id="{B7A985A6-151F-4CB0-B805-7356FF1FA8E6}"/>
              </a:ext>
            </a:extLst>
          </p:cNvPr>
          <p:cNvSpPr>
            <a:spLocks noGrp="1"/>
          </p:cNvSpPr>
          <p:nvPr>
            <p:ph type="title"/>
          </p:nvPr>
        </p:nvSpPr>
        <p:spPr>
          <a:xfrm>
            <a:off x="719137" y="30480"/>
            <a:ext cx="10751503" cy="936000"/>
          </a:xfrm>
        </p:spPr>
        <p:txBody>
          <a:bodyPr anchor="b"/>
          <a:lstStyle>
            <a:lvl1pPr>
              <a:defRPr baseline="0"/>
            </a:lvl1pPr>
          </a:lstStyle>
          <a:p>
            <a:r>
              <a:rPr lang="fr-FR" noProof="0"/>
              <a:t>Modifiez le style du titre</a:t>
            </a:r>
            <a:endParaRPr lang="fr-FR" noProof="0" dirty="0"/>
          </a:p>
        </p:txBody>
      </p:sp>
    </p:spTree>
    <p:extLst>
      <p:ext uri="{BB962C8B-B14F-4D97-AF65-F5344CB8AC3E}">
        <p14:creationId xmlns:p14="http://schemas.microsoft.com/office/powerpoint/2010/main" val="1378838434"/>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exte_&amp;MiseEnAvant">
    <p:spTree>
      <p:nvGrpSpPr>
        <p:cNvPr id="1" name=""/>
        <p:cNvGrpSpPr/>
        <p:nvPr/>
      </p:nvGrpSpPr>
      <p:grpSpPr>
        <a:xfrm>
          <a:off x="0" y="0"/>
          <a:ext cx="0" cy="0"/>
          <a:chOff x="0" y="0"/>
          <a:chExt cx="0" cy="0"/>
        </a:xfrm>
      </p:grpSpPr>
      <p:sp>
        <p:nvSpPr>
          <p:cNvPr id="9" name="Espace réservé du texte 8">
            <a:extLst>
              <a:ext uri="{FF2B5EF4-FFF2-40B4-BE49-F238E27FC236}">
                <a16:creationId xmlns:a16="http://schemas.microsoft.com/office/drawing/2014/main" id="{7BC41F0E-EC30-4D2A-AA16-7B987E32A160}"/>
              </a:ext>
            </a:extLst>
          </p:cNvPr>
          <p:cNvSpPr>
            <a:spLocks noGrp="1"/>
          </p:cNvSpPr>
          <p:nvPr>
            <p:ph type="body" sz="quarter" idx="13"/>
          </p:nvPr>
        </p:nvSpPr>
        <p:spPr>
          <a:xfrm>
            <a:off x="719136" y="1744980"/>
            <a:ext cx="6142725" cy="4389120"/>
          </a:xfrm>
        </p:spPr>
        <p:txBody>
          <a:bodyPr/>
          <a:lstStyle>
            <a:lvl1pPr marL="355600" indent="-355600">
              <a:defRPr/>
            </a:lvl1pPr>
            <a:lvl2pPr marL="630238" indent="-274638">
              <a:defRPr/>
            </a:lvl2pPr>
            <a:lvl3pPr marL="720725" indent="0">
              <a:defRPr/>
            </a:lvl3pPr>
            <a:lvl4pPr marL="893763" indent="0">
              <a:defRPr/>
            </a:lvl4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p:txBody>
      </p:sp>
      <p:sp>
        <p:nvSpPr>
          <p:cNvPr id="4" name="Espace réservé de la date 3">
            <a:extLst>
              <a:ext uri="{FF2B5EF4-FFF2-40B4-BE49-F238E27FC236}">
                <a16:creationId xmlns:a16="http://schemas.microsoft.com/office/drawing/2014/main" id="{3716C531-2CFB-4E5B-8F66-A15176016CE5}"/>
              </a:ext>
            </a:extLst>
          </p:cNvPr>
          <p:cNvSpPr>
            <a:spLocks noGrp="1"/>
          </p:cNvSpPr>
          <p:nvPr>
            <p:ph type="dt" sz="half" idx="10"/>
          </p:nvPr>
        </p:nvSpPr>
        <p:spPr/>
        <p:txBody>
          <a:bodyPr/>
          <a:lstStyle>
            <a:lvl1pPr>
              <a:defRPr>
                <a:solidFill>
                  <a:schemeClr val="tx1"/>
                </a:solidFill>
              </a:defRPr>
            </a:lvl1pPr>
          </a:lstStyle>
          <a:p>
            <a:fld id="{A6820DDF-2850-4EDC-A1A7-977831AEB324}" type="datetime1">
              <a:rPr lang="fr-FR" noProof="0" smtClean="0"/>
              <a:t>14/10/2021</a:t>
            </a:fld>
            <a:endParaRPr lang="fr-FR" noProof="0" dirty="0"/>
          </a:p>
        </p:txBody>
      </p:sp>
      <p:sp>
        <p:nvSpPr>
          <p:cNvPr id="5" name="Espace réservé du pied de page 4">
            <a:extLst>
              <a:ext uri="{FF2B5EF4-FFF2-40B4-BE49-F238E27FC236}">
                <a16:creationId xmlns:a16="http://schemas.microsoft.com/office/drawing/2014/main" id="{A0EF3019-6813-4BCE-8FD7-8BAD1DDCC6A4}"/>
              </a:ext>
            </a:extLst>
          </p:cNvPr>
          <p:cNvSpPr>
            <a:spLocks noGrp="1"/>
          </p:cNvSpPr>
          <p:nvPr>
            <p:ph type="ftr" sz="quarter" idx="11"/>
          </p:nvPr>
        </p:nvSpPr>
        <p:spPr/>
        <p:txBody>
          <a:bodyPr/>
          <a:lstStyle>
            <a:lvl1pPr>
              <a:defRPr>
                <a:solidFill>
                  <a:schemeClr val="tx1"/>
                </a:solidFill>
              </a:defRPr>
            </a:lvl1pPr>
          </a:lstStyle>
          <a:p>
            <a:r>
              <a:rPr lang="fr-FR" noProof="0"/>
              <a:t>Initiation à la méthode SAFe</a:t>
            </a:r>
            <a:endParaRPr lang="fr-FR" noProof="0" dirty="0"/>
          </a:p>
        </p:txBody>
      </p:sp>
      <p:sp>
        <p:nvSpPr>
          <p:cNvPr id="6" name="Espace réservé du numéro de diapositive 5">
            <a:extLst>
              <a:ext uri="{FF2B5EF4-FFF2-40B4-BE49-F238E27FC236}">
                <a16:creationId xmlns:a16="http://schemas.microsoft.com/office/drawing/2014/main" id="{083150F9-E599-47C6-B00B-9E9475158114}"/>
              </a:ext>
            </a:extLst>
          </p:cNvPr>
          <p:cNvSpPr>
            <a:spLocks noGrp="1"/>
          </p:cNvSpPr>
          <p:nvPr>
            <p:ph type="sldNum" sz="quarter" idx="12"/>
          </p:nvPr>
        </p:nvSpPr>
        <p:spPr/>
        <p:txBody>
          <a:bodyPr/>
          <a:lstStyle>
            <a:lvl1pPr>
              <a:defRPr>
                <a:solidFill>
                  <a:schemeClr val="tx1"/>
                </a:solidFill>
              </a:defRPr>
            </a:lvl1pPr>
          </a:lstStyle>
          <a:p>
            <a:fld id="{975A587B-5814-4D9B-9598-FE9CB954CB01}" type="slidenum">
              <a:rPr lang="fr-FR" noProof="0" smtClean="0"/>
              <a:pPr/>
              <a:t>‹N°›</a:t>
            </a:fld>
            <a:endParaRPr lang="fr-FR" noProof="0" dirty="0"/>
          </a:p>
        </p:txBody>
      </p:sp>
      <p:sp>
        <p:nvSpPr>
          <p:cNvPr id="12" name="Espace réservé du texte 8">
            <a:extLst>
              <a:ext uri="{FF2B5EF4-FFF2-40B4-BE49-F238E27FC236}">
                <a16:creationId xmlns:a16="http://schemas.microsoft.com/office/drawing/2014/main" id="{A56DBCFF-9EF4-4749-B7CA-DBFD50831D20}"/>
              </a:ext>
            </a:extLst>
          </p:cNvPr>
          <p:cNvSpPr>
            <a:spLocks noGrp="1"/>
          </p:cNvSpPr>
          <p:nvPr>
            <p:ph type="body" sz="quarter" idx="14"/>
          </p:nvPr>
        </p:nvSpPr>
        <p:spPr>
          <a:xfrm>
            <a:off x="7101840" y="1746300"/>
            <a:ext cx="4372560" cy="4387800"/>
          </a:xfrm>
          <a:solidFill>
            <a:schemeClr val="tx2"/>
          </a:solidFill>
        </p:spPr>
        <p:txBody>
          <a:bodyPr lIns="360000" tIns="252000" rIns="360000" bIns="252000"/>
          <a:lstStyle>
            <a:lvl1pPr marL="355600" indent="-355600">
              <a:buClr>
                <a:schemeClr val="bg1"/>
              </a:buClr>
              <a:buFontTx/>
              <a:buBlip>
                <a:blip r:embed="rId2"/>
              </a:buBlip>
              <a:defRPr>
                <a:solidFill>
                  <a:schemeClr val="bg1"/>
                </a:solidFill>
              </a:defRPr>
            </a:lvl1pPr>
            <a:lvl2pPr marL="630238" indent="-274638">
              <a:buClr>
                <a:schemeClr val="bg1"/>
              </a:buClr>
              <a:buFontTx/>
              <a:buBlip>
                <a:blip r:embed="rId3"/>
              </a:buBlip>
              <a:defRPr>
                <a:solidFill>
                  <a:schemeClr val="bg1"/>
                </a:solidFill>
              </a:defRPr>
            </a:lvl2pPr>
            <a:lvl3pPr marL="720725" indent="0">
              <a:defRPr>
                <a:solidFill>
                  <a:schemeClr val="bg1"/>
                </a:solidFill>
              </a:defRPr>
            </a:lvl3pPr>
            <a:lvl4pPr marL="893763" indent="0">
              <a:defRPr>
                <a:solidFill>
                  <a:schemeClr val="bg1"/>
                </a:solidFill>
              </a:defRPr>
            </a:lvl4pPr>
            <a:lvl5pPr>
              <a:defRPr>
                <a:solidFill>
                  <a:schemeClr val="bg1"/>
                </a:solidFill>
              </a:defRPr>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p:txBody>
      </p:sp>
      <p:sp>
        <p:nvSpPr>
          <p:cNvPr id="11" name="Rectangle 10"/>
          <p:cNvSpPr/>
          <p:nvPr userDrawn="1"/>
        </p:nvSpPr>
        <p:spPr>
          <a:xfrm>
            <a:off x="-1" y="-374907"/>
            <a:ext cx="25200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3" name="ZoneTexte 12"/>
          <p:cNvSpPr txBox="1"/>
          <p:nvPr userDrawn="1"/>
        </p:nvSpPr>
        <p:spPr>
          <a:xfrm>
            <a:off x="545702"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s textes</a:t>
            </a:r>
            <a:endParaRPr lang="fr-FR" sz="1200" noProof="0" dirty="0"/>
          </a:p>
        </p:txBody>
      </p:sp>
      <p:sp>
        <p:nvSpPr>
          <p:cNvPr id="14" name="Rectangle 13"/>
          <p:cNvSpPr/>
          <p:nvPr userDrawn="1"/>
        </p:nvSpPr>
        <p:spPr>
          <a:xfrm>
            <a:off x="293702" y="-374907"/>
            <a:ext cx="252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8" name="Espace réservé du texte 2">
            <a:extLst>
              <a:ext uri="{FF2B5EF4-FFF2-40B4-BE49-F238E27FC236}">
                <a16:creationId xmlns:a16="http://schemas.microsoft.com/office/drawing/2014/main" id="{A3DB4B53-525D-494B-81B7-D3D6DB4A234D}"/>
              </a:ext>
            </a:extLst>
          </p:cNvPr>
          <p:cNvSpPr>
            <a:spLocks noGrp="1"/>
          </p:cNvSpPr>
          <p:nvPr>
            <p:ph type="body" idx="1" hasCustomPrompt="1"/>
          </p:nvPr>
        </p:nvSpPr>
        <p:spPr>
          <a:xfrm>
            <a:off x="719137" y="981120"/>
            <a:ext cx="10751504" cy="360000"/>
          </a:xfrm>
        </p:spPr>
        <p:txBody>
          <a:bodyPr anchor="t"/>
          <a:lstStyle>
            <a:lvl1pPr marL="0" indent="0">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Modifier les styles du texte du masque</a:t>
            </a:r>
          </a:p>
        </p:txBody>
      </p:sp>
      <p:sp>
        <p:nvSpPr>
          <p:cNvPr id="19" name="Titre 6">
            <a:extLst>
              <a:ext uri="{FF2B5EF4-FFF2-40B4-BE49-F238E27FC236}">
                <a16:creationId xmlns:a16="http://schemas.microsoft.com/office/drawing/2014/main" id="{B7A985A6-151F-4CB0-B805-7356FF1FA8E6}"/>
              </a:ext>
            </a:extLst>
          </p:cNvPr>
          <p:cNvSpPr>
            <a:spLocks noGrp="1"/>
          </p:cNvSpPr>
          <p:nvPr>
            <p:ph type="title"/>
          </p:nvPr>
        </p:nvSpPr>
        <p:spPr>
          <a:xfrm>
            <a:off x="719137" y="30480"/>
            <a:ext cx="10751503" cy="936000"/>
          </a:xfrm>
        </p:spPr>
        <p:txBody>
          <a:bodyPr anchor="b"/>
          <a:lstStyle>
            <a:lvl1pPr>
              <a:defRPr baseline="0"/>
            </a:lvl1pPr>
          </a:lstStyle>
          <a:p>
            <a:r>
              <a:rPr lang="fr-FR" noProof="0"/>
              <a:t>Modifiez le style du titre</a:t>
            </a:r>
            <a:endParaRPr lang="fr-FR" noProof="0" dirty="0"/>
          </a:p>
        </p:txBody>
      </p:sp>
    </p:spTree>
    <p:extLst>
      <p:ext uri="{BB962C8B-B14F-4D97-AF65-F5344CB8AC3E}">
        <p14:creationId xmlns:p14="http://schemas.microsoft.com/office/powerpoint/2010/main" val="20179049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Texte_&amp;Pictos">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3716C531-2CFB-4E5B-8F66-A15176016CE5}"/>
              </a:ext>
            </a:extLst>
          </p:cNvPr>
          <p:cNvSpPr>
            <a:spLocks noGrp="1"/>
          </p:cNvSpPr>
          <p:nvPr>
            <p:ph type="dt" sz="half" idx="10"/>
          </p:nvPr>
        </p:nvSpPr>
        <p:spPr/>
        <p:txBody>
          <a:bodyPr/>
          <a:lstStyle>
            <a:lvl1pPr>
              <a:defRPr>
                <a:solidFill>
                  <a:schemeClr val="tx1"/>
                </a:solidFill>
              </a:defRPr>
            </a:lvl1pPr>
          </a:lstStyle>
          <a:p>
            <a:fld id="{CDAF333A-4EB9-4BEF-9C07-9B00A7A5F105}" type="datetime1">
              <a:rPr lang="fr-FR" noProof="0" smtClean="0"/>
              <a:t>14/10/2021</a:t>
            </a:fld>
            <a:endParaRPr lang="fr-FR" noProof="0" dirty="0"/>
          </a:p>
        </p:txBody>
      </p:sp>
      <p:sp>
        <p:nvSpPr>
          <p:cNvPr id="5" name="Espace réservé du pied de page 4">
            <a:extLst>
              <a:ext uri="{FF2B5EF4-FFF2-40B4-BE49-F238E27FC236}">
                <a16:creationId xmlns:a16="http://schemas.microsoft.com/office/drawing/2014/main" id="{A0EF3019-6813-4BCE-8FD7-8BAD1DDCC6A4}"/>
              </a:ext>
            </a:extLst>
          </p:cNvPr>
          <p:cNvSpPr>
            <a:spLocks noGrp="1"/>
          </p:cNvSpPr>
          <p:nvPr>
            <p:ph type="ftr" sz="quarter" idx="11"/>
          </p:nvPr>
        </p:nvSpPr>
        <p:spPr/>
        <p:txBody>
          <a:bodyPr/>
          <a:lstStyle>
            <a:lvl1pPr>
              <a:defRPr>
                <a:solidFill>
                  <a:schemeClr val="tx1"/>
                </a:solidFill>
              </a:defRPr>
            </a:lvl1pPr>
          </a:lstStyle>
          <a:p>
            <a:r>
              <a:rPr lang="fr-FR" noProof="0"/>
              <a:t>Initiation à la méthode SAFe</a:t>
            </a:r>
            <a:endParaRPr lang="fr-FR" noProof="0" dirty="0"/>
          </a:p>
        </p:txBody>
      </p:sp>
      <p:sp>
        <p:nvSpPr>
          <p:cNvPr id="6" name="Espace réservé du numéro de diapositive 5">
            <a:extLst>
              <a:ext uri="{FF2B5EF4-FFF2-40B4-BE49-F238E27FC236}">
                <a16:creationId xmlns:a16="http://schemas.microsoft.com/office/drawing/2014/main" id="{083150F9-E599-47C6-B00B-9E9475158114}"/>
              </a:ext>
            </a:extLst>
          </p:cNvPr>
          <p:cNvSpPr>
            <a:spLocks noGrp="1"/>
          </p:cNvSpPr>
          <p:nvPr>
            <p:ph type="sldNum" sz="quarter" idx="12"/>
          </p:nvPr>
        </p:nvSpPr>
        <p:spPr/>
        <p:txBody>
          <a:bodyPr/>
          <a:lstStyle>
            <a:lvl1pPr>
              <a:defRPr>
                <a:solidFill>
                  <a:schemeClr val="tx1"/>
                </a:solidFill>
              </a:defRPr>
            </a:lvl1pPr>
          </a:lstStyle>
          <a:p>
            <a:fld id="{975A587B-5814-4D9B-9598-FE9CB954CB01}" type="slidenum">
              <a:rPr lang="fr-FR" noProof="0" smtClean="0"/>
              <a:pPr/>
              <a:t>‹N°›</a:t>
            </a:fld>
            <a:endParaRPr lang="fr-FR" noProof="0" dirty="0"/>
          </a:p>
        </p:txBody>
      </p:sp>
      <p:sp>
        <p:nvSpPr>
          <p:cNvPr id="22" name="Espace réservé du texte 8">
            <a:extLst>
              <a:ext uri="{FF2B5EF4-FFF2-40B4-BE49-F238E27FC236}">
                <a16:creationId xmlns:a16="http://schemas.microsoft.com/office/drawing/2014/main" id="{882DE451-41D6-4E24-AF82-4D199C1930A8}"/>
              </a:ext>
            </a:extLst>
          </p:cNvPr>
          <p:cNvSpPr>
            <a:spLocks noGrp="1"/>
          </p:cNvSpPr>
          <p:nvPr>
            <p:ph type="body" sz="quarter" idx="14" hasCustomPrompt="1"/>
          </p:nvPr>
        </p:nvSpPr>
        <p:spPr>
          <a:xfrm>
            <a:off x="8166948" y="4286440"/>
            <a:ext cx="1440000" cy="540000"/>
          </a:xfrm>
        </p:spPr>
        <p:txBody>
          <a:bodyPr/>
          <a:lstStyle>
            <a:lvl1pPr marL="0" indent="0" algn="ctr">
              <a:spcBef>
                <a:spcPts val="0"/>
              </a:spcBef>
              <a:buNone/>
              <a:defRPr sz="1100" b="0"/>
            </a:lvl1pPr>
          </a:lstStyle>
          <a:p>
            <a:pPr lvl="0"/>
            <a:r>
              <a:rPr lang="fr-FR" noProof="0" dirty="0"/>
              <a:t>Modifier les styles du texte du masque</a:t>
            </a:r>
          </a:p>
        </p:txBody>
      </p:sp>
      <p:sp>
        <p:nvSpPr>
          <p:cNvPr id="23" name="Espace réservé du texte 2">
            <a:extLst>
              <a:ext uri="{FF2B5EF4-FFF2-40B4-BE49-F238E27FC236}">
                <a16:creationId xmlns:a16="http://schemas.microsoft.com/office/drawing/2014/main" id="{42DA93A6-68F2-4B88-8A9A-5701B0431983}"/>
              </a:ext>
            </a:extLst>
          </p:cNvPr>
          <p:cNvSpPr>
            <a:spLocks noGrp="1"/>
          </p:cNvSpPr>
          <p:nvPr>
            <p:ph type="body" idx="15" hasCustomPrompt="1"/>
          </p:nvPr>
        </p:nvSpPr>
        <p:spPr>
          <a:xfrm>
            <a:off x="8164567" y="3723640"/>
            <a:ext cx="1440000" cy="540000"/>
          </a:xfrm>
        </p:spPr>
        <p:txBody>
          <a:bodyPr anchor="t"/>
          <a:lstStyle>
            <a:lvl1pPr marL="0" indent="0" algn="ctr">
              <a:buNone/>
              <a:defRPr sz="3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NN%</a:t>
            </a:r>
          </a:p>
        </p:txBody>
      </p:sp>
      <p:sp>
        <p:nvSpPr>
          <p:cNvPr id="24" name="Espace réservé du texte 8">
            <a:extLst>
              <a:ext uri="{FF2B5EF4-FFF2-40B4-BE49-F238E27FC236}">
                <a16:creationId xmlns:a16="http://schemas.microsoft.com/office/drawing/2014/main" id="{D2D2C270-5160-437C-A084-34FDE02A057E}"/>
              </a:ext>
            </a:extLst>
          </p:cNvPr>
          <p:cNvSpPr>
            <a:spLocks noGrp="1"/>
          </p:cNvSpPr>
          <p:nvPr>
            <p:ph type="body" sz="quarter" idx="16"/>
          </p:nvPr>
        </p:nvSpPr>
        <p:spPr>
          <a:xfrm>
            <a:off x="10095285" y="4286440"/>
            <a:ext cx="1440000" cy="540000"/>
          </a:xfrm>
        </p:spPr>
        <p:txBody>
          <a:bodyPr/>
          <a:lstStyle>
            <a:lvl1pPr marL="0" indent="0" algn="ctr">
              <a:spcBef>
                <a:spcPts val="0"/>
              </a:spcBef>
              <a:buNone/>
              <a:defRPr sz="1100" b="0"/>
            </a:lvl1pPr>
          </a:lstStyle>
          <a:p>
            <a:pPr lvl="0"/>
            <a:r>
              <a:rPr lang="fr-FR" noProof="0"/>
              <a:t>Modifier les styles du texte du masque</a:t>
            </a:r>
          </a:p>
        </p:txBody>
      </p:sp>
      <p:sp>
        <p:nvSpPr>
          <p:cNvPr id="25" name="Espace réservé du texte 2">
            <a:extLst>
              <a:ext uri="{FF2B5EF4-FFF2-40B4-BE49-F238E27FC236}">
                <a16:creationId xmlns:a16="http://schemas.microsoft.com/office/drawing/2014/main" id="{95B35E9A-6E49-4FE7-BF89-1AB5C649315D}"/>
              </a:ext>
            </a:extLst>
          </p:cNvPr>
          <p:cNvSpPr>
            <a:spLocks noGrp="1"/>
          </p:cNvSpPr>
          <p:nvPr>
            <p:ph type="body" idx="17" hasCustomPrompt="1"/>
          </p:nvPr>
        </p:nvSpPr>
        <p:spPr>
          <a:xfrm>
            <a:off x="10092904" y="3723640"/>
            <a:ext cx="1440000" cy="540000"/>
          </a:xfrm>
        </p:spPr>
        <p:txBody>
          <a:bodyPr anchor="t"/>
          <a:lstStyle>
            <a:lvl1pPr marL="0" indent="0" algn="ctr">
              <a:buNone/>
              <a:defRPr sz="3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NN%</a:t>
            </a:r>
          </a:p>
        </p:txBody>
      </p:sp>
      <p:sp>
        <p:nvSpPr>
          <p:cNvPr id="26" name="Espace réservé pour une image  2">
            <a:extLst>
              <a:ext uri="{FF2B5EF4-FFF2-40B4-BE49-F238E27FC236}">
                <a16:creationId xmlns:a16="http://schemas.microsoft.com/office/drawing/2014/main" id="{B0CA989D-B883-4C64-BFE8-6FBA26A82B20}"/>
              </a:ext>
            </a:extLst>
          </p:cNvPr>
          <p:cNvSpPr>
            <a:spLocks noGrp="1"/>
          </p:cNvSpPr>
          <p:nvPr>
            <p:ph type="pic" idx="20"/>
          </p:nvPr>
        </p:nvSpPr>
        <p:spPr>
          <a:xfrm>
            <a:off x="8344567" y="2440750"/>
            <a:ext cx="1080000" cy="1080000"/>
          </a:xfrm>
          <a:noFill/>
        </p:spPr>
        <p:txBody>
          <a:bodyPr anchor="ctr"/>
          <a:lstStyle>
            <a:lvl1pPr marL="0" marR="0" indent="0" algn="ctr" defTabSz="914400" rtl="0" eaLnBrk="1" fontAlgn="auto" latinLnBrk="0" hangingPunct="1">
              <a:lnSpc>
                <a:spcPct val="100000"/>
              </a:lnSpc>
              <a:spcBef>
                <a:spcPts val="0"/>
              </a:spcBef>
              <a:spcAft>
                <a:spcPts val="0"/>
              </a:spcAft>
              <a:buClrTx/>
              <a:buSzPct val="90000"/>
              <a:buFont typeface="Tahoma" panose="020B0604030504040204" pitchFamily="34" charset="0"/>
              <a:buNone/>
              <a:tabLst/>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0"/>
              </a:spcBef>
              <a:spcAft>
                <a:spcPts val="0"/>
              </a:spcAft>
              <a:buClrTx/>
              <a:buSzPct val="90000"/>
              <a:buFont typeface="Tahoma" panose="020B0604030504040204" pitchFamily="34" charset="0"/>
              <a:buNone/>
              <a:tabLst/>
              <a:defRPr/>
            </a:pPr>
            <a:r>
              <a:rPr lang="fr-FR" noProof="0"/>
              <a:t>Cliquez sur l'icône pour ajouter une image</a:t>
            </a:r>
            <a:endParaRPr lang="fr-FR" noProof="0" dirty="0"/>
          </a:p>
        </p:txBody>
      </p:sp>
      <p:sp>
        <p:nvSpPr>
          <p:cNvPr id="27" name="Espace réservé pour une image  2">
            <a:extLst>
              <a:ext uri="{FF2B5EF4-FFF2-40B4-BE49-F238E27FC236}">
                <a16:creationId xmlns:a16="http://schemas.microsoft.com/office/drawing/2014/main" id="{CE9DCD5E-4A5D-4AE3-B6E6-05FAB3D2F93B}"/>
              </a:ext>
            </a:extLst>
          </p:cNvPr>
          <p:cNvSpPr>
            <a:spLocks noGrp="1"/>
          </p:cNvSpPr>
          <p:nvPr>
            <p:ph type="pic" idx="21"/>
          </p:nvPr>
        </p:nvSpPr>
        <p:spPr>
          <a:xfrm>
            <a:off x="10272904" y="2440750"/>
            <a:ext cx="1080000" cy="1080000"/>
          </a:xfrm>
          <a:noFill/>
        </p:spPr>
        <p:txBody>
          <a:bodyPr anchor="ctr"/>
          <a:lstStyle>
            <a:lvl1pPr marL="0" marR="0" indent="0" algn="ctr" defTabSz="914400" rtl="0" eaLnBrk="1" fontAlgn="auto" latinLnBrk="0" hangingPunct="1">
              <a:lnSpc>
                <a:spcPct val="100000"/>
              </a:lnSpc>
              <a:spcBef>
                <a:spcPts val="0"/>
              </a:spcBef>
              <a:spcAft>
                <a:spcPts val="0"/>
              </a:spcAft>
              <a:buClrTx/>
              <a:buSzPct val="90000"/>
              <a:buFont typeface="Tahoma" panose="020B0604030504040204" pitchFamily="34" charset="0"/>
              <a:buNone/>
              <a:tabLst/>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0"/>
              </a:spcBef>
              <a:spcAft>
                <a:spcPts val="0"/>
              </a:spcAft>
              <a:buClrTx/>
              <a:buSzPct val="90000"/>
              <a:buFont typeface="Tahoma" panose="020B0604030504040204" pitchFamily="34" charset="0"/>
              <a:buNone/>
              <a:tabLst/>
              <a:defRPr/>
            </a:pPr>
            <a:r>
              <a:rPr lang="fr-FR" noProof="0"/>
              <a:t>Cliquez sur l'icône pour ajouter une image</a:t>
            </a:r>
            <a:endParaRPr lang="fr-FR" noProof="0" dirty="0"/>
          </a:p>
        </p:txBody>
      </p:sp>
      <p:sp>
        <p:nvSpPr>
          <p:cNvPr id="28" name="Espace réservé du texte 8">
            <a:extLst>
              <a:ext uri="{FF2B5EF4-FFF2-40B4-BE49-F238E27FC236}">
                <a16:creationId xmlns:a16="http://schemas.microsoft.com/office/drawing/2014/main" id="{882DE451-41D6-4E24-AF82-4D199C1930A8}"/>
              </a:ext>
            </a:extLst>
          </p:cNvPr>
          <p:cNvSpPr>
            <a:spLocks noGrp="1"/>
          </p:cNvSpPr>
          <p:nvPr>
            <p:ph type="body" sz="quarter" idx="22" hasCustomPrompt="1"/>
          </p:nvPr>
        </p:nvSpPr>
        <p:spPr>
          <a:xfrm>
            <a:off x="6252637" y="4286440"/>
            <a:ext cx="1440000" cy="540000"/>
          </a:xfrm>
        </p:spPr>
        <p:txBody>
          <a:bodyPr/>
          <a:lstStyle>
            <a:lvl1pPr marL="0" indent="0" algn="ctr">
              <a:spcBef>
                <a:spcPts val="0"/>
              </a:spcBef>
              <a:buNone/>
              <a:defRPr sz="1100" b="0"/>
            </a:lvl1pPr>
          </a:lstStyle>
          <a:p>
            <a:pPr lvl="0"/>
            <a:r>
              <a:rPr lang="fr-FR" noProof="0" dirty="0"/>
              <a:t>Modifier les styles du texte du masque</a:t>
            </a:r>
          </a:p>
        </p:txBody>
      </p:sp>
      <p:sp>
        <p:nvSpPr>
          <p:cNvPr id="29" name="Espace réservé du texte 2">
            <a:extLst>
              <a:ext uri="{FF2B5EF4-FFF2-40B4-BE49-F238E27FC236}">
                <a16:creationId xmlns:a16="http://schemas.microsoft.com/office/drawing/2014/main" id="{42DA93A6-68F2-4B88-8A9A-5701B0431983}"/>
              </a:ext>
            </a:extLst>
          </p:cNvPr>
          <p:cNvSpPr>
            <a:spLocks noGrp="1"/>
          </p:cNvSpPr>
          <p:nvPr>
            <p:ph type="body" idx="23" hasCustomPrompt="1"/>
          </p:nvPr>
        </p:nvSpPr>
        <p:spPr>
          <a:xfrm>
            <a:off x="6250256" y="3723640"/>
            <a:ext cx="1440000" cy="540000"/>
          </a:xfrm>
        </p:spPr>
        <p:txBody>
          <a:bodyPr anchor="t"/>
          <a:lstStyle>
            <a:lvl1pPr marL="0" indent="0" algn="ctr">
              <a:buNone/>
              <a:defRPr sz="3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NN%</a:t>
            </a:r>
          </a:p>
        </p:txBody>
      </p:sp>
      <p:sp>
        <p:nvSpPr>
          <p:cNvPr id="31" name="Espace réservé du texte 2">
            <a:extLst>
              <a:ext uri="{FF2B5EF4-FFF2-40B4-BE49-F238E27FC236}">
                <a16:creationId xmlns:a16="http://schemas.microsoft.com/office/drawing/2014/main" id="{95B35E9A-6E49-4FE7-BF89-1AB5C649315D}"/>
              </a:ext>
            </a:extLst>
          </p:cNvPr>
          <p:cNvSpPr>
            <a:spLocks noGrp="1"/>
          </p:cNvSpPr>
          <p:nvPr>
            <p:ph type="body" idx="25" hasCustomPrompt="1"/>
          </p:nvPr>
        </p:nvSpPr>
        <p:spPr>
          <a:xfrm>
            <a:off x="8178593" y="3723640"/>
            <a:ext cx="1440000" cy="540000"/>
          </a:xfrm>
        </p:spPr>
        <p:txBody>
          <a:bodyPr anchor="t"/>
          <a:lstStyle>
            <a:lvl1pPr marL="0" indent="0" algn="ctr">
              <a:buNone/>
              <a:defRPr sz="3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NN%</a:t>
            </a:r>
          </a:p>
        </p:txBody>
      </p:sp>
      <p:sp>
        <p:nvSpPr>
          <p:cNvPr id="32" name="Espace réservé pour une image  2">
            <a:extLst>
              <a:ext uri="{FF2B5EF4-FFF2-40B4-BE49-F238E27FC236}">
                <a16:creationId xmlns:a16="http://schemas.microsoft.com/office/drawing/2014/main" id="{B0CA989D-B883-4C64-BFE8-6FBA26A82B20}"/>
              </a:ext>
            </a:extLst>
          </p:cNvPr>
          <p:cNvSpPr>
            <a:spLocks noGrp="1"/>
          </p:cNvSpPr>
          <p:nvPr>
            <p:ph type="pic" idx="26"/>
          </p:nvPr>
        </p:nvSpPr>
        <p:spPr>
          <a:xfrm>
            <a:off x="6430256" y="2440750"/>
            <a:ext cx="1080000" cy="1080000"/>
          </a:xfrm>
          <a:noFill/>
        </p:spPr>
        <p:txBody>
          <a:bodyPr anchor="ctr"/>
          <a:lstStyle>
            <a:lvl1pPr marL="0" marR="0" indent="0" algn="ctr" defTabSz="914400" rtl="0" eaLnBrk="1" fontAlgn="auto" latinLnBrk="0" hangingPunct="1">
              <a:lnSpc>
                <a:spcPct val="100000"/>
              </a:lnSpc>
              <a:spcBef>
                <a:spcPts val="0"/>
              </a:spcBef>
              <a:spcAft>
                <a:spcPts val="0"/>
              </a:spcAft>
              <a:buClrTx/>
              <a:buSzPct val="90000"/>
              <a:buFont typeface="Tahoma" panose="020B0604030504040204" pitchFamily="34" charset="0"/>
              <a:buNone/>
              <a:tabLst/>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0"/>
              </a:spcBef>
              <a:spcAft>
                <a:spcPts val="0"/>
              </a:spcAft>
              <a:buClrTx/>
              <a:buSzPct val="90000"/>
              <a:buFont typeface="Tahoma" panose="020B0604030504040204" pitchFamily="34" charset="0"/>
              <a:buNone/>
              <a:tabLst/>
              <a:defRPr/>
            </a:pPr>
            <a:r>
              <a:rPr lang="fr-FR" noProof="0"/>
              <a:t>Cliquez sur l'icône pour ajouter une image</a:t>
            </a:r>
            <a:endParaRPr lang="fr-FR" noProof="0" dirty="0"/>
          </a:p>
        </p:txBody>
      </p:sp>
      <p:sp>
        <p:nvSpPr>
          <p:cNvPr id="18" name="Rectangle 17"/>
          <p:cNvSpPr/>
          <p:nvPr userDrawn="1"/>
        </p:nvSpPr>
        <p:spPr>
          <a:xfrm>
            <a:off x="-1" y="-374907"/>
            <a:ext cx="25200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9" name="ZoneTexte 18"/>
          <p:cNvSpPr txBox="1"/>
          <p:nvPr userDrawn="1"/>
        </p:nvSpPr>
        <p:spPr>
          <a:xfrm>
            <a:off x="545702"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s textes</a:t>
            </a:r>
            <a:endParaRPr lang="fr-FR" sz="1200" noProof="0" dirty="0"/>
          </a:p>
        </p:txBody>
      </p:sp>
      <p:sp>
        <p:nvSpPr>
          <p:cNvPr id="20" name="Rectangle 19"/>
          <p:cNvSpPr/>
          <p:nvPr userDrawn="1"/>
        </p:nvSpPr>
        <p:spPr>
          <a:xfrm>
            <a:off x="293702" y="-374907"/>
            <a:ext cx="252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35" name="Espace réservé du texte 8">
            <a:extLst>
              <a:ext uri="{FF2B5EF4-FFF2-40B4-BE49-F238E27FC236}">
                <a16:creationId xmlns:a16="http://schemas.microsoft.com/office/drawing/2014/main" id="{7BC41F0E-EC30-4D2A-AA16-7B987E32A160}"/>
              </a:ext>
            </a:extLst>
          </p:cNvPr>
          <p:cNvSpPr>
            <a:spLocks noGrp="1"/>
          </p:cNvSpPr>
          <p:nvPr>
            <p:ph type="body" sz="quarter" idx="13"/>
          </p:nvPr>
        </p:nvSpPr>
        <p:spPr>
          <a:xfrm>
            <a:off x="719136" y="1744980"/>
            <a:ext cx="5366704" cy="4389120"/>
          </a:xfrm>
        </p:spPr>
        <p:txBody>
          <a:bodyPr/>
          <a:lstStyle>
            <a:lvl1pPr marL="355600" indent="-355600">
              <a:defRPr/>
            </a:lvl1pPr>
            <a:lvl2pPr marL="630238" indent="-274638">
              <a:defRPr/>
            </a:lvl2pPr>
            <a:lvl3pPr marL="720725" indent="0">
              <a:defRPr/>
            </a:lvl3pPr>
            <a:lvl4pPr marL="893763" indent="0">
              <a:defRPr/>
            </a:lvl4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p:txBody>
      </p:sp>
      <p:sp>
        <p:nvSpPr>
          <p:cNvPr id="36" name="Espace réservé du texte 2">
            <a:extLst>
              <a:ext uri="{FF2B5EF4-FFF2-40B4-BE49-F238E27FC236}">
                <a16:creationId xmlns:a16="http://schemas.microsoft.com/office/drawing/2014/main" id="{A3DB4B53-525D-494B-81B7-D3D6DB4A234D}"/>
              </a:ext>
            </a:extLst>
          </p:cNvPr>
          <p:cNvSpPr>
            <a:spLocks noGrp="1"/>
          </p:cNvSpPr>
          <p:nvPr>
            <p:ph type="body" idx="1" hasCustomPrompt="1"/>
          </p:nvPr>
        </p:nvSpPr>
        <p:spPr>
          <a:xfrm>
            <a:off x="719137" y="981120"/>
            <a:ext cx="10751504" cy="360000"/>
          </a:xfrm>
        </p:spPr>
        <p:txBody>
          <a:bodyPr anchor="t"/>
          <a:lstStyle>
            <a:lvl1pPr marL="0" indent="0">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Modifier les styles du texte du masque</a:t>
            </a:r>
          </a:p>
        </p:txBody>
      </p:sp>
      <p:sp>
        <p:nvSpPr>
          <p:cNvPr id="37" name="Titre 6">
            <a:extLst>
              <a:ext uri="{FF2B5EF4-FFF2-40B4-BE49-F238E27FC236}">
                <a16:creationId xmlns:a16="http://schemas.microsoft.com/office/drawing/2014/main" id="{B7A985A6-151F-4CB0-B805-7356FF1FA8E6}"/>
              </a:ext>
            </a:extLst>
          </p:cNvPr>
          <p:cNvSpPr>
            <a:spLocks noGrp="1"/>
          </p:cNvSpPr>
          <p:nvPr>
            <p:ph type="title"/>
          </p:nvPr>
        </p:nvSpPr>
        <p:spPr>
          <a:xfrm>
            <a:off x="719137" y="30480"/>
            <a:ext cx="10751503" cy="936000"/>
          </a:xfrm>
        </p:spPr>
        <p:txBody>
          <a:bodyPr anchor="b"/>
          <a:lstStyle>
            <a:lvl1pPr>
              <a:defRPr baseline="0"/>
            </a:lvl1pPr>
          </a:lstStyle>
          <a:p>
            <a:r>
              <a:rPr lang="fr-FR" noProof="0"/>
              <a:t>Modifiez le style du titre</a:t>
            </a:r>
            <a:endParaRPr lang="fr-FR" noProof="0" dirty="0"/>
          </a:p>
        </p:txBody>
      </p:sp>
    </p:spTree>
    <p:extLst>
      <p:ext uri="{BB962C8B-B14F-4D97-AF65-F5344CB8AC3E}">
        <p14:creationId xmlns:p14="http://schemas.microsoft.com/office/powerpoint/2010/main" val="2793479738"/>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Texte_&amp;Image">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3716C531-2CFB-4E5B-8F66-A15176016CE5}"/>
              </a:ext>
            </a:extLst>
          </p:cNvPr>
          <p:cNvSpPr>
            <a:spLocks noGrp="1"/>
          </p:cNvSpPr>
          <p:nvPr>
            <p:ph type="dt" sz="half" idx="10"/>
          </p:nvPr>
        </p:nvSpPr>
        <p:spPr/>
        <p:txBody>
          <a:bodyPr/>
          <a:lstStyle>
            <a:lvl1pPr>
              <a:defRPr>
                <a:solidFill>
                  <a:schemeClr val="tx1"/>
                </a:solidFill>
              </a:defRPr>
            </a:lvl1pPr>
          </a:lstStyle>
          <a:p>
            <a:fld id="{613BFCA6-7E24-423E-8894-A15C8B67465B}" type="datetime1">
              <a:rPr lang="fr-FR" noProof="0" smtClean="0"/>
              <a:t>14/10/2021</a:t>
            </a:fld>
            <a:endParaRPr lang="fr-FR" noProof="0" dirty="0"/>
          </a:p>
        </p:txBody>
      </p:sp>
      <p:sp>
        <p:nvSpPr>
          <p:cNvPr id="5" name="Espace réservé du pied de page 4">
            <a:extLst>
              <a:ext uri="{FF2B5EF4-FFF2-40B4-BE49-F238E27FC236}">
                <a16:creationId xmlns:a16="http://schemas.microsoft.com/office/drawing/2014/main" id="{A0EF3019-6813-4BCE-8FD7-8BAD1DDCC6A4}"/>
              </a:ext>
            </a:extLst>
          </p:cNvPr>
          <p:cNvSpPr>
            <a:spLocks noGrp="1"/>
          </p:cNvSpPr>
          <p:nvPr>
            <p:ph type="ftr" sz="quarter" idx="11"/>
          </p:nvPr>
        </p:nvSpPr>
        <p:spPr/>
        <p:txBody>
          <a:bodyPr/>
          <a:lstStyle>
            <a:lvl1pPr>
              <a:defRPr>
                <a:solidFill>
                  <a:schemeClr val="tx1"/>
                </a:solidFill>
              </a:defRPr>
            </a:lvl1pPr>
          </a:lstStyle>
          <a:p>
            <a:r>
              <a:rPr lang="fr-FR" noProof="0"/>
              <a:t>Initiation à la méthode SAFe</a:t>
            </a:r>
            <a:endParaRPr lang="fr-FR" noProof="0" dirty="0"/>
          </a:p>
        </p:txBody>
      </p:sp>
      <p:sp>
        <p:nvSpPr>
          <p:cNvPr id="6" name="Espace réservé du numéro de diapositive 5">
            <a:extLst>
              <a:ext uri="{FF2B5EF4-FFF2-40B4-BE49-F238E27FC236}">
                <a16:creationId xmlns:a16="http://schemas.microsoft.com/office/drawing/2014/main" id="{083150F9-E599-47C6-B00B-9E9475158114}"/>
              </a:ext>
            </a:extLst>
          </p:cNvPr>
          <p:cNvSpPr>
            <a:spLocks noGrp="1"/>
          </p:cNvSpPr>
          <p:nvPr>
            <p:ph type="sldNum" sz="quarter" idx="12"/>
          </p:nvPr>
        </p:nvSpPr>
        <p:spPr/>
        <p:txBody>
          <a:bodyPr/>
          <a:lstStyle>
            <a:lvl1pPr>
              <a:defRPr>
                <a:solidFill>
                  <a:schemeClr val="tx1"/>
                </a:solidFill>
              </a:defRPr>
            </a:lvl1pPr>
          </a:lstStyle>
          <a:p>
            <a:fld id="{975A587B-5814-4D9B-9598-FE9CB954CB01}" type="slidenum">
              <a:rPr lang="fr-FR" noProof="0" smtClean="0"/>
              <a:pPr/>
              <a:t>‹N°›</a:t>
            </a:fld>
            <a:endParaRPr lang="fr-FR" noProof="0" dirty="0"/>
          </a:p>
        </p:txBody>
      </p:sp>
      <p:sp>
        <p:nvSpPr>
          <p:cNvPr id="19" name="Espace réservé pour une image  2">
            <a:extLst>
              <a:ext uri="{FF2B5EF4-FFF2-40B4-BE49-F238E27FC236}">
                <a16:creationId xmlns:a16="http://schemas.microsoft.com/office/drawing/2014/main" id="{15513DE8-4DA1-4B1A-BE67-4F4449566555}"/>
              </a:ext>
            </a:extLst>
          </p:cNvPr>
          <p:cNvSpPr>
            <a:spLocks noGrp="1"/>
          </p:cNvSpPr>
          <p:nvPr>
            <p:ph type="pic" idx="15"/>
          </p:nvPr>
        </p:nvSpPr>
        <p:spPr>
          <a:xfrm>
            <a:off x="7025504" y="1727941"/>
            <a:ext cx="4445771" cy="4406159"/>
          </a:xfr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noProof="0"/>
              <a:t>Cliquez sur l'icône pour ajouter une image</a:t>
            </a:r>
            <a:endParaRPr lang="fr-FR" noProof="0" dirty="0"/>
          </a:p>
        </p:txBody>
      </p:sp>
      <p:sp>
        <p:nvSpPr>
          <p:cNvPr id="11" name="Rectangle 10"/>
          <p:cNvSpPr/>
          <p:nvPr userDrawn="1"/>
        </p:nvSpPr>
        <p:spPr>
          <a:xfrm>
            <a:off x="-1" y="-374907"/>
            <a:ext cx="25200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2" name="ZoneTexte 11"/>
          <p:cNvSpPr txBox="1"/>
          <p:nvPr userDrawn="1"/>
        </p:nvSpPr>
        <p:spPr>
          <a:xfrm>
            <a:off x="545702"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s textes</a:t>
            </a:r>
            <a:endParaRPr lang="fr-FR" sz="1200" noProof="0" dirty="0"/>
          </a:p>
        </p:txBody>
      </p:sp>
      <p:sp>
        <p:nvSpPr>
          <p:cNvPr id="13" name="Rectangle 12"/>
          <p:cNvSpPr/>
          <p:nvPr userDrawn="1"/>
        </p:nvSpPr>
        <p:spPr>
          <a:xfrm>
            <a:off x="293702" y="-374907"/>
            <a:ext cx="252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21" name="Espace réservé du texte 2">
            <a:extLst>
              <a:ext uri="{FF2B5EF4-FFF2-40B4-BE49-F238E27FC236}">
                <a16:creationId xmlns:a16="http://schemas.microsoft.com/office/drawing/2014/main" id="{A3DB4B53-525D-494B-81B7-D3D6DB4A234D}"/>
              </a:ext>
            </a:extLst>
          </p:cNvPr>
          <p:cNvSpPr>
            <a:spLocks noGrp="1"/>
          </p:cNvSpPr>
          <p:nvPr>
            <p:ph type="body" idx="1" hasCustomPrompt="1"/>
          </p:nvPr>
        </p:nvSpPr>
        <p:spPr>
          <a:xfrm>
            <a:off x="719137" y="981120"/>
            <a:ext cx="10751504" cy="360000"/>
          </a:xfrm>
        </p:spPr>
        <p:txBody>
          <a:bodyPr anchor="t"/>
          <a:lstStyle>
            <a:lvl1pPr marL="0" indent="0">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Modifier les styles du texte du masque</a:t>
            </a:r>
          </a:p>
        </p:txBody>
      </p:sp>
      <p:sp>
        <p:nvSpPr>
          <p:cNvPr id="22" name="Titre 6">
            <a:extLst>
              <a:ext uri="{FF2B5EF4-FFF2-40B4-BE49-F238E27FC236}">
                <a16:creationId xmlns:a16="http://schemas.microsoft.com/office/drawing/2014/main" id="{B7A985A6-151F-4CB0-B805-7356FF1FA8E6}"/>
              </a:ext>
            </a:extLst>
          </p:cNvPr>
          <p:cNvSpPr>
            <a:spLocks noGrp="1"/>
          </p:cNvSpPr>
          <p:nvPr>
            <p:ph type="title"/>
          </p:nvPr>
        </p:nvSpPr>
        <p:spPr>
          <a:xfrm>
            <a:off x="719137" y="30480"/>
            <a:ext cx="10751503" cy="936000"/>
          </a:xfrm>
        </p:spPr>
        <p:txBody>
          <a:bodyPr anchor="b"/>
          <a:lstStyle>
            <a:lvl1pPr>
              <a:defRPr baseline="0"/>
            </a:lvl1pPr>
          </a:lstStyle>
          <a:p>
            <a:r>
              <a:rPr lang="fr-FR" noProof="0"/>
              <a:t>Modifiez le style du titre</a:t>
            </a:r>
            <a:endParaRPr lang="fr-FR" noProof="0" dirty="0"/>
          </a:p>
        </p:txBody>
      </p:sp>
      <p:sp>
        <p:nvSpPr>
          <p:cNvPr id="23" name="Espace réservé du texte 8">
            <a:extLst>
              <a:ext uri="{FF2B5EF4-FFF2-40B4-BE49-F238E27FC236}">
                <a16:creationId xmlns:a16="http://schemas.microsoft.com/office/drawing/2014/main" id="{7BC41F0E-EC30-4D2A-AA16-7B987E32A160}"/>
              </a:ext>
            </a:extLst>
          </p:cNvPr>
          <p:cNvSpPr>
            <a:spLocks noGrp="1"/>
          </p:cNvSpPr>
          <p:nvPr>
            <p:ph type="body" sz="quarter" idx="13"/>
          </p:nvPr>
        </p:nvSpPr>
        <p:spPr>
          <a:xfrm>
            <a:off x="719136" y="1744980"/>
            <a:ext cx="6138863" cy="4389120"/>
          </a:xfrm>
        </p:spPr>
        <p:txBody>
          <a:bodyPr/>
          <a:lstStyle>
            <a:lvl1pPr marL="355600" indent="-355600">
              <a:defRPr/>
            </a:lvl1pPr>
            <a:lvl2pPr marL="630238" indent="-274638">
              <a:defRPr/>
            </a:lvl2pPr>
            <a:lvl3pPr marL="720725" indent="0">
              <a:defRPr/>
            </a:lvl3pPr>
            <a:lvl4pPr marL="893763" indent="0">
              <a:defRPr/>
            </a:lvl4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p:txBody>
      </p:sp>
    </p:spTree>
    <p:extLst>
      <p:ext uri="{BB962C8B-B14F-4D97-AF65-F5344CB8AC3E}">
        <p14:creationId xmlns:p14="http://schemas.microsoft.com/office/powerpoint/2010/main" val="174804374"/>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Image">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3716C531-2CFB-4E5B-8F66-A15176016CE5}"/>
              </a:ext>
            </a:extLst>
          </p:cNvPr>
          <p:cNvSpPr>
            <a:spLocks noGrp="1"/>
          </p:cNvSpPr>
          <p:nvPr>
            <p:ph type="dt" sz="half" idx="10"/>
          </p:nvPr>
        </p:nvSpPr>
        <p:spPr/>
        <p:txBody>
          <a:bodyPr/>
          <a:lstStyle>
            <a:lvl1pPr>
              <a:defRPr>
                <a:solidFill>
                  <a:schemeClr val="tx1"/>
                </a:solidFill>
              </a:defRPr>
            </a:lvl1pPr>
          </a:lstStyle>
          <a:p>
            <a:fld id="{28A7C744-741C-49C3-86A0-01DB34ECBE61}" type="datetime1">
              <a:rPr lang="fr-FR" noProof="0" smtClean="0"/>
              <a:t>14/10/2021</a:t>
            </a:fld>
            <a:endParaRPr lang="fr-FR" noProof="0" dirty="0"/>
          </a:p>
        </p:txBody>
      </p:sp>
      <p:sp>
        <p:nvSpPr>
          <p:cNvPr id="5" name="Espace réservé du pied de page 4">
            <a:extLst>
              <a:ext uri="{FF2B5EF4-FFF2-40B4-BE49-F238E27FC236}">
                <a16:creationId xmlns:a16="http://schemas.microsoft.com/office/drawing/2014/main" id="{A0EF3019-6813-4BCE-8FD7-8BAD1DDCC6A4}"/>
              </a:ext>
            </a:extLst>
          </p:cNvPr>
          <p:cNvSpPr>
            <a:spLocks noGrp="1"/>
          </p:cNvSpPr>
          <p:nvPr>
            <p:ph type="ftr" sz="quarter" idx="11"/>
          </p:nvPr>
        </p:nvSpPr>
        <p:spPr/>
        <p:txBody>
          <a:bodyPr/>
          <a:lstStyle>
            <a:lvl1pPr>
              <a:defRPr>
                <a:solidFill>
                  <a:schemeClr val="tx1"/>
                </a:solidFill>
              </a:defRPr>
            </a:lvl1pPr>
          </a:lstStyle>
          <a:p>
            <a:r>
              <a:rPr lang="fr-FR" noProof="0"/>
              <a:t>Initiation à la méthode SAFe</a:t>
            </a:r>
            <a:endParaRPr lang="fr-FR" noProof="0" dirty="0"/>
          </a:p>
        </p:txBody>
      </p:sp>
      <p:sp>
        <p:nvSpPr>
          <p:cNvPr id="6" name="Espace réservé du numéro de diapositive 5">
            <a:extLst>
              <a:ext uri="{FF2B5EF4-FFF2-40B4-BE49-F238E27FC236}">
                <a16:creationId xmlns:a16="http://schemas.microsoft.com/office/drawing/2014/main" id="{083150F9-E599-47C6-B00B-9E9475158114}"/>
              </a:ext>
            </a:extLst>
          </p:cNvPr>
          <p:cNvSpPr>
            <a:spLocks noGrp="1"/>
          </p:cNvSpPr>
          <p:nvPr>
            <p:ph type="sldNum" sz="quarter" idx="12"/>
          </p:nvPr>
        </p:nvSpPr>
        <p:spPr/>
        <p:txBody>
          <a:bodyPr/>
          <a:lstStyle>
            <a:lvl1pPr>
              <a:defRPr>
                <a:solidFill>
                  <a:schemeClr val="tx1"/>
                </a:solidFill>
              </a:defRPr>
            </a:lvl1pPr>
          </a:lstStyle>
          <a:p>
            <a:fld id="{975A587B-5814-4D9B-9598-FE9CB954CB01}" type="slidenum">
              <a:rPr lang="fr-FR" noProof="0" smtClean="0"/>
              <a:pPr/>
              <a:t>‹N°›</a:t>
            </a:fld>
            <a:endParaRPr lang="fr-FR" noProof="0" dirty="0"/>
          </a:p>
        </p:txBody>
      </p:sp>
      <p:sp>
        <p:nvSpPr>
          <p:cNvPr id="20" name="Espace réservé pour une image  2">
            <a:extLst>
              <a:ext uri="{FF2B5EF4-FFF2-40B4-BE49-F238E27FC236}">
                <a16:creationId xmlns:a16="http://schemas.microsoft.com/office/drawing/2014/main" id="{E71E3310-2B05-4AE1-AFDF-FED61D7DC815}"/>
              </a:ext>
            </a:extLst>
          </p:cNvPr>
          <p:cNvSpPr>
            <a:spLocks noGrp="1"/>
          </p:cNvSpPr>
          <p:nvPr>
            <p:ph type="pic" idx="15"/>
          </p:nvPr>
        </p:nvSpPr>
        <p:spPr>
          <a:xfrm>
            <a:off x="720001" y="1729348"/>
            <a:ext cx="10748099" cy="4369033"/>
          </a:xfr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noProof="0"/>
              <a:t>Cliquez sur l'icône pour ajouter une image</a:t>
            </a:r>
            <a:endParaRPr lang="fr-FR" noProof="0" dirty="0"/>
          </a:p>
        </p:txBody>
      </p:sp>
      <p:sp>
        <p:nvSpPr>
          <p:cNvPr id="8" name="Rectangle 7"/>
          <p:cNvSpPr/>
          <p:nvPr userDrawn="1"/>
        </p:nvSpPr>
        <p:spPr>
          <a:xfrm>
            <a:off x="-1" y="-374907"/>
            <a:ext cx="25200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9" name="ZoneTexte 8"/>
          <p:cNvSpPr txBox="1"/>
          <p:nvPr userDrawn="1"/>
        </p:nvSpPr>
        <p:spPr>
          <a:xfrm>
            <a:off x="545702"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s textes</a:t>
            </a:r>
            <a:endParaRPr lang="fr-FR" sz="1200" noProof="0" dirty="0"/>
          </a:p>
        </p:txBody>
      </p:sp>
      <p:sp>
        <p:nvSpPr>
          <p:cNvPr id="11" name="Rectangle 10"/>
          <p:cNvSpPr/>
          <p:nvPr userDrawn="1"/>
        </p:nvSpPr>
        <p:spPr>
          <a:xfrm>
            <a:off x="293702" y="-374907"/>
            <a:ext cx="252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6" name="Espace réservé du texte 2">
            <a:extLst>
              <a:ext uri="{FF2B5EF4-FFF2-40B4-BE49-F238E27FC236}">
                <a16:creationId xmlns:a16="http://schemas.microsoft.com/office/drawing/2014/main" id="{A3DB4B53-525D-494B-81B7-D3D6DB4A234D}"/>
              </a:ext>
            </a:extLst>
          </p:cNvPr>
          <p:cNvSpPr>
            <a:spLocks noGrp="1"/>
          </p:cNvSpPr>
          <p:nvPr>
            <p:ph type="body" idx="1" hasCustomPrompt="1"/>
          </p:nvPr>
        </p:nvSpPr>
        <p:spPr>
          <a:xfrm>
            <a:off x="719137" y="981120"/>
            <a:ext cx="10751504" cy="360000"/>
          </a:xfrm>
        </p:spPr>
        <p:txBody>
          <a:bodyPr anchor="t"/>
          <a:lstStyle>
            <a:lvl1pPr marL="0" indent="0">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Modifier les styles du texte du masque</a:t>
            </a:r>
          </a:p>
        </p:txBody>
      </p:sp>
      <p:sp>
        <p:nvSpPr>
          <p:cNvPr id="17" name="Titre 6">
            <a:extLst>
              <a:ext uri="{FF2B5EF4-FFF2-40B4-BE49-F238E27FC236}">
                <a16:creationId xmlns:a16="http://schemas.microsoft.com/office/drawing/2014/main" id="{B7A985A6-151F-4CB0-B805-7356FF1FA8E6}"/>
              </a:ext>
            </a:extLst>
          </p:cNvPr>
          <p:cNvSpPr>
            <a:spLocks noGrp="1"/>
          </p:cNvSpPr>
          <p:nvPr>
            <p:ph type="title"/>
          </p:nvPr>
        </p:nvSpPr>
        <p:spPr>
          <a:xfrm>
            <a:off x="719137" y="30480"/>
            <a:ext cx="10751503" cy="936000"/>
          </a:xfrm>
        </p:spPr>
        <p:txBody>
          <a:bodyPr anchor="b"/>
          <a:lstStyle>
            <a:lvl1pPr>
              <a:defRPr baseline="0"/>
            </a:lvl1pPr>
          </a:lstStyle>
          <a:p>
            <a:r>
              <a:rPr lang="fr-FR" noProof="0"/>
              <a:t>Modifiez le style du titre</a:t>
            </a:r>
            <a:endParaRPr lang="fr-FR" noProof="0" dirty="0"/>
          </a:p>
        </p:txBody>
      </p:sp>
    </p:spTree>
    <p:extLst>
      <p:ext uri="{BB962C8B-B14F-4D97-AF65-F5344CB8AC3E}">
        <p14:creationId xmlns:p14="http://schemas.microsoft.com/office/powerpoint/2010/main" val="36949654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Image_&amp;ChiffreClef">
    <p:spTree>
      <p:nvGrpSpPr>
        <p:cNvPr id="1" name=""/>
        <p:cNvGrpSpPr/>
        <p:nvPr/>
      </p:nvGrpSpPr>
      <p:grpSpPr>
        <a:xfrm>
          <a:off x="0" y="0"/>
          <a:ext cx="0" cy="0"/>
          <a:chOff x="0" y="0"/>
          <a:chExt cx="0" cy="0"/>
        </a:xfrm>
      </p:grpSpPr>
      <p:sp>
        <p:nvSpPr>
          <p:cNvPr id="20" name="Espace réservé pour une image  2">
            <a:extLst>
              <a:ext uri="{FF2B5EF4-FFF2-40B4-BE49-F238E27FC236}">
                <a16:creationId xmlns:a16="http://schemas.microsoft.com/office/drawing/2014/main" id="{E71E3310-2B05-4AE1-AFDF-FED61D7DC815}"/>
              </a:ext>
            </a:extLst>
          </p:cNvPr>
          <p:cNvSpPr>
            <a:spLocks noGrp="1"/>
          </p:cNvSpPr>
          <p:nvPr>
            <p:ph type="pic" idx="15"/>
          </p:nvPr>
        </p:nvSpPr>
        <p:spPr>
          <a:xfrm>
            <a:off x="0" y="-1"/>
            <a:ext cx="12191999" cy="6105600"/>
          </a:xfr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noProof="0"/>
              <a:t>Cliquez sur l'icône pour ajouter une image</a:t>
            </a:r>
            <a:endParaRPr lang="fr-FR" noProof="0" dirty="0"/>
          </a:p>
        </p:txBody>
      </p:sp>
      <p:sp>
        <p:nvSpPr>
          <p:cNvPr id="4" name="Espace réservé de la date 3">
            <a:extLst>
              <a:ext uri="{FF2B5EF4-FFF2-40B4-BE49-F238E27FC236}">
                <a16:creationId xmlns:a16="http://schemas.microsoft.com/office/drawing/2014/main" id="{3716C531-2CFB-4E5B-8F66-A15176016CE5}"/>
              </a:ext>
            </a:extLst>
          </p:cNvPr>
          <p:cNvSpPr>
            <a:spLocks noGrp="1"/>
          </p:cNvSpPr>
          <p:nvPr>
            <p:ph type="dt" sz="half" idx="10"/>
          </p:nvPr>
        </p:nvSpPr>
        <p:spPr/>
        <p:txBody>
          <a:bodyPr/>
          <a:lstStyle>
            <a:lvl1pPr>
              <a:defRPr>
                <a:solidFill>
                  <a:schemeClr val="tx1"/>
                </a:solidFill>
              </a:defRPr>
            </a:lvl1pPr>
          </a:lstStyle>
          <a:p>
            <a:fld id="{80A32370-DC29-41DB-97B4-3BE42AC52C7E}" type="datetime1">
              <a:rPr lang="fr-FR" noProof="0" smtClean="0"/>
              <a:t>14/10/2021</a:t>
            </a:fld>
            <a:endParaRPr lang="fr-FR" noProof="0" dirty="0"/>
          </a:p>
        </p:txBody>
      </p:sp>
      <p:sp>
        <p:nvSpPr>
          <p:cNvPr id="5" name="Espace réservé du pied de page 4">
            <a:extLst>
              <a:ext uri="{FF2B5EF4-FFF2-40B4-BE49-F238E27FC236}">
                <a16:creationId xmlns:a16="http://schemas.microsoft.com/office/drawing/2014/main" id="{A0EF3019-6813-4BCE-8FD7-8BAD1DDCC6A4}"/>
              </a:ext>
            </a:extLst>
          </p:cNvPr>
          <p:cNvSpPr>
            <a:spLocks noGrp="1"/>
          </p:cNvSpPr>
          <p:nvPr>
            <p:ph type="ftr" sz="quarter" idx="11"/>
          </p:nvPr>
        </p:nvSpPr>
        <p:spPr/>
        <p:txBody>
          <a:bodyPr/>
          <a:lstStyle>
            <a:lvl1pPr>
              <a:defRPr>
                <a:solidFill>
                  <a:schemeClr val="tx1"/>
                </a:solidFill>
              </a:defRPr>
            </a:lvl1pPr>
          </a:lstStyle>
          <a:p>
            <a:r>
              <a:rPr lang="fr-FR" noProof="0"/>
              <a:t>Initiation à la méthode SAFe</a:t>
            </a:r>
            <a:endParaRPr lang="fr-FR" noProof="0" dirty="0"/>
          </a:p>
        </p:txBody>
      </p:sp>
      <p:sp>
        <p:nvSpPr>
          <p:cNvPr id="6" name="Espace réservé du numéro de diapositive 5">
            <a:extLst>
              <a:ext uri="{FF2B5EF4-FFF2-40B4-BE49-F238E27FC236}">
                <a16:creationId xmlns:a16="http://schemas.microsoft.com/office/drawing/2014/main" id="{083150F9-E599-47C6-B00B-9E9475158114}"/>
              </a:ext>
            </a:extLst>
          </p:cNvPr>
          <p:cNvSpPr>
            <a:spLocks noGrp="1"/>
          </p:cNvSpPr>
          <p:nvPr>
            <p:ph type="sldNum" sz="quarter" idx="12"/>
          </p:nvPr>
        </p:nvSpPr>
        <p:spPr/>
        <p:txBody>
          <a:bodyPr/>
          <a:lstStyle>
            <a:lvl1pPr>
              <a:defRPr>
                <a:solidFill>
                  <a:schemeClr val="tx1"/>
                </a:solidFill>
              </a:defRPr>
            </a:lvl1pPr>
          </a:lstStyle>
          <a:p>
            <a:fld id="{975A587B-5814-4D9B-9598-FE9CB954CB01}" type="slidenum">
              <a:rPr lang="fr-FR" noProof="0" smtClean="0"/>
              <a:pPr/>
              <a:t>‹N°›</a:t>
            </a:fld>
            <a:endParaRPr lang="fr-FR" noProof="0" dirty="0"/>
          </a:p>
        </p:txBody>
      </p:sp>
      <p:sp>
        <p:nvSpPr>
          <p:cNvPr id="13" name="Espace réservé du texte 8">
            <a:extLst>
              <a:ext uri="{FF2B5EF4-FFF2-40B4-BE49-F238E27FC236}">
                <a16:creationId xmlns:a16="http://schemas.microsoft.com/office/drawing/2014/main" id="{4B834FC3-F98F-48CD-8C3A-74E6A5FC374B}"/>
              </a:ext>
            </a:extLst>
          </p:cNvPr>
          <p:cNvSpPr>
            <a:spLocks noGrp="1"/>
          </p:cNvSpPr>
          <p:nvPr>
            <p:ph type="body" sz="quarter" idx="13"/>
          </p:nvPr>
        </p:nvSpPr>
        <p:spPr>
          <a:xfrm>
            <a:off x="7443315" y="2401207"/>
            <a:ext cx="4027325" cy="1260000"/>
          </a:xfrm>
        </p:spPr>
        <p:txBody>
          <a:bodyPr/>
          <a:lstStyle>
            <a:lvl1pPr marL="0" indent="0">
              <a:buNone/>
              <a:defRPr sz="2600">
                <a:solidFill>
                  <a:schemeClr val="bg1"/>
                </a:solidFill>
              </a:defRPr>
            </a:lvl1pPr>
          </a:lstStyle>
          <a:p>
            <a:pPr lvl="0"/>
            <a:r>
              <a:rPr lang="fr-FR" noProof="0"/>
              <a:t>Modifier les styles du texte du masque</a:t>
            </a:r>
          </a:p>
          <a:p>
            <a:pPr lvl="1"/>
            <a:r>
              <a:rPr lang="fr-FR" noProof="0"/>
              <a:t>Deuxième niveau</a:t>
            </a:r>
          </a:p>
          <a:p>
            <a:pPr lvl="2"/>
            <a:r>
              <a:rPr lang="fr-FR" noProof="0"/>
              <a:t>Troisième niveau</a:t>
            </a:r>
          </a:p>
        </p:txBody>
      </p:sp>
      <p:sp>
        <p:nvSpPr>
          <p:cNvPr id="14" name="Espace réservé du texte 2">
            <a:extLst>
              <a:ext uri="{FF2B5EF4-FFF2-40B4-BE49-F238E27FC236}">
                <a16:creationId xmlns:a16="http://schemas.microsoft.com/office/drawing/2014/main" id="{02D7D404-B1CB-4081-84BD-E6D4C57EB259}"/>
              </a:ext>
            </a:extLst>
          </p:cNvPr>
          <p:cNvSpPr>
            <a:spLocks noGrp="1"/>
          </p:cNvSpPr>
          <p:nvPr>
            <p:ph type="body" idx="1" hasCustomPrompt="1"/>
          </p:nvPr>
        </p:nvSpPr>
        <p:spPr>
          <a:xfrm>
            <a:off x="7443315" y="996936"/>
            <a:ext cx="4027348" cy="1440000"/>
          </a:xfrm>
        </p:spPr>
        <p:txBody>
          <a:bodyPr anchor="t"/>
          <a:lstStyle>
            <a:lvl1pPr marL="0" indent="0">
              <a:buNone/>
              <a:defRPr sz="9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NN%</a:t>
            </a:r>
          </a:p>
        </p:txBody>
      </p:sp>
      <p:sp>
        <p:nvSpPr>
          <p:cNvPr id="8" name="Rectangle 7"/>
          <p:cNvSpPr/>
          <p:nvPr userDrawn="1"/>
        </p:nvSpPr>
        <p:spPr>
          <a:xfrm>
            <a:off x="-1" y="-374907"/>
            <a:ext cx="25200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9" name="ZoneTexte 8"/>
          <p:cNvSpPr txBox="1"/>
          <p:nvPr userDrawn="1"/>
        </p:nvSpPr>
        <p:spPr>
          <a:xfrm>
            <a:off x="841708"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s textes</a:t>
            </a:r>
            <a:endParaRPr lang="fr-FR" sz="1200" noProof="0" dirty="0"/>
          </a:p>
        </p:txBody>
      </p:sp>
      <p:sp>
        <p:nvSpPr>
          <p:cNvPr id="10" name="Rectangle 9"/>
          <p:cNvSpPr/>
          <p:nvPr userDrawn="1"/>
        </p:nvSpPr>
        <p:spPr>
          <a:xfrm>
            <a:off x="293702"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1" name="Rectangle 10"/>
          <p:cNvSpPr/>
          <p:nvPr userDrawn="1"/>
        </p:nvSpPr>
        <p:spPr>
          <a:xfrm>
            <a:off x="593137" y="-374907"/>
            <a:ext cx="252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Tree>
    <p:extLst>
      <p:ext uri="{BB962C8B-B14F-4D97-AF65-F5344CB8AC3E}">
        <p14:creationId xmlns:p14="http://schemas.microsoft.com/office/powerpoint/2010/main" val="1890990283"/>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uverture_Photo_TexteBlanc">
    <p:spTree>
      <p:nvGrpSpPr>
        <p:cNvPr id="1" name=""/>
        <p:cNvGrpSpPr/>
        <p:nvPr/>
      </p:nvGrpSpPr>
      <p:grpSpPr>
        <a:xfrm>
          <a:off x="0" y="0"/>
          <a:ext cx="0" cy="0"/>
          <a:chOff x="0" y="0"/>
          <a:chExt cx="0" cy="0"/>
        </a:xfrm>
      </p:grpSpPr>
      <p:sp>
        <p:nvSpPr>
          <p:cNvPr id="14" name="Espace réservé pour une image  2">
            <a:extLst>
              <a:ext uri="{FF2B5EF4-FFF2-40B4-BE49-F238E27FC236}">
                <a16:creationId xmlns:a16="http://schemas.microsoft.com/office/drawing/2014/main" id="{2BCE75D2-6C84-4F8F-9300-67E0175D0690}"/>
              </a:ext>
            </a:extLst>
          </p:cNvPr>
          <p:cNvSpPr>
            <a:spLocks noGrp="1"/>
          </p:cNvSpPr>
          <p:nvPr>
            <p:ph type="pic" idx="13"/>
          </p:nvPr>
        </p:nvSpPr>
        <p:spPr>
          <a:xfrm>
            <a:off x="0" y="0"/>
            <a:ext cx="11473200" cy="5417345"/>
          </a:xfrm>
          <a:solidFill>
            <a:schemeClr val="bg1">
              <a:lumMod val="95000"/>
            </a:schemeClr>
          </a:solidFill>
        </p:spPr>
        <p:txBody>
          <a:bodyPr anchor="t"/>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noProof="0"/>
              <a:t>Cliquez sur l'icône pour ajouter une image</a:t>
            </a:r>
            <a:endParaRPr lang="fr-FR" noProof="0" dirty="0"/>
          </a:p>
        </p:txBody>
      </p:sp>
      <p:sp>
        <p:nvSpPr>
          <p:cNvPr id="2" name="Titre 1">
            <a:extLst>
              <a:ext uri="{FF2B5EF4-FFF2-40B4-BE49-F238E27FC236}">
                <a16:creationId xmlns:a16="http://schemas.microsoft.com/office/drawing/2014/main" id="{50C5EE01-F973-4120-91B8-34CAA765DBA3}"/>
              </a:ext>
            </a:extLst>
          </p:cNvPr>
          <p:cNvSpPr>
            <a:spLocks noGrp="1"/>
          </p:cNvSpPr>
          <p:nvPr>
            <p:ph type="ctrTitle" hasCustomPrompt="1"/>
          </p:nvPr>
        </p:nvSpPr>
        <p:spPr>
          <a:xfrm>
            <a:off x="719556" y="788400"/>
            <a:ext cx="6120000" cy="1980000"/>
          </a:xfrm>
        </p:spPr>
        <p:txBody>
          <a:bodyPr anchor="b"/>
          <a:lstStyle>
            <a:lvl1pPr algn="l">
              <a:defRPr sz="4000" b="1">
                <a:solidFill>
                  <a:schemeClr val="bg1"/>
                </a:solidFill>
              </a:defRPr>
            </a:lvl1pPr>
          </a:lstStyle>
          <a:p>
            <a:r>
              <a:rPr lang="fr-FR" noProof="0" dirty="0"/>
              <a:t>Modifiez le style </a:t>
            </a:r>
            <a:br>
              <a:rPr lang="fr-FR" noProof="0" dirty="0"/>
            </a:br>
            <a:r>
              <a:rPr lang="fr-FR" noProof="0" dirty="0"/>
              <a:t>du titre</a:t>
            </a:r>
          </a:p>
        </p:txBody>
      </p:sp>
      <p:sp>
        <p:nvSpPr>
          <p:cNvPr id="3" name="Sous-titre 2">
            <a:extLst>
              <a:ext uri="{FF2B5EF4-FFF2-40B4-BE49-F238E27FC236}">
                <a16:creationId xmlns:a16="http://schemas.microsoft.com/office/drawing/2014/main" id="{40AEA671-FC71-4FFA-B81F-CABE73D6E490}"/>
              </a:ext>
            </a:extLst>
          </p:cNvPr>
          <p:cNvSpPr>
            <a:spLocks noGrp="1"/>
          </p:cNvSpPr>
          <p:nvPr>
            <p:ph type="subTitle" idx="1"/>
          </p:nvPr>
        </p:nvSpPr>
        <p:spPr>
          <a:xfrm>
            <a:off x="719556" y="3785955"/>
            <a:ext cx="5475216" cy="540000"/>
          </a:xfrm>
        </p:spPr>
        <p:txBody>
          <a:bodyPr anchor="t"/>
          <a:lstStyle>
            <a:lvl1pPr marL="0" indent="0" algn="l">
              <a:buNone/>
              <a:defRPr sz="1400" b="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noProof="0"/>
              <a:t>Modifier le style des sous-titres du masque</a:t>
            </a:r>
            <a:endParaRPr lang="fr-FR" noProof="0" dirty="0"/>
          </a:p>
        </p:txBody>
      </p:sp>
      <p:sp>
        <p:nvSpPr>
          <p:cNvPr id="7" name="Rectangle 6"/>
          <p:cNvSpPr/>
          <p:nvPr userDrawn="1"/>
        </p:nvSpPr>
        <p:spPr>
          <a:xfrm>
            <a:off x="-1" y="-374907"/>
            <a:ext cx="25200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8" name="ZoneTexte 7"/>
          <p:cNvSpPr txBox="1"/>
          <p:nvPr userDrawn="1"/>
        </p:nvSpPr>
        <p:spPr>
          <a:xfrm>
            <a:off x="545702"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s textes</a:t>
            </a:r>
            <a:endParaRPr lang="fr-FR" sz="1200" noProof="0" dirty="0"/>
          </a:p>
        </p:txBody>
      </p:sp>
      <p:sp>
        <p:nvSpPr>
          <p:cNvPr id="9" name="Rectangle 8"/>
          <p:cNvSpPr/>
          <p:nvPr userDrawn="1"/>
        </p:nvSpPr>
        <p:spPr>
          <a:xfrm>
            <a:off x="293702"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pic>
        <p:nvPicPr>
          <p:cNvPr id="15" name="Imag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4543" y="6021827"/>
            <a:ext cx="2705573" cy="371353"/>
          </a:xfrm>
          <a:prstGeom prst="rect">
            <a:avLst/>
          </a:prstGeom>
        </p:spPr>
      </p:pic>
      <p:sp>
        <p:nvSpPr>
          <p:cNvPr id="17" name="ZoneTexte 16"/>
          <p:cNvSpPr txBox="1"/>
          <p:nvPr userDrawn="1"/>
        </p:nvSpPr>
        <p:spPr>
          <a:xfrm>
            <a:off x="3101676" y="6039576"/>
            <a:ext cx="248584" cy="184666"/>
          </a:xfrm>
          <a:prstGeom prst="rect">
            <a:avLst/>
          </a:prstGeom>
          <a:noFill/>
        </p:spPr>
        <p:txBody>
          <a:bodyPr wrap="square" rtlCol="0">
            <a:spAutoFit/>
          </a:bodyPr>
          <a:lstStyle/>
          <a:p>
            <a:r>
              <a:rPr lang="fr-FR" sz="600" b="1" noProof="0" dirty="0">
                <a:solidFill>
                  <a:schemeClr val="tx2"/>
                </a:solidFill>
              </a:rPr>
              <a:t>*</a:t>
            </a:r>
            <a:endParaRPr lang="fr-FR" sz="1050" b="1" noProof="0" dirty="0">
              <a:solidFill>
                <a:schemeClr val="tx2"/>
              </a:solidFill>
            </a:endParaRPr>
          </a:p>
        </p:txBody>
      </p:sp>
      <p:sp>
        <p:nvSpPr>
          <p:cNvPr id="19" name="ZoneTexte 18"/>
          <p:cNvSpPr txBox="1"/>
          <p:nvPr userDrawn="1"/>
        </p:nvSpPr>
        <p:spPr>
          <a:xfrm rot="16200000">
            <a:off x="10855001" y="4732026"/>
            <a:ext cx="1396111" cy="169277"/>
          </a:xfrm>
          <a:prstGeom prst="rect">
            <a:avLst/>
          </a:prstGeom>
          <a:noFill/>
        </p:spPr>
        <p:txBody>
          <a:bodyPr wrap="square" rtlCol="0">
            <a:spAutoFit/>
          </a:bodyPr>
          <a:lstStyle/>
          <a:p>
            <a:r>
              <a:rPr lang="fr-FR" sz="500" b="0" kern="1200" noProof="0" dirty="0">
                <a:solidFill>
                  <a:schemeClr val="tx1"/>
                </a:solidFill>
                <a:effectLst/>
                <a:latin typeface="+mn-lt"/>
                <a:ea typeface="+mn-ea"/>
                <a:cs typeface="+mn-cs"/>
              </a:rPr>
              <a:t>* Le monde est tel que nous le façonnons.</a:t>
            </a:r>
            <a:endParaRPr lang="fr-FR" sz="500" b="0" noProof="0" dirty="0">
              <a:solidFill>
                <a:schemeClr val="tx1"/>
              </a:solidFill>
            </a:endParaRPr>
          </a:p>
        </p:txBody>
      </p:sp>
      <p:pic>
        <p:nvPicPr>
          <p:cNvPr id="20" name="Image 1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79180" y="5767514"/>
            <a:ext cx="2990850" cy="744855"/>
          </a:xfrm>
          <a:prstGeom prst="rect">
            <a:avLst/>
          </a:prstGeom>
        </p:spPr>
      </p:pic>
    </p:spTree>
    <p:extLst>
      <p:ext uri="{BB962C8B-B14F-4D97-AF65-F5344CB8AC3E}">
        <p14:creationId xmlns:p14="http://schemas.microsoft.com/office/powerpoint/2010/main" val="21429177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Image_&amp;Texte">
    <p:spTree>
      <p:nvGrpSpPr>
        <p:cNvPr id="1" name=""/>
        <p:cNvGrpSpPr/>
        <p:nvPr/>
      </p:nvGrpSpPr>
      <p:grpSpPr>
        <a:xfrm>
          <a:off x="0" y="0"/>
          <a:ext cx="0" cy="0"/>
          <a:chOff x="0" y="0"/>
          <a:chExt cx="0" cy="0"/>
        </a:xfrm>
      </p:grpSpPr>
      <p:sp>
        <p:nvSpPr>
          <p:cNvPr id="20" name="Espace réservé pour une image  2">
            <a:extLst>
              <a:ext uri="{FF2B5EF4-FFF2-40B4-BE49-F238E27FC236}">
                <a16:creationId xmlns:a16="http://schemas.microsoft.com/office/drawing/2014/main" id="{E71E3310-2B05-4AE1-AFDF-FED61D7DC815}"/>
              </a:ext>
            </a:extLst>
          </p:cNvPr>
          <p:cNvSpPr>
            <a:spLocks noGrp="1"/>
          </p:cNvSpPr>
          <p:nvPr>
            <p:ph type="pic" idx="15"/>
          </p:nvPr>
        </p:nvSpPr>
        <p:spPr>
          <a:xfrm>
            <a:off x="0" y="-1"/>
            <a:ext cx="12191999" cy="6105600"/>
          </a:xfr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noProof="0"/>
              <a:t>Cliquez sur l'icône pour ajouter une image</a:t>
            </a:r>
            <a:endParaRPr lang="fr-FR" noProof="0" dirty="0"/>
          </a:p>
        </p:txBody>
      </p:sp>
      <p:sp>
        <p:nvSpPr>
          <p:cNvPr id="4" name="Espace réservé de la date 3">
            <a:extLst>
              <a:ext uri="{FF2B5EF4-FFF2-40B4-BE49-F238E27FC236}">
                <a16:creationId xmlns:a16="http://schemas.microsoft.com/office/drawing/2014/main" id="{3716C531-2CFB-4E5B-8F66-A15176016CE5}"/>
              </a:ext>
            </a:extLst>
          </p:cNvPr>
          <p:cNvSpPr>
            <a:spLocks noGrp="1"/>
          </p:cNvSpPr>
          <p:nvPr>
            <p:ph type="dt" sz="half" idx="10"/>
          </p:nvPr>
        </p:nvSpPr>
        <p:spPr/>
        <p:txBody>
          <a:bodyPr/>
          <a:lstStyle>
            <a:lvl1pPr>
              <a:defRPr>
                <a:solidFill>
                  <a:schemeClr val="tx1"/>
                </a:solidFill>
              </a:defRPr>
            </a:lvl1pPr>
          </a:lstStyle>
          <a:p>
            <a:fld id="{9F495B3B-6EE2-4AFD-B6E6-866D981FAF33}" type="datetime1">
              <a:rPr lang="fr-FR" noProof="0" smtClean="0"/>
              <a:t>14/10/2021</a:t>
            </a:fld>
            <a:endParaRPr lang="fr-FR" noProof="0" dirty="0"/>
          </a:p>
        </p:txBody>
      </p:sp>
      <p:sp>
        <p:nvSpPr>
          <p:cNvPr id="5" name="Espace réservé du pied de page 4">
            <a:extLst>
              <a:ext uri="{FF2B5EF4-FFF2-40B4-BE49-F238E27FC236}">
                <a16:creationId xmlns:a16="http://schemas.microsoft.com/office/drawing/2014/main" id="{A0EF3019-6813-4BCE-8FD7-8BAD1DDCC6A4}"/>
              </a:ext>
            </a:extLst>
          </p:cNvPr>
          <p:cNvSpPr>
            <a:spLocks noGrp="1"/>
          </p:cNvSpPr>
          <p:nvPr>
            <p:ph type="ftr" sz="quarter" idx="11"/>
          </p:nvPr>
        </p:nvSpPr>
        <p:spPr/>
        <p:txBody>
          <a:bodyPr/>
          <a:lstStyle>
            <a:lvl1pPr>
              <a:defRPr>
                <a:solidFill>
                  <a:schemeClr val="tx1"/>
                </a:solidFill>
              </a:defRPr>
            </a:lvl1pPr>
          </a:lstStyle>
          <a:p>
            <a:r>
              <a:rPr lang="fr-FR" noProof="0"/>
              <a:t>Initiation à la méthode SAFe</a:t>
            </a:r>
            <a:endParaRPr lang="fr-FR" noProof="0" dirty="0"/>
          </a:p>
        </p:txBody>
      </p:sp>
      <p:sp>
        <p:nvSpPr>
          <p:cNvPr id="6" name="Espace réservé du numéro de diapositive 5">
            <a:extLst>
              <a:ext uri="{FF2B5EF4-FFF2-40B4-BE49-F238E27FC236}">
                <a16:creationId xmlns:a16="http://schemas.microsoft.com/office/drawing/2014/main" id="{083150F9-E599-47C6-B00B-9E9475158114}"/>
              </a:ext>
            </a:extLst>
          </p:cNvPr>
          <p:cNvSpPr>
            <a:spLocks noGrp="1"/>
          </p:cNvSpPr>
          <p:nvPr>
            <p:ph type="sldNum" sz="quarter" idx="12"/>
          </p:nvPr>
        </p:nvSpPr>
        <p:spPr/>
        <p:txBody>
          <a:bodyPr/>
          <a:lstStyle>
            <a:lvl1pPr>
              <a:defRPr>
                <a:solidFill>
                  <a:schemeClr val="tx1"/>
                </a:solidFill>
              </a:defRPr>
            </a:lvl1pPr>
          </a:lstStyle>
          <a:p>
            <a:fld id="{975A587B-5814-4D9B-9598-FE9CB954CB01}" type="slidenum">
              <a:rPr lang="fr-FR" noProof="0" smtClean="0"/>
              <a:pPr/>
              <a:t>‹N°›</a:t>
            </a:fld>
            <a:endParaRPr lang="fr-FR" noProof="0" dirty="0"/>
          </a:p>
        </p:txBody>
      </p:sp>
      <p:sp>
        <p:nvSpPr>
          <p:cNvPr id="7" name="Espace réservé du texte 8">
            <a:extLst>
              <a:ext uri="{FF2B5EF4-FFF2-40B4-BE49-F238E27FC236}">
                <a16:creationId xmlns:a16="http://schemas.microsoft.com/office/drawing/2014/main" id="{E6665D20-3F31-4A31-A265-30321D0FA876}"/>
              </a:ext>
            </a:extLst>
          </p:cNvPr>
          <p:cNvSpPr>
            <a:spLocks noGrp="1"/>
          </p:cNvSpPr>
          <p:nvPr>
            <p:ph type="body" sz="quarter" idx="14"/>
          </p:nvPr>
        </p:nvSpPr>
        <p:spPr>
          <a:xfrm>
            <a:off x="7442518" y="1200190"/>
            <a:ext cx="4028121" cy="2520000"/>
          </a:xfrm>
          <a:ln w="3175">
            <a:noFill/>
          </a:ln>
        </p:spPr>
        <p:txBody>
          <a:bodyPr lIns="0" tIns="0" rIns="0" bIns="0"/>
          <a:lstStyle>
            <a:lvl1pPr marL="0" indent="0">
              <a:buNone/>
              <a:defRPr sz="2600">
                <a:solidFill>
                  <a:schemeClr val="bg1"/>
                </a:solidFill>
              </a:defRPr>
            </a:lvl1pPr>
          </a:lstStyle>
          <a:p>
            <a:pPr lvl="0"/>
            <a:r>
              <a:rPr lang="fr-FR" noProof="0"/>
              <a:t>Modifier les styles du texte du masque</a:t>
            </a:r>
          </a:p>
          <a:p>
            <a:pPr lvl="1"/>
            <a:r>
              <a:rPr lang="fr-FR" noProof="0"/>
              <a:t>Deuxième niveau</a:t>
            </a:r>
          </a:p>
          <a:p>
            <a:pPr lvl="2"/>
            <a:r>
              <a:rPr lang="fr-FR" noProof="0"/>
              <a:t>Troisième niveau</a:t>
            </a:r>
          </a:p>
        </p:txBody>
      </p:sp>
      <p:sp>
        <p:nvSpPr>
          <p:cNvPr id="8" name="Rectangle 7"/>
          <p:cNvSpPr/>
          <p:nvPr userDrawn="1"/>
        </p:nvSpPr>
        <p:spPr>
          <a:xfrm>
            <a:off x="-1" y="-374907"/>
            <a:ext cx="25200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9" name="ZoneTexte 8"/>
          <p:cNvSpPr txBox="1"/>
          <p:nvPr userDrawn="1"/>
        </p:nvSpPr>
        <p:spPr>
          <a:xfrm>
            <a:off x="841708"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s textes</a:t>
            </a:r>
            <a:endParaRPr lang="fr-FR" sz="1200" noProof="0" dirty="0"/>
          </a:p>
        </p:txBody>
      </p:sp>
      <p:sp>
        <p:nvSpPr>
          <p:cNvPr id="10" name="Rectangle 9"/>
          <p:cNvSpPr/>
          <p:nvPr userDrawn="1"/>
        </p:nvSpPr>
        <p:spPr>
          <a:xfrm>
            <a:off x="293702"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1" name="Rectangle 10"/>
          <p:cNvSpPr/>
          <p:nvPr userDrawn="1"/>
        </p:nvSpPr>
        <p:spPr>
          <a:xfrm>
            <a:off x="593137" y="-374907"/>
            <a:ext cx="252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Tree>
    <p:extLst>
      <p:ext uri="{BB962C8B-B14F-4D97-AF65-F5344CB8AC3E}">
        <p14:creationId xmlns:p14="http://schemas.microsoft.com/office/powerpoint/2010/main" val="51041207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Citation">
    <p:spTree>
      <p:nvGrpSpPr>
        <p:cNvPr id="1" name=""/>
        <p:cNvGrpSpPr/>
        <p:nvPr/>
      </p:nvGrpSpPr>
      <p:grpSpPr>
        <a:xfrm>
          <a:off x="0" y="0"/>
          <a:ext cx="0" cy="0"/>
          <a:chOff x="0" y="0"/>
          <a:chExt cx="0" cy="0"/>
        </a:xfrm>
      </p:grpSpPr>
      <p:sp>
        <p:nvSpPr>
          <p:cNvPr id="9" name="Espace réservé du texte 8">
            <a:extLst>
              <a:ext uri="{FF2B5EF4-FFF2-40B4-BE49-F238E27FC236}">
                <a16:creationId xmlns:a16="http://schemas.microsoft.com/office/drawing/2014/main" id="{7BC41F0E-EC30-4D2A-AA16-7B987E32A160}"/>
              </a:ext>
            </a:extLst>
          </p:cNvPr>
          <p:cNvSpPr>
            <a:spLocks noGrp="1"/>
          </p:cNvSpPr>
          <p:nvPr>
            <p:ph type="body" sz="quarter" idx="13" hasCustomPrompt="1"/>
          </p:nvPr>
        </p:nvSpPr>
        <p:spPr>
          <a:xfrm>
            <a:off x="3387004" y="5061382"/>
            <a:ext cx="3030306" cy="720000"/>
          </a:xfrm>
        </p:spPr>
        <p:txBody>
          <a:bodyPr/>
          <a:lstStyle>
            <a:lvl1pPr marL="0" indent="0">
              <a:spcBef>
                <a:spcPts val="0"/>
              </a:spcBef>
              <a:buNone/>
              <a:defRPr sz="1200"/>
            </a:lvl1pPr>
            <a:lvl2pPr marL="0" indent="0">
              <a:spcBef>
                <a:spcPts val="0"/>
              </a:spcBef>
              <a:buFont typeface="Arial" panose="020B0604020202020204" pitchFamily="34" charset="0"/>
              <a:buNone/>
              <a:defRPr sz="1200"/>
            </a:lvl2pPr>
            <a:lvl3pPr>
              <a:spcBef>
                <a:spcPts val="0"/>
              </a:spcBef>
              <a:defRPr sz="1200"/>
            </a:lvl3pPr>
            <a:lvl4pPr>
              <a:spcBef>
                <a:spcPts val="0"/>
              </a:spcBef>
              <a:defRPr sz="1200"/>
            </a:lvl4pPr>
            <a:lvl5pPr>
              <a:spcBef>
                <a:spcPts val="0"/>
              </a:spcBef>
              <a:defRPr sz="1200"/>
            </a:lvl5pPr>
          </a:lstStyle>
          <a:p>
            <a:pPr lvl="0"/>
            <a:r>
              <a:rPr lang="fr-FR" noProof="0" dirty="0"/>
              <a:t>Modifier les styles du texte du masque</a:t>
            </a:r>
          </a:p>
          <a:p>
            <a:pPr lvl="1"/>
            <a:r>
              <a:rPr lang="fr-FR" noProof="0" dirty="0"/>
              <a:t>Deuxième niveau</a:t>
            </a:r>
          </a:p>
        </p:txBody>
      </p:sp>
      <p:sp>
        <p:nvSpPr>
          <p:cNvPr id="4" name="Espace réservé de la date 3">
            <a:extLst>
              <a:ext uri="{FF2B5EF4-FFF2-40B4-BE49-F238E27FC236}">
                <a16:creationId xmlns:a16="http://schemas.microsoft.com/office/drawing/2014/main" id="{3716C531-2CFB-4E5B-8F66-A15176016CE5}"/>
              </a:ext>
            </a:extLst>
          </p:cNvPr>
          <p:cNvSpPr>
            <a:spLocks noGrp="1"/>
          </p:cNvSpPr>
          <p:nvPr>
            <p:ph type="dt" sz="half" idx="10"/>
          </p:nvPr>
        </p:nvSpPr>
        <p:spPr/>
        <p:txBody>
          <a:bodyPr/>
          <a:lstStyle>
            <a:lvl1pPr>
              <a:defRPr>
                <a:solidFill>
                  <a:schemeClr val="tx1"/>
                </a:solidFill>
              </a:defRPr>
            </a:lvl1pPr>
          </a:lstStyle>
          <a:p>
            <a:fld id="{7842C625-5528-4BE8-B5D8-04DA5D8EBE93}" type="datetime1">
              <a:rPr lang="fr-FR" noProof="0" smtClean="0"/>
              <a:t>14/10/2021</a:t>
            </a:fld>
            <a:endParaRPr lang="fr-FR" noProof="0" dirty="0"/>
          </a:p>
        </p:txBody>
      </p:sp>
      <p:sp>
        <p:nvSpPr>
          <p:cNvPr id="5" name="Espace réservé du pied de page 4">
            <a:extLst>
              <a:ext uri="{FF2B5EF4-FFF2-40B4-BE49-F238E27FC236}">
                <a16:creationId xmlns:a16="http://schemas.microsoft.com/office/drawing/2014/main" id="{A0EF3019-6813-4BCE-8FD7-8BAD1DDCC6A4}"/>
              </a:ext>
            </a:extLst>
          </p:cNvPr>
          <p:cNvSpPr>
            <a:spLocks noGrp="1"/>
          </p:cNvSpPr>
          <p:nvPr>
            <p:ph type="ftr" sz="quarter" idx="11"/>
          </p:nvPr>
        </p:nvSpPr>
        <p:spPr/>
        <p:txBody>
          <a:bodyPr/>
          <a:lstStyle>
            <a:lvl1pPr>
              <a:defRPr>
                <a:solidFill>
                  <a:schemeClr val="tx1"/>
                </a:solidFill>
              </a:defRPr>
            </a:lvl1pPr>
          </a:lstStyle>
          <a:p>
            <a:r>
              <a:rPr lang="fr-FR" noProof="0"/>
              <a:t>Initiation à la méthode SAFe</a:t>
            </a:r>
            <a:endParaRPr lang="fr-FR" noProof="0" dirty="0"/>
          </a:p>
        </p:txBody>
      </p:sp>
      <p:sp>
        <p:nvSpPr>
          <p:cNvPr id="6" name="Espace réservé du numéro de diapositive 5">
            <a:extLst>
              <a:ext uri="{FF2B5EF4-FFF2-40B4-BE49-F238E27FC236}">
                <a16:creationId xmlns:a16="http://schemas.microsoft.com/office/drawing/2014/main" id="{083150F9-E599-47C6-B00B-9E9475158114}"/>
              </a:ext>
            </a:extLst>
          </p:cNvPr>
          <p:cNvSpPr>
            <a:spLocks noGrp="1"/>
          </p:cNvSpPr>
          <p:nvPr>
            <p:ph type="sldNum" sz="quarter" idx="12"/>
          </p:nvPr>
        </p:nvSpPr>
        <p:spPr/>
        <p:txBody>
          <a:bodyPr/>
          <a:lstStyle>
            <a:lvl1pPr>
              <a:defRPr>
                <a:solidFill>
                  <a:schemeClr val="tx1"/>
                </a:solidFill>
              </a:defRPr>
            </a:lvl1pPr>
          </a:lstStyle>
          <a:p>
            <a:fld id="{975A587B-5814-4D9B-9598-FE9CB954CB01}" type="slidenum">
              <a:rPr lang="fr-FR" noProof="0" smtClean="0"/>
              <a:pPr/>
              <a:t>‹N°›</a:t>
            </a:fld>
            <a:endParaRPr lang="fr-FR" noProof="0" dirty="0"/>
          </a:p>
        </p:txBody>
      </p:sp>
      <p:sp>
        <p:nvSpPr>
          <p:cNvPr id="11" name="Espace réservé du texte 8">
            <a:extLst>
              <a:ext uri="{FF2B5EF4-FFF2-40B4-BE49-F238E27FC236}">
                <a16:creationId xmlns:a16="http://schemas.microsoft.com/office/drawing/2014/main" id="{B2802C8B-B0EC-4743-AD22-84CA595D5982}"/>
              </a:ext>
            </a:extLst>
          </p:cNvPr>
          <p:cNvSpPr>
            <a:spLocks noGrp="1"/>
          </p:cNvSpPr>
          <p:nvPr>
            <p:ph type="body" sz="quarter" idx="14" hasCustomPrompt="1"/>
          </p:nvPr>
        </p:nvSpPr>
        <p:spPr>
          <a:xfrm>
            <a:off x="7442992" y="2209366"/>
            <a:ext cx="3960000" cy="2880000"/>
          </a:xfrm>
          <a:ln w="3175">
            <a:noFill/>
          </a:ln>
        </p:spPr>
        <p:txBody>
          <a:bodyPr lIns="0" tIns="0" rIns="0" bIns="0"/>
          <a:lstStyle>
            <a:lvl1pPr marL="0" indent="0">
              <a:buNone/>
              <a:defRPr sz="2600">
                <a:solidFill>
                  <a:schemeClr val="tx2"/>
                </a:solidFill>
              </a:defRPr>
            </a:lvl1pPr>
          </a:lstStyle>
          <a:p>
            <a:pPr lvl="0"/>
            <a:r>
              <a:rPr lang="fr-FR" noProof="0" dirty="0"/>
              <a:t>Modifier les styles du texte du masque</a:t>
            </a:r>
          </a:p>
        </p:txBody>
      </p:sp>
      <p:sp>
        <p:nvSpPr>
          <p:cNvPr id="12" name="Espace réservé pour une image  2">
            <a:extLst>
              <a:ext uri="{FF2B5EF4-FFF2-40B4-BE49-F238E27FC236}">
                <a16:creationId xmlns:a16="http://schemas.microsoft.com/office/drawing/2014/main" id="{9F49BC4E-DACB-4666-810C-5EFE8B6A173D}"/>
              </a:ext>
            </a:extLst>
          </p:cNvPr>
          <p:cNvSpPr>
            <a:spLocks noGrp="1"/>
          </p:cNvSpPr>
          <p:nvPr>
            <p:ph type="pic" idx="15"/>
          </p:nvPr>
        </p:nvSpPr>
        <p:spPr>
          <a:xfrm>
            <a:off x="3387004" y="1766339"/>
            <a:ext cx="2454996" cy="3179955"/>
          </a:xfr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noProof="0"/>
              <a:t>Cliquez sur l'icône pour ajouter une image</a:t>
            </a:r>
            <a:endParaRPr lang="fr-FR" noProof="0" dirty="0"/>
          </a:p>
        </p:txBody>
      </p:sp>
      <p:sp>
        <p:nvSpPr>
          <p:cNvPr id="13" name="Rectangle 12"/>
          <p:cNvSpPr/>
          <p:nvPr userDrawn="1"/>
        </p:nvSpPr>
        <p:spPr>
          <a:xfrm>
            <a:off x="-1" y="-374907"/>
            <a:ext cx="25200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4" name="ZoneTexte 13"/>
          <p:cNvSpPr txBox="1"/>
          <p:nvPr userDrawn="1"/>
        </p:nvSpPr>
        <p:spPr>
          <a:xfrm>
            <a:off x="545702"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s textes</a:t>
            </a:r>
            <a:endParaRPr lang="fr-FR" sz="1200" noProof="0" dirty="0"/>
          </a:p>
        </p:txBody>
      </p:sp>
      <p:sp>
        <p:nvSpPr>
          <p:cNvPr id="15" name="Rectangle 14"/>
          <p:cNvSpPr/>
          <p:nvPr userDrawn="1"/>
        </p:nvSpPr>
        <p:spPr>
          <a:xfrm>
            <a:off x="293702" y="-374907"/>
            <a:ext cx="252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21" name="Espace réservé du texte 2">
            <a:extLst>
              <a:ext uri="{FF2B5EF4-FFF2-40B4-BE49-F238E27FC236}">
                <a16:creationId xmlns:a16="http://schemas.microsoft.com/office/drawing/2014/main" id="{A3DB4B53-525D-494B-81B7-D3D6DB4A234D}"/>
              </a:ext>
            </a:extLst>
          </p:cNvPr>
          <p:cNvSpPr>
            <a:spLocks noGrp="1"/>
          </p:cNvSpPr>
          <p:nvPr>
            <p:ph type="body" idx="1" hasCustomPrompt="1"/>
          </p:nvPr>
        </p:nvSpPr>
        <p:spPr>
          <a:xfrm>
            <a:off x="719137" y="981120"/>
            <a:ext cx="10751504" cy="360000"/>
          </a:xfrm>
        </p:spPr>
        <p:txBody>
          <a:bodyPr anchor="t"/>
          <a:lstStyle>
            <a:lvl1pPr marL="0" indent="0">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Modifier les styles du texte du masque</a:t>
            </a:r>
          </a:p>
        </p:txBody>
      </p:sp>
      <p:sp>
        <p:nvSpPr>
          <p:cNvPr id="22" name="Titre 6">
            <a:extLst>
              <a:ext uri="{FF2B5EF4-FFF2-40B4-BE49-F238E27FC236}">
                <a16:creationId xmlns:a16="http://schemas.microsoft.com/office/drawing/2014/main" id="{B7A985A6-151F-4CB0-B805-7356FF1FA8E6}"/>
              </a:ext>
            </a:extLst>
          </p:cNvPr>
          <p:cNvSpPr>
            <a:spLocks noGrp="1"/>
          </p:cNvSpPr>
          <p:nvPr>
            <p:ph type="title"/>
          </p:nvPr>
        </p:nvSpPr>
        <p:spPr>
          <a:xfrm>
            <a:off x="719137" y="30480"/>
            <a:ext cx="10751503" cy="936000"/>
          </a:xfrm>
        </p:spPr>
        <p:txBody>
          <a:bodyPr anchor="b"/>
          <a:lstStyle>
            <a:lvl1pPr>
              <a:defRPr baseline="0"/>
            </a:lvl1pPr>
          </a:lstStyle>
          <a:p>
            <a:r>
              <a:rPr lang="fr-FR" noProof="0"/>
              <a:t>Modifiez le style du titre</a:t>
            </a:r>
            <a:endParaRPr lang="fr-FR" noProof="0" dirty="0"/>
          </a:p>
        </p:txBody>
      </p:sp>
    </p:spTree>
    <p:extLst>
      <p:ext uri="{BB962C8B-B14F-4D97-AF65-F5344CB8AC3E}">
        <p14:creationId xmlns:p14="http://schemas.microsoft.com/office/powerpoint/2010/main" val="2694303415"/>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Graphiques">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3716C531-2CFB-4E5B-8F66-A15176016CE5}"/>
              </a:ext>
            </a:extLst>
          </p:cNvPr>
          <p:cNvSpPr>
            <a:spLocks noGrp="1"/>
          </p:cNvSpPr>
          <p:nvPr>
            <p:ph type="dt" sz="half" idx="10"/>
          </p:nvPr>
        </p:nvSpPr>
        <p:spPr/>
        <p:txBody>
          <a:bodyPr/>
          <a:lstStyle>
            <a:lvl1pPr>
              <a:defRPr>
                <a:solidFill>
                  <a:schemeClr val="tx1"/>
                </a:solidFill>
              </a:defRPr>
            </a:lvl1pPr>
          </a:lstStyle>
          <a:p>
            <a:fld id="{32D91D41-88AF-4ADD-95D3-40D2C10E4FAB}" type="datetime1">
              <a:rPr lang="fr-FR" noProof="0" smtClean="0"/>
              <a:t>14/10/2021</a:t>
            </a:fld>
            <a:endParaRPr lang="fr-FR" noProof="0" dirty="0"/>
          </a:p>
        </p:txBody>
      </p:sp>
      <p:sp>
        <p:nvSpPr>
          <p:cNvPr id="5" name="Espace réservé du pied de page 4">
            <a:extLst>
              <a:ext uri="{FF2B5EF4-FFF2-40B4-BE49-F238E27FC236}">
                <a16:creationId xmlns:a16="http://schemas.microsoft.com/office/drawing/2014/main" id="{A0EF3019-6813-4BCE-8FD7-8BAD1DDCC6A4}"/>
              </a:ext>
            </a:extLst>
          </p:cNvPr>
          <p:cNvSpPr>
            <a:spLocks noGrp="1"/>
          </p:cNvSpPr>
          <p:nvPr>
            <p:ph type="ftr" sz="quarter" idx="11"/>
          </p:nvPr>
        </p:nvSpPr>
        <p:spPr/>
        <p:txBody>
          <a:bodyPr/>
          <a:lstStyle>
            <a:lvl1pPr>
              <a:defRPr>
                <a:solidFill>
                  <a:schemeClr val="tx1"/>
                </a:solidFill>
              </a:defRPr>
            </a:lvl1pPr>
          </a:lstStyle>
          <a:p>
            <a:r>
              <a:rPr lang="fr-FR" noProof="0"/>
              <a:t>Initiation à la méthode SAFe</a:t>
            </a:r>
            <a:endParaRPr lang="fr-FR" noProof="0" dirty="0"/>
          </a:p>
        </p:txBody>
      </p:sp>
      <p:sp>
        <p:nvSpPr>
          <p:cNvPr id="6" name="Espace réservé du numéro de diapositive 5">
            <a:extLst>
              <a:ext uri="{FF2B5EF4-FFF2-40B4-BE49-F238E27FC236}">
                <a16:creationId xmlns:a16="http://schemas.microsoft.com/office/drawing/2014/main" id="{083150F9-E599-47C6-B00B-9E9475158114}"/>
              </a:ext>
            </a:extLst>
          </p:cNvPr>
          <p:cNvSpPr>
            <a:spLocks noGrp="1"/>
          </p:cNvSpPr>
          <p:nvPr>
            <p:ph type="sldNum" sz="quarter" idx="12"/>
          </p:nvPr>
        </p:nvSpPr>
        <p:spPr/>
        <p:txBody>
          <a:bodyPr/>
          <a:lstStyle>
            <a:lvl1pPr>
              <a:defRPr>
                <a:solidFill>
                  <a:schemeClr val="tx1"/>
                </a:solidFill>
              </a:defRPr>
            </a:lvl1pPr>
          </a:lstStyle>
          <a:p>
            <a:fld id="{975A587B-5814-4D9B-9598-FE9CB954CB01}" type="slidenum">
              <a:rPr lang="fr-FR" noProof="0" smtClean="0"/>
              <a:pPr/>
              <a:t>‹N°›</a:t>
            </a:fld>
            <a:endParaRPr lang="fr-FR" noProof="0" dirty="0"/>
          </a:p>
        </p:txBody>
      </p:sp>
      <p:sp>
        <p:nvSpPr>
          <p:cNvPr id="3" name="Espace réservé du graphique 2">
            <a:extLst>
              <a:ext uri="{FF2B5EF4-FFF2-40B4-BE49-F238E27FC236}">
                <a16:creationId xmlns:a16="http://schemas.microsoft.com/office/drawing/2014/main" id="{D2014B7E-6734-44D5-8300-435BC39AD7F0}"/>
              </a:ext>
            </a:extLst>
          </p:cNvPr>
          <p:cNvSpPr>
            <a:spLocks noGrp="1"/>
          </p:cNvSpPr>
          <p:nvPr>
            <p:ph type="chart" sz="quarter" idx="13"/>
          </p:nvPr>
        </p:nvSpPr>
        <p:spPr>
          <a:xfrm>
            <a:off x="720000" y="2225675"/>
            <a:ext cx="3060000" cy="3420000"/>
          </a:xfrm>
          <a:solidFill>
            <a:schemeClr val="bg1">
              <a:lumMod val="95000"/>
            </a:schemeClr>
          </a:solidFill>
        </p:spPr>
        <p:txBody>
          <a:bodyPr anchor="ctr"/>
          <a:lstStyle>
            <a:lvl1pPr marL="0" indent="0" algn="ctr">
              <a:buNone/>
              <a:defRPr sz="1400" b="0"/>
            </a:lvl1pPr>
          </a:lstStyle>
          <a:p>
            <a:r>
              <a:rPr lang="fr-FR" noProof="0"/>
              <a:t>Cliquez sur l'icône pour ajouter un graphique</a:t>
            </a:r>
            <a:endParaRPr lang="fr-FR" noProof="0" dirty="0"/>
          </a:p>
        </p:txBody>
      </p:sp>
      <p:sp>
        <p:nvSpPr>
          <p:cNvPr id="12" name="Espace réservé du graphique 2">
            <a:extLst>
              <a:ext uri="{FF2B5EF4-FFF2-40B4-BE49-F238E27FC236}">
                <a16:creationId xmlns:a16="http://schemas.microsoft.com/office/drawing/2014/main" id="{B9357445-E95E-4AFF-B86A-E38E02B9F6D7}"/>
              </a:ext>
            </a:extLst>
          </p:cNvPr>
          <p:cNvSpPr>
            <a:spLocks noGrp="1"/>
          </p:cNvSpPr>
          <p:nvPr>
            <p:ph type="chart" sz="quarter" idx="14"/>
          </p:nvPr>
        </p:nvSpPr>
        <p:spPr>
          <a:xfrm>
            <a:off x="3912780" y="2225675"/>
            <a:ext cx="3060000" cy="3420000"/>
          </a:xfrm>
          <a:solidFill>
            <a:schemeClr val="bg1">
              <a:lumMod val="95000"/>
            </a:schemeClr>
          </a:solidFill>
        </p:spPr>
        <p:txBody>
          <a:bodyPr anchor="ctr"/>
          <a:lstStyle>
            <a:lvl1pPr marL="0" indent="0" algn="ctr">
              <a:buNone/>
              <a:defRPr sz="1400" b="0"/>
            </a:lvl1pPr>
          </a:lstStyle>
          <a:p>
            <a:r>
              <a:rPr lang="fr-FR" noProof="0"/>
              <a:t>Cliquez sur l'icône pour ajouter un graphique</a:t>
            </a:r>
            <a:endParaRPr lang="fr-FR" noProof="0" dirty="0"/>
          </a:p>
        </p:txBody>
      </p:sp>
      <p:sp>
        <p:nvSpPr>
          <p:cNvPr id="13" name="Espace réservé du graphique 2">
            <a:extLst>
              <a:ext uri="{FF2B5EF4-FFF2-40B4-BE49-F238E27FC236}">
                <a16:creationId xmlns:a16="http://schemas.microsoft.com/office/drawing/2014/main" id="{89F97BC6-921E-4E5F-B035-247667FE4A89}"/>
              </a:ext>
            </a:extLst>
          </p:cNvPr>
          <p:cNvSpPr>
            <a:spLocks noGrp="1"/>
          </p:cNvSpPr>
          <p:nvPr>
            <p:ph type="chart" sz="quarter" idx="15"/>
          </p:nvPr>
        </p:nvSpPr>
        <p:spPr>
          <a:xfrm>
            <a:off x="7364641" y="2225675"/>
            <a:ext cx="4105999" cy="3420000"/>
          </a:xfrm>
          <a:solidFill>
            <a:schemeClr val="bg1">
              <a:lumMod val="95000"/>
            </a:schemeClr>
          </a:solidFill>
        </p:spPr>
        <p:txBody>
          <a:bodyPr anchor="ctr"/>
          <a:lstStyle>
            <a:lvl1pPr marL="0" indent="0" algn="ctr">
              <a:buNone/>
              <a:defRPr sz="1400" b="0"/>
            </a:lvl1pPr>
          </a:lstStyle>
          <a:p>
            <a:r>
              <a:rPr lang="fr-FR" noProof="0"/>
              <a:t>Cliquez sur l'icône pour ajouter un graphique</a:t>
            </a:r>
            <a:endParaRPr lang="fr-FR" noProof="0" dirty="0"/>
          </a:p>
        </p:txBody>
      </p:sp>
      <p:sp>
        <p:nvSpPr>
          <p:cNvPr id="11" name="Rectangle 10"/>
          <p:cNvSpPr/>
          <p:nvPr userDrawn="1"/>
        </p:nvSpPr>
        <p:spPr>
          <a:xfrm>
            <a:off x="-1" y="-680434"/>
            <a:ext cx="25200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4" name="Rectangle 13"/>
          <p:cNvSpPr/>
          <p:nvPr userDrawn="1"/>
        </p:nvSpPr>
        <p:spPr>
          <a:xfrm>
            <a:off x="293702" y="-680434"/>
            <a:ext cx="252000" cy="25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5" name="Rectangle 14"/>
          <p:cNvSpPr/>
          <p:nvPr userDrawn="1"/>
        </p:nvSpPr>
        <p:spPr>
          <a:xfrm>
            <a:off x="0" y="-374907"/>
            <a:ext cx="252000" cy="252000"/>
          </a:xfrm>
          <a:prstGeom prst="rect">
            <a:avLst/>
          </a:prstGeom>
          <a:solidFill>
            <a:srgbClr val="007A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6" name="Rectangle 15"/>
          <p:cNvSpPr/>
          <p:nvPr userDrawn="1"/>
        </p:nvSpPr>
        <p:spPr>
          <a:xfrm>
            <a:off x="299435" y="-374857"/>
            <a:ext cx="252000" cy="252000"/>
          </a:xfrm>
          <a:prstGeom prst="rect">
            <a:avLst/>
          </a:prstGeom>
          <a:solidFill>
            <a:srgbClr val="32A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7" name="Rectangle 16"/>
          <p:cNvSpPr/>
          <p:nvPr userDrawn="1"/>
        </p:nvSpPr>
        <p:spPr>
          <a:xfrm>
            <a:off x="593138" y="-374857"/>
            <a:ext cx="252000" cy="252000"/>
          </a:xfrm>
          <a:prstGeom prst="rect">
            <a:avLst/>
          </a:prstGeom>
          <a:solidFill>
            <a:srgbClr val="8C1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8" name="Rectangle 17"/>
          <p:cNvSpPr/>
          <p:nvPr userDrawn="1"/>
        </p:nvSpPr>
        <p:spPr>
          <a:xfrm>
            <a:off x="892573" y="-374857"/>
            <a:ext cx="252000" cy="252000"/>
          </a:xfrm>
          <a:prstGeom prst="rect">
            <a:avLst/>
          </a:prstGeom>
          <a:solidFill>
            <a:srgbClr val="EA55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9" name="Rectangle 18"/>
          <p:cNvSpPr/>
          <p:nvPr userDrawn="1"/>
        </p:nvSpPr>
        <p:spPr>
          <a:xfrm>
            <a:off x="1187264" y="-374907"/>
            <a:ext cx="252000" cy="252000"/>
          </a:xfrm>
          <a:prstGeom prst="rect">
            <a:avLst/>
          </a:prstGeom>
          <a:solidFill>
            <a:srgbClr val="00A1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20" name="Rectangle 19"/>
          <p:cNvSpPr/>
          <p:nvPr userDrawn="1"/>
        </p:nvSpPr>
        <p:spPr>
          <a:xfrm>
            <a:off x="1486699" y="-374907"/>
            <a:ext cx="252000" cy="252000"/>
          </a:xfrm>
          <a:prstGeom prst="rect">
            <a:avLst/>
          </a:prstGeom>
          <a:solidFill>
            <a:srgbClr val="95C1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21" name="ZoneTexte 20"/>
          <p:cNvSpPr txBox="1"/>
          <p:nvPr userDrawn="1"/>
        </p:nvSpPr>
        <p:spPr>
          <a:xfrm>
            <a:off x="1733619"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s graphiques</a:t>
            </a:r>
            <a:endParaRPr lang="fr-FR" sz="1200" noProof="0" dirty="0"/>
          </a:p>
        </p:txBody>
      </p:sp>
      <p:sp>
        <p:nvSpPr>
          <p:cNvPr id="23" name="Rectangle 22"/>
          <p:cNvSpPr/>
          <p:nvPr userDrawn="1"/>
        </p:nvSpPr>
        <p:spPr>
          <a:xfrm>
            <a:off x="595025" y="-680434"/>
            <a:ext cx="252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24" name="Rectangle 23"/>
          <p:cNvSpPr/>
          <p:nvPr userDrawn="1"/>
        </p:nvSpPr>
        <p:spPr>
          <a:xfrm>
            <a:off x="888728" y="-680434"/>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25" name="Rectangle 24"/>
          <p:cNvSpPr/>
          <p:nvPr userDrawn="1"/>
        </p:nvSpPr>
        <p:spPr>
          <a:xfrm>
            <a:off x="1185791" y="-680434"/>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30" name="Espace réservé du texte 2">
            <a:extLst>
              <a:ext uri="{FF2B5EF4-FFF2-40B4-BE49-F238E27FC236}">
                <a16:creationId xmlns:a16="http://schemas.microsoft.com/office/drawing/2014/main" id="{A3DB4B53-525D-494B-81B7-D3D6DB4A234D}"/>
              </a:ext>
            </a:extLst>
          </p:cNvPr>
          <p:cNvSpPr>
            <a:spLocks noGrp="1"/>
          </p:cNvSpPr>
          <p:nvPr>
            <p:ph type="body" idx="1" hasCustomPrompt="1"/>
          </p:nvPr>
        </p:nvSpPr>
        <p:spPr>
          <a:xfrm>
            <a:off x="719137" y="981120"/>
            <a:ext cx="10751504" cy="360000"/>
          </a:xfrm>
        </p:spPr>
        <p:txBody>
          <a:bodyPr anchor="t"/>
          <a:lstStyle>
            <a:lvl1pPr marL="0" indent="0">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Modifier les styles du texte du masque</a:t>
            </a:r>
          </a:p>
        </p:txBody>
      </p:sp>
      <p:sp>
        <p:nvSpPr>
          <p:cNvPr id="31" name="Titre 6">
            <a:extLst>
              <a:ext uri="{FF2B5EF4-FFF2-40B4-BE49-F238E27FC236}">
                <a16:creationId xmlns:a16="http://schemas.microsoft.com/office/drawing/2014/main" id="{B7A985A6-151F-4CB0-B805-7356FF1FA8E6}"/>
              </a:ext>
            </a:extLst>
          </p:cNvPr>
          <p:cNvSpPr>
            <a:spLocks noGrp="1"/>
          </p:cNvSpPr>
          <p:nvPr>
            <p:ph type="title"/>
          </p:nvPr>
        </p:nvSpPr>
        <p:spPr>
          <a:xfrm>
            <a:off x="719137" y="30480"/>
            <a:ext cx="10751503" cy="936000"/>
          </a:xfrm>
        </p:spPr>
        <p:txBody>
          <a:bodyPr anchor="b"/>
          <a:lstStyle>
            <a:lvl1pPr>
              <a:defRPr baseline="0"/>
            </a:lvl1pPr>
          </a:lstStyle>
          <a:p>
            <a:r>
              <a:rPr lang="fr-FR" noProof="0"/>
              <a:t>Modifiez le style du titre</a:t>
            </a:r>
            <a:endParaRPr lang="fr-FR" noProof="0" dirty="0"/>
          </a:p>
        </p:txBody>
      </p:sp>
    </p:spTree>
    <p:extLst>
      <p:ext uri="{BB962C8B-B14F-4D97-AF65-F5344CB8AC3E}">
        <p14:creationId xmlns:p14="http://schemas.microsoft.com/office/powerpoint/2010/main" val="17623496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Tableau">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3716C531-2CFB-4E5B-8F66-A15176016CE5}"/>
              </a:ext>
            </a:extLst>
          </p:cNvPr>
          <p:cNvSpPr>
            <a:spLocks noGrp="1"/>
          </p:cNvSpPr>
          <p:nvPr>
            <p:ph type="dt" sz="half" idx="10"/>
          </p:nvPr>
        </p:nvSpPr>
        <p:spPr/>
        <p:txBody>
          <a:bodyPr/>
          <a:lstStyle>
            <a:lvl1pPr>
              <a:defRPr>
                <a:solidFill>
                  <a:schemeClr val="tx1"/>
                </a:solidFill>
              </a:defRPr>
            </a:lvl1pPr>
          </a:lstStyle>
          <a:p>
            <a:fld id="{F352FA04-9462-4086-8F85-F59BAAF346BC}" type="datetime1">
              <a:rPr lang="fr-FR" noProof="0" smtClean="0"/>
              <a:t>14/10/2021</a:t>
            </a:fld>
            <a:endParaRPr lang="fr-FR" noProof="0" dirty="0"/>
          </a:p>
        </p:txBody>
      </p:sp>
      <p:sp>
        <p:nvSpPr>
          <p:cNvPr id="5" name="Espace réservé du pied de page 4">
            <a:extLst>
              <a:ext uri="{FF2B5EF4-FFF2-40B4-BE49-F238E27FC236}">
                <a16:creationId xmlns:a16="http://schemas.microsoft.com/office/drawing/2014/main" id="{A0EF3019-6813-4BCE-8FD7-8BAD1DDCC6A4}"/>
              </a:ext>
            </a:extLst>
          </p:cNvPr>
          <p:cNvSpPr>
            <a:spLocks noGrp="1"/>
          </p:cNvSpPr>
          <p:nvPr>
            <p:ph type="ftr" sz="quarter" idx="11"/>
          </p:nvPr>
        </p:nvSpPr>
        <p:spPr/>
        <p:txBody>
          <a:bodyPr/>
          <a:lstStyle>
            <a:lvl1pPr>
              <a:defRPr>
                <a:solidFill>
                  <a:schemeClr val="tx1"/>
                </a:solidFill>
              </a:defRPr>
            </a:lvl1pPr>
          </a:lstStyle>
          <a:p>
            <a:r>
              <a:rPr lang="fr-FR" noProof="0"/>
              <a:t>Initiation à la méthode SAFe</a:t>
            </a:r>
            <a:endParaRPr lang="fr-FR" noProof="0" dirty="0"/>
          </a:p>
        </p:txBody>
      </p:sp>
      <p:sp>
        <p:nvSpPr>
          <p:cNvPr id="6" name="Espace réservé du numéro de diapositive 5">
            <a:extLst>
              <a:ext uri="{FF2B5EF4-FFF2-40B4-BE49-F238E27FC236}">
                <a16:creationId xmlns:a16="http://schemas.microsoft.com/office/drawing/2014/main" id="{083150F9-E599-47C6-B00B-9E9475158114}"/>
              </a:ext>
            </a:extLst>
          </p:cNvPr>
          <p:cNvSpPr>
            <a:spLocks noGrp="1"/>
          </p:cNvSpPr>
          <p:nvPr>
            <p:ph type="sldNum" sz="quarter" idx="12"/>
          </p:nvPr>
        </p:nvSpPr>
        <p:spPr/>
        <p:txBody>
          <a:bodyPr/>
          <a:lstStyle>
            <a:lvl1pPr>
              <a:defRPr>
                <a:solidFill>
                  <a:schemeClr val="tx1"/>
                </a:solidFill>
              </a:defRPr>
            </a:lvl1pPr>
          </a:lstStyle>
          <a:p>
            <a:fld id="{975A587B-5814-4D9B-9598-FE9CB954CB01}" type="slidenum">
              <a:rPr lang="fr-FR" noProof="0" smtClean="0"/>
              <a:pPr/>
              <a:t>‹N°›</a:t>
            </a:fld>
            <a:endParaRPr lang="fr-FR" noProof="0" dirty="0"/>
          </a:p>
        </p:txBody>
      </p:sp>
      <p:sp>
        <p:nvSpPr>
          <p:cNvPr id="11" name="Espace réservé du tableau 10">
            <a:extLst>
              <a:ext uri="{FF2B5EF4-FFF2-40B4-BE49-F238E27FC236}">
                <a16:creationId xmlns:a16="http://schemas.microsoft.com/office/drawing/2014/main" id="{B75B041A-8574-4B31-93E5-C721F617AC08}"/>
              </a:ext>
            </a:extLst>
          </p:cNvPr>
          <p:cNvSpPr>
            <a:spLocks noGrp="1"/>
          </p:cNvSpPr>
          <p:nvPr>
            <p:ph type="tbl" sz="quarter" idx="13"/>
          </p:nvPr>
        </p:nvSpPr>
        <p:spPr>
          <a:xfrm>
            <a:off x="725488" y="1772921"/>
            <a:ext cx="10741025" cy="1944368"/>
          </a:xfrm>
          <a:solidFill>
            <a:schemeClr val="bg1">
              <a:lumMod val="95000"/>
            </a:schemeClr>
          </a:solidFill>
        </p:spPr>
        <p:txBody>
          <a:bodyPr anchor="ctr"/>
          <a:lstStyle>
            <a:lvl1pPr marL="0" indent="0" algn="ctr">
              <a:buNone/>
              <a:defRPr sz="1400" b="0"/>
            </a:lvl1pPr>
          </a:lstStyle>
          <a:p>
            <a:r>
              <a:rPr lang="fr-FR" noProof="0"/>
              <a:t>Cliquez sur l'icône pour ajouter un tableau</a:t>
            </a:r>
            <a:endParaRPr lang="fr-FR" noProof="0" dirty="0"/>
          </a:p>
        </p:txBody>
      </p:sp>
      <p:sp>
        <p:nvSpPr>
          <p:cNvPr id="8" name="Rectangle 7"/>
          <p:cNvSpPr/>
          <p:nvPr userDrawn="1"/>
        </p:nvSpPr>
        <p:spPr>
          <a:xfrm>
            <a:off x="-1" y="-374907"/>
            <a:ext cx="25200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9" name="ZoneTexte 8"/>
          <p:cNvSpPr txBox="1"/>
          <p:nvPr userDrawn="1"/>
        </p:nvSpPr>
        <p:spPr>
          <a:xfrm>
            <a:off x="841708"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s tableaux</a:t>
            </a:r>
            <a:endParaRPr lang="fr-FR" sz="1200" noProof="0" dirty="0"/>
          </a:p>
        </p:txBody>
      </p:sp>
      <p:sp>
        <p:nvSpPr>
          <p:cNvPr id="12" name="Rectangle 11"/>
          <p:cNvSpPr/>
          <p:nvPr userDrawn="1"/>
        </p:nvSpPr>
        <p:spPr>
          <a:xfrm>
            <a:off x="293702" y="-374907"/>
            <a:ext cx="252000" cy="25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3" name="Rectangle 12"/>
          <p:cNvSpPr/>
          <p:nvPr userDrawn="1"/>
        </p:nvSpPr>
        <p:spPr>
          <a:xfrm>
            <a:off x="593137" y="-374907"/>
            <a:ext cx="252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8" name="Espace réservé du texte 2">
            <a:extLst>
              <a:ext uri="{FF2B5EF4-FFF2-40B4-BE49-F238E27FC236}">
                <a16:creationId xmlns:a16="http://schemas.microsoft.com/office/drawing/2014/main" id="{A3DB4B53-525D-494B-81B7-D3D6DB4A234D}"/>
              </a:ext>
            </a:extLst>
          </p:cNvPr>
          <p:cNvSpPr>
            <a:spLocks noGrp="1"/>
          </p:cNvSpPr>
          <p:nvPr>
            <p:ph type="body" idx="1" hasCustomPrompt="1"/>
          </p:nvPr>
        </p:nvSpPr>
        <p:spPr>
          <a:xfrm>
            <a:off x="719137" y="981120"/>
            <a:ext cx="10751504" cy="360000"/>
          </a:xfrm>
        </p:spPr>
        <p:txBody>
          <a:bodyPr anchor="t"/>
          <a:lstStyle>
            <a:lvl1pPr marL="0" indent="0">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Modifier les styles du texte du masque</a:t>
            </a:r>
          </a:p>
        </p:txBody>
      </p:sp>
      <p:sp>
        <p:nvSpPr>
          <p:cNvPr id="19" name="Titre 6">
            <a:extLst>
              <a:ext uri="{FF2B5EF4-FFF2-40B4-BE49-F238E27FC236}">
                <a16:creationId xmlns:a16="http://schemas.microsoft.com/office/drawing/2014/main" id="{B7A985A6-151F-4CB0-B805-7356FF1FA8E6}"/>
              </a:ext>
            </a:extLst>
          </p:cNvPr>
          <p:cNvSpPr>
            <a:spLocks noGrp="1"/>
          </p:cNvSpPr>
          <p:nvPr>
            <p:ph type="title"/>
          </p:nvPr>
        </p:nvSpPr>
        <p:spPr>
          <a:xfrm>
            <a:off x="719137" y="30480"/>
            <a:ext cx="10751503" cy="936000"/>
          </a:xfrm>
        </p:spPr>
        <p:txBody>
          <a:bodyPr anchor="b"/>
          <a:lstStyle>
            <a:lvl1pPr>
              <a:defRPr baseline="0"/>
            </a:lvl1pPr>
          </a:lstStyle>
          <a:p>
            <a:r>
              <a:rPr lang="fr-FR" noProof="0"/>
              <a:t>Modifiez le style du titre</a:t>
            </a:r>
            <a:endParaRPr lang="fr-FR" noProof="0" dirty="0"/>
          </a:p>
        </p:txBody>
      </p:sp>
      <p:sp>
        <p:nvSpPr>
          <p:cNvPr id="21" name="Espace réservé du tableau 10">
            <a:extLst>
              <a:ext uri="{FF2B5EF4-FFF2-40B4-BE49-F238E27FC236}">
                <a16:creationId xmlns:a16="http://schemas.microsoft.com/office/drawing/2014/main" id="{B75B041A-8574-4B31-93E5-C721F617AC08}"/>
              </a:ext>
            </a:extLst>
          </p:cNvPr>
          <p:cNvSpPr>
            <a:spLocks noGrp="1"/>
          </p:cNvSpPr>
          <p:nvPr>
            <p:ph type="tbl" sz="quarter" idx="14"/>
          </p:nvPr>
        </p:nvSpPr>
        <p:spPr>
          <a:xfrm>
            <a:off x="735648" y="3942718"/>
            <a:ext cx="10741025" cy="1944368"/>
          </a:xfrm>
          <a:solidFill>
            <a:schemeClr val="bg1">
              <a:lumMod val="95000"/>
            </a:schemeClr>
          </a:solidFill>
        </p:spPr>
        <p:txBody>
          <a:bodyPr anchor="ctr"/>
          <a:lstStyle>
            <a:lvl1pPr marL="0" indent="0" algn="ctr">
              <a:buNone/>
              <a:defRPr sz="1400" b="0"/>
            </a:lvl1pPr>
          </a:lstStyle>
          <a:p>
            <a:r>
              <a:rPr lang="fr-FR" noProof="0"/>
              <a:t>Cliquez sur l'icône pour ajouter un tableau</a:t>
            </a:r>
            <a:endParaRPr lang="fr-FR" noProof="0" dirty="0"/>
          </a:p>
        </p:txBody>
      </p:sp>
    </p:spTree>
    <p:extLst>
      <p:ext uri="{BB962C8B-B14F-4D97-AF65-F5344CB8AC3E}">
        <p14:creationId xmlns:p14="http://schemas.microsoft.com/office/powerpoint/2010/main" val="35832219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9_Contacts">
    <p:spTree>
      <p:nvGrpSpPr>
        <p:cNvPr id="1" name=""/>
        <p:cNvGrpSpPr/>
        <p:nvPr/>
      </p:nvGrpSpPr>
      <p:grpSpPr>
        <a:xfrm>
          <a:off x="0" y="0"/>
          <a:ext cx="0" cy="0"/>
          <a:chOff x="0" y="0"/>
          <a:chExt cx="0" cy="0"/>
        </a:xfrm>
      </p:grpSpPr>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p:txBody>
          <a:bodyPr/>
          <a:lstStyle>
            <a:lvl1pPr>
              <a:defRPr>
                <a:solidFill>
                  <a:schemeClr val="tx1"/>
                </a:solidFill>
              </a:defRPr>
            </a:lvl1pPr>
          </a:lstStyle>
          <a:p>
            <a:fld id="{156C62D9-21E5-4C09-ADB3-11EAFDBFB8E6}" type="datetime1">
              <a:rPr lang="fr-FR" noProof="0" smtClean="0"/>
              <a:t>14/10/2021</a:t>
            </a:fld>
            <a:endParaRPr lang="fr-FR" noProof="0" dirty="0"/>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p:txBody>
          <a:bodyPr/>
          <a:lstStyle>
            <a:lvl1pPr>
              <a:defRPr>
                <a:solidFill>
                  <a:schemeClr val="tx1"/>
                </a:solidFill>
              </a:defRPr>
            </a:lvl1pPr>
          </a:lstStyle>
          <a:p>
            <a:r>
              <a:rPr lang="fr-FR" noProof="0"/>
              <a:t>Initiation à la méthode SAFe</a:t>
            </a:r>
            <a:endParaRPr lang="fr-FR" noProof="0"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lvl1pPr>
              <a:defRPr>
                <a:solidFill>
                  <a:schemeClr val="tx1"/>
                </a:solidFill>
              </a:defRPr>
            </a:lvl1pPr>
          </a:lstStyle>
          <a:p>
            <a:fld id="{975A587B-5814-4D9B-9598-FE9CB954CB01}" type="slidenum">
              <a:rPr lang="fr-FR" noProof="0" smtClean="0"/>
              <a:pPr/>
              <a:t>‹N°›</a:t>
            </a:fld>
            <a:endParaRPr lang="fr-FR" noProof="0" dirty="0"/>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1669256" y="2609850"/>
            <a:ext cx="2159952" cy="1080000"/>
          </a:xfrm>
        </p:spPr>
        <p:txBody>
          <a:bodyPr/>
          <a:lstStyle>
            <a:lvl1pPr marL="0" indent="0">
              <a:spcBef>
                <a:spcPts val="0"/>
              </a:spcBef>
              <a:spcAft>
                <a:spcPts val="0"/>
              </a:spcAft>
              <a:buNone/>
              <a:defRPr sz="1200"/>
            </a:lvl1pPr>
            <a:lvl2pPr marL="0" indent="0">
              <a:spcBef>
                <a:spcPts val="0"/>
              </a:spcBef>
              <a:spcAft>
                <a:spcPts val="0"/>
              </a:spcAft>
              <a:buFont typeface="Arial" panose="020B0604020202020204" pitchFamily="34" charset="0"/>
              <a:buNone/>
              <a:defRPr sz="1200"/>
            </a:lvl2pPr>
            <a:lvl3pPr marL="538163" indent="0">
              <a:spcBef>
                <a:spcPts val="0"/>
              </a:spcBef>
              <a:buFont typeface="Arial" panose="020B0604020202020204" pitchFamily="34" charset="0"/>
              <a:buNone/>
              <a:defRPr sz="1200"/>
            </a:lvl3pPr>
            <a:lvl4pPr marL="538163" indent="0">
              <a:spcBef>
                <a:spcPts val="0"/>
              </a:spcBef>
              <a:buFont typeface="Arial" panose="020B0604020202020204" pitchFamily="34" charset="0"/>
              <a:buNone/>
              <a:defRPr sz="1200"/>
            </a:lvl4pPr>
            <a:lvl5pPr marL="198000" indent="0">
              <a:spcBef>
                <a:spcPts val="0"/>
              </a:spcBef>
              <a:buFont typeface="Arial" panose="020B0604020202020204" pitchFamily="34" charset="0"/>
              <a:buNone/>
              <a:defRPr sz="1200"/>
            </a:lvl5pPr>
          </a:lstStyle>
          <a:p>
            <a:pPr lvl="0"/>
            <a:r>
              <a:rPr lang="fr-FR" noProof="0" dirty="0"/>
              <a:t>Modifier les styles du texte du masque</a:t>
            </a:r>
          </a:p>
          <a:p>
            <a:pPr lvl="1"/>
            <a:r>
              <a:rPr lang="fr-FR" noProof="0" dirty="0"/>
              <a:t>Deuxième niveau</a:t>
            </a:r>
          </a:p>
        </p:txBody>
      </p:sp>
      <p:sp>
        <p:nvSpPr>
          <p:cNvPr id="13" name="Espace réservé pour une image  2">
            <a:extLst>
              <a:ext uri="{FF2B5EF4-FFF2-40B4-BE49-F238E27FC236}">
                <a16:creationId xmlns:a16="http://schemas.microsoft.com/office/drawing/2014/main" id="{5BED94BE-DD75-4C1E-B01B-60AB1E40CB7E}"/>
              </a:ext>
            </a:extLst>
          </p:cNvPr>
          <p:cNvSpPr>
            <a:spLocks noGrp="1"/>
          </p:cNvSpPr>
          <p:nvPr>
            <p:ph type="pic" idx="1"/>
          </p:nvPr>
        </p:nvSpPr>
        <p:spPr>
          <a:xfrm>
            <a:off x="721227" y="2539344"/>
            <a:ext cx="720000" cy="1025387"/>
          </a:xfr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noProof="0"/>
              <a:t>Cliquez sur l'icône pour ajouter une image</a:t>
            </a:r>
            <a:endParaRPr lang="fr-FR" noProof="0" dirty="0"/>
          </a:p>
        </p:txBody>
      </p:sp>
      <p:cxnSp>
        <p:nvCxnSpPr>
          <p:cNvPr id="14" name="Connecteur droit 13">
            <a:extLst>
              <a:ext uri="{FF2B5EF4-FFF2-40B4-BE49-F238E27FC236}">
                <a16:creationId xmlns:a16="http://schemas.microsoft.com/office/drawing/2014/main" id="{58A1500B-D2DF-4999-AD43-F723055563B0}"/>
              </a:ext>
            </a:extLst>
          </p:cNvPr>
          <p:cNvCxnSpPr>
            <a:cxnSpLocks/>
          </p:cNvCxnSpPr>
          <p:nvPr userDrawn="1"/>
        </p:nvCxnSpPr>
        <p:spPr>
          <a:xfrm>
            <a:off x="719138" y="2173289"/>
            <a:ext cx="72151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Espace réservé du texte 10">
            <a:extLst>
              <a:ext uri="{FF2B5EF4-FFF2-40B4-BE49-F238E27FC236}">
                <a16:creationId xmlns:a16="http://schemas.microsoft.com/office/drawing/2014/main" id="{C876B217-9621-42D1-8A29-7EBFCB884D52}"/>
              </a:ext>
            </a:extLst>
          </p:cNvPr>
          <p:cNvSpPr>
            <a:spLocks noGrp="1"/>
          </p:cNvSpPr>
          <p:nvPr>
            <p:ph type="body" sz="quarter" idx="14" hasCustomPrompt="1"/>
          </p:nvPr>
        </p:nvSpPr>
        <p:spPr>
          <a:xfrm>
            <a:off x="5491162" y="2609850"/>
            <a:ext cx="2159952" cy="1080000"/>
          </a:xfrm>
        </p:spPr>
        <p:txBody>
          <a:bodyPr/>
          <a:lstStyle>
            <a:lvl1pPr marL="0" indent="0">
              <a:spcBef>
                <a:spcPts val="0"/>
              </a:spcBef>
              <a:spcAft>
                <a:spcPts val="0"/>
              </a:spcAft>
              <a:buNone/>
              <a:defRPr sz="1200"/>
            </a:lvl1pPr>
            <a:lvl2pPr marL="0" indent="0">
              <a:spcBef>
                <a:spcPts val="0"/>
              </a:spcBef>
              <a:spcAft>
                <a:spcPts val="0"/>
              </a:spcAft>
              <a:buFont typeface="Arial" panose="020B0604020202020204" pitchFamily="34" charset="0"/>
              <a:buNone/>
              <a:defRPr sz="1200"/>
            </a:lvl2pPr>
            <a:lvl3pPr marL="538163" indent="0">
              <a:spcBef>
                <a:spcPts val="0"/>
              </a:spcBef>
              <a:spcAft>
                <a:spcPts val="0"/>
              </a:spcAft>
              <a:buFont typeface="Arial" panose="020B0604020202020204" pitchFamily="34" charset="0"/>
              <a:buNone/>
              <a:defRPr sz="1200"/>
            </a:lvl3pPr>
            <a:lvl4pPr marL="538163" indent="0">
              <a:spcBef>
                <a:spcPts val="0"/>
              </a:spcBef>
              <a:buFont typeface="Arial" panose="020B0604020202020204" pitchFamily="34" charset="0"/>
              <a:buNone/>
              <a:defRPr sz="1200"/>
            </a:lvl4pPr>
            <a:lvl5pPr marL="198000" indent="0">
              <a:spcBef>
                <a:spcPts val="0"/>
              </a:spcBef>
              <a:buFont typeface="Arial" panose="020B0604020202020204" pitchFamily="34" charset="0"/>
              <a:buNone/>
              <a:defRPr sz="1200"/>
            </a:lvl5pPr>
          </a:lstStyle>
          <a:p>
            <a:pPr lvl="0"/>
            <a:r>
              <a:rPr lang="fr-FR" noProof="0" dirty="0"/>
              <a:t>Modifier les styles du texte du masque</a:t>
            </a:r>
          </a:p>
          <a:p>
            <a:pPr lvl="1"/>
            <a:r>
              <a:rPr lang="fr-FR" noProof="0" dirty="0"/>
              <a:t>Deuxième niveau</a:t>
            </a:r>
          </a:p>
          <a:p>
            <a:pPr lvl="2"/>
            <a:endParaRPr lang="fr-FR" noProof="0" dirty="0"/>
          </a:p>
        </p:txBody>
      </p:sp>
      <p:sp>
        <p:nvSpPr>
          <p:cNvPr id="16" name="Espace réservé pour une image  2">
            <a:extLst>
              <a:ext uri="{FF2B5EF4-FFF2-40B4-BE49-F238E27FC236}">
                <a16:creationId xmlns:a16="http://schemas.microsoft.com/office/drawing/2014/main" id="{75CC39B0-0E8B-4CE2-B9AD-73D04280452F}"/>
              </a:ext>
            </a:extLst>
          </p:cNvPr>
          <p:cNvSpPr>
            <a:spLocks noGrp="1"/>
          </p:cNvSpPr>
          <p:nvPr>
            <p:ph type="pic" idx="15"/>
          </p:nvPr>
        </p:nvSpPr>
        <p:spPr>
          <a:xfrm>
            <a:off x="4543133" y="2539344"/>
            <a:ext cx="720000" cy="1025387"/>
          </a:xfrm>
          <a:solidFill>
            <a:schemeClr val="bg1">
              <a:lumMod val="95000"/>
            </a:schemeClr>
          </a:solidFill>
        </p:spPr>
        <p:txBody>
          <a:bodyPr anchor="ctr"/>
          <a:lstStyle>
            <a:lvl1pPr marL="0" marR="0" indent="0" algn="ctr" defTabSz="914400" rtl="0" eaLnBrk="1" fontAlgn="auto" latinLnBrk="0" hangingPunct="1">
              <a:lnSpc>
                <a:spcPct val="100000"/>
              </a:lnSpc>
              <a:spcBef>
                <a:spcPts val="0"/>
              </a:spcBef>
              <a:spcAft>
                <a:spcPts val="0"/>
              </a:spcAft>
              <a:buClrTx/>
              <a:buSzPct val="90000"/>
              <a:buFont typeface="Tahoma" panose="020B0604030504040204" pitchFamily="34" charset="0"/>
              <a:buNone/>
              <a:tabLst/>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0"/>
              </a:spcBef>
              <a:spcAft>
                <a:spcPts val="0"/>
              </a:spcAft>
              <a:buClrTx/>
              <a:buSzPct val="90000"/>
              <a:buFont typeface="Tahoma" panose="020B0604030504040204" pitchFamily="34" charset="0"/>
              <a:buNone/>
              <a:tabLst/>
              <a:defRPr/>
            </a:pPr>
            <a:r>
              <a:rPr lang="fr-FR" noProof="0"/>
              <a:t>Cliquez sur l'icône pour ajouter une image</a:t>
            </a:r>
            <a:endParaRPr lang="fr-FR" noProof="0" dirty="0"/>
          </a:p>
        </p:txBody>
      </p:sp>
      <p:cxnSp>
        <p:nvCxnSpPr>
          <p:cNvPr id="17" name="Connecteur droit 16">
            <a:extLst>
              <a:ext uri="{FF2B5EF4-FFF2-40B4-BE49-F238E27FC236}">
                <a16:creationId xmlns:a16="http://schemas.microsoft.com/office/drawing/2014/main" id="{D34B360F-4240-4975-83EB-12C71F3BB999}"/>
              </a:ext>
            </a:extLst>
          </p:cNvPr>
          <p:cNvCxnSpPr>
            <a:cxnSpLocks/>
          </p:cNvCxnSpPr>
          <p:nvPr userDrawn="1"/>
        </p:nvCxnSpPr>
        <p:spPr>
          <a:xfrm>
            <a:off x="4541044" y="2173289"/>
            <a:ext cx="72151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Rectangle 20"/>
          <p:cNvSpPr/>
          <p:nvPr userDrawn="1"/>
        </p:nvSpPr>
        <p:spPr>
          <a:xfrm>
            <a:off x="-1" y="-374907"/>
            <a:ext cx="25200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22" name="ZoneTexte 21"/>
          <p:cNvSpPr txBox="1"/>
          <p:nvPr userDrawn="1"/>
        </p:nvSpPr>
        <p:spPr>
          <a:xfrm>
            <a:off x="545702"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s textes</a:t>
            </a:r>
            <a:endParaRPr lang="fr-FR" sz="1200" noProof="0" dirty="0"/>
          </a:p>
        </p:txBody>
      </p:sp>
      <p:sp>
        <p:nvSpPr>
          <p:cNvPr id="23" name="Rectangle 22"/>
          <p:cNvSpPr/>
          <p:nvPr userDrawn="1"/>
        </p:nvSpPr>
        <p:spPr>
          <a:xfrm>
            <a:off x="293702" y="-374907"/>
            <a:ext cx="252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29" name="Titre 6">
            <a:extLst>
              <a:ext uri="{FF2B5EF4-FFF2-40B4-BE49-F238E27FC236}">
                <a16:creationId xmlns:a16="http://schemas.microsoft.com/office/drawing/2014/main" id="{B7A985A6-151F-4CB0-B805-7356FF1FA8E6}"/>
              </a:ext>
            </a:extLst>
          </p:cNvPr>
          <p:cNvSpPr>
            <a:spLocks noGrp="1"/>
          </p:cNvSpPr>
          <p:nvPr>
            <p:ph type="title"/>
          </p:nvPr>
        </p:nvSpPr>
        <p:spPr>
          <a:xfrm>
            <a:off x="719137" y="30480"/>
            <a:ext cx="10751503" cy="936000"/>
          </a:xfrm>
        </p:spPr>
        <p:txBody>
          <a:bodyPr anchor="b"/>
          <a:lstStyle>
            <a:lvl1pPr>
              <a:defRPr baseline="0"/>
            </a:lvl1pPr>
          </a:lstStyle>
          <a:p>
            <a:r>
              <a:rPr lang="fr-FR" noProof="0"/>
              <a:t>Modifiez le style du titre</a:t>
            </a:r>
            <a:endParaRPr lang="fr-FR" noProof="0" dirty="0"/>
          </a:p>
        </p:txBody>
      </p:sp>
    </p:spTree>
    <p:extLst>
      <p:ext uri="{BB962C8B-B14F-4D97-AF65-F5344CB8AC3E}">
        <p14:creationId xmlns:p14="http://schemas.microsoft.com/office/powerpoint/2010/main" val="28959209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0_QuatrièmedeCouverture">
    <p:spTree>
      <p:nvGrpSpPr>
        <p:cNvPr id="1" name=""/>
        <p:cNvGrpSpPr/>
        <p:nvPr/>
      </p:nvGrpSpPr>
      <p:grpSpPr>
        <a:xfrm>
          <a:off x="0" y="0"/>
          <a:ext cx="0" cy="0"/>
          <a:chOff x="0" y="0"/>
          <a:chExt cx="0" cy="0"/>
        </a:xfrm>
      </p:grpSpPr>
      <p:pic>
        <p:nvPicPr>
          <p:cNvPr id="12" name="Imag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1473201" cy="6105596"/>
          </a:xfrm>
          <a:prstGeom prst="rect">
            <a:avLst/>
          </a:prstGeom>
        </p:spPr>
      </p:pic>
      <p:sp>
        <p:nvSpPr>
          <p:cNvPr id="5" name="Espace réservé de la date 4">
            <a:extLst>
              <a:ext uri="{FF2B5EF4-FFF2-40B4-BE49-F238E27FC236}">
                <a16:creationId xmlns:a16="http://schemas.microsoft.com/office/drawing/2014/main" id="{18CABD3B-4902-4044-AF74-8BB4B6303E47}"/>
              </a:ext>
            </a:extLst>
          </p:cNvPr>
          <p:cNvSpPr>
            <a:spLocks noGrp="1"/>
          </p:cNvSpPr>
          <p:nvPr>
            <p:ph type="dt" sz="half" idx="10"/>
          </p:nvPr>
        </p:nvSpPr>
        <p:spPr/>
        <p:txBody>
          <a:bodyPr/>
          <a:lstStyle>
            <a:lvl1pPr>
              <a:defRPr>
                <a:solidFill>
                  <a:schemeClr val="tx1"/>
                </a:solidFill>
              </a:defRPr>
            </a:lvl1pPr>
          </a:lstStyle>
          <a:p>
            <a:fld id="{FEE19471-2F51-4A94-86AF-910DC267596D}" type="datetime1">
              <a:rPr lang="fr-FR" noProof="0" smtClean="0"/>
              <a:t>14/10/2021</a:t>
            </a:fld>
            <a:endParaRPr lang="fr-FR" noProof="0" dirty="0"/>
          </a:p>
        </p:txBody>
      </p:sp>
      <p:sp>
        <p:nvSpPr>
          <p:cNvPr id="6" name="Espace réservé du pied de page 5">
            <a:extLst>
              <a:ext uri="{FF2B5EF4-FFF2-40B4-BE49-F238E27FC236}">
                <a16:creationId xmlns:a16="http://schemas.microsoft.com/office/drawing/2014/main" id="{DB1F0DAE-4269-48DD-BA61-9040EF637F29}"/>
              </a:ext>
            </a:extLst>
          </p:cNvPr>
          <p:cNvSpPr>
            <a:spLocks noGrp="1"/>
          </p:cNvSpPr>
          <p:nvPr>
            <p:ph type="ftr" sz="quarter" idx="11"/>
          </p:nvPr>
        </p:nvSpPr>
        <p:spPr/>
        <p:txBody>
          <a:bodyPr/>
          <a:lstStyle>
            <a:lvl1pPr>
              <a:defRPr>
                <a:solidFill>
                  <a:schemeClr val="tx1"/>
                </a:solidFill>
              </a:defRPr>
            </a:lvl1pPr>
          </a:lstStyle>
          <a:p>
            <a:r>
              <a:rPr lang="fr-FR" noProof="0"/>
              <a:t>Initiation à la méthode SAFe</a:t>
            </a:r>
            <a:endParaRPr lang="fr-FR" noProof="0" dirty="0"/>
          </a:p>
        </p:txBody>
      </p:sp>
      <p:sp>
        <p:nvSpPr>
          <p:cNvPr id="7" name="Espace réservé du numéro de diapositive 6">
            <a:extLst>
              <a:ext uri="{FF2B5EF4-FFF2-40B4-BE49-F238E27FC236}">
                <a16:creationId xmlns:a16="http://schemas.microsoft.com/office/drawing/2014/main" id="{CF4E83E7-4CF8-40EA-B56F-05E4A503D6F8}"/>
              </a:ext>
            </a:extLst>
          </p:cNvPr>
          <p:cNvSpPr>
            <a:spLocks noGrp="1"/>
          </p:cNvSpPr>
          <p:nvPr>
            <p:ph type="sldNum" sz="quarter" idx="12"/>
          </p:nvPr>
        </p:nvSpPr>
        <p:spPr/>
        <p:txBody>
          <a:bodyPr/>
          <a:lstStyle>
            <a:lvl1pPr>
              <a:defRPr>
                <a:solidFill>
                  <a:schemeClr val="tx1"/>
                </a:solidFill>
              </a:defRPr>
            </a:lvl1pPr>
          </a:lstStyle>
          <a:p>
            <a:fld id="{975A587B-5814-4D9B-9598-FE9CB954CB01}" type="slidenum">
              <a:rPr lang="fr-FR" noProof="0" smtClean="0"/>
              <a:pPr/>
              <a:t>‹N°›</a:t>
            </a:fld>
            <a:endParaRPr lang="fr-FR" noProof="0" dirty="0"/>
          </a:p>
        </p:txBody>
      </p:sp>
      <p:sp>
        <p:nvSpPr>
          <p:cNvPr id="18" name="ZoneTexte 17"/>
          <p:cNvSpPr txBox="1"/>
          <p:nvPr userDrawn="1"/>
        </p:nvSpPr>
        <p:spPr>
          <a:xfrm>
            <a:off x="252000"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s textes</a:t>
            </a:r>
            <a:endParaRPr lang="fr-FR" sz="1200" noProof="0" dirty="0"/>
          </a:p>
        </p:txBody>
      </p:sp>
      <p:sp>
        <p:nvSpPr>
          <p:cNvPr id="21" name="Rectangle 20"/>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38" name="Titre 1">
            <a:extLst>
              <a:ext uri="{FF2B5EF4-FFF2-40B4-BE49-F238E27FC236}">
                <a16:creationId xmlns:a16="http://schemas.microsoft.com/office/drawing/2014/main" id="{2A05F2E9-0514-4CF2-B6ED-CD31C493C13E}"/>
              </a:ext>
            </a:extLst>
          </p:cNvPr>
          <p:cNvSpPr>
            <a:spLocks noGrp="1"/>
          </p:cNvSpPr>
          <p:nvPr>
            <p:ph type="title"/>
          </p:nvPr>
        </p:nvSpPr>
        <p:spPr>
          <a:xfrm>
            <a:off x="718623" y="1706796"/>
            <a:ext cx="7806811" cy="612000"/>
          </a:xfrm>
        </p:spPr>
        <p:txBody>
          <a:bodyPr anchor="t"/>
          <a:lstStyle>
            <a:lvl1pPr>
              <a:defRPr sz="3200" b="1">
                <a:solidFill>
                  <a:schemeClr val="bg1"/>
                </a:solidFill>
              </a:defRPr>
            </a:lvl1pPr>
          </a:lstStyle>
          <a:p>
            <a:r>
              <a:rPr lang="fr-FR" noProof="0"/>
              <a:t>Modifiez le style du titre</a:t>
            </a:r>
            <a:endParaRPr lang="fr-FR" noProof="0" dirty="0"/>
          </a:p>
        </p:txBody>
      </p:sp>
      <p:sp>
        <p:nvSpPr>
          <p:cNvPr id="39" name="Espace réservé du contenu 2">
            <a:extLst>
              <a:ext uri="{FF2B5EF4-FFF2-40B4-BE49-F238E27FC236}">
                <a16:creationId xmlns:a16="http://schemas.microsoft.com/office/drawing/2014/main" id="{D2F2C921-3C6C-48BB-816E-2BA34238BA53}"/>
              </a:ext>
            </a:extLst>
          </p:cNvPr>
          <p:cNvSpPr>
            <a:spLocks noGrp="1"/>
          </p:cNvSpPr>
          <p:nvPr>
            <p:ph idx="1" hasCustomPrompt="1"/>
          </p:nvPr>
        </p:nvSpPr>
        <p:spPr>
          <a:xfrm>
            <a:off x="719931" y="3290094"/>
            <a:ext cx="2844000" cy="1080000"/>
          </a:xfrm>
        </p:spPr>
        <p:txBody>
          <a:bodyPr/>
          <a:lstStyle>
            <a:lvl1pPr marL="0" indent="0">
              <a:spcBef>
                <a:spcPts val="0"/>
              </a:spcBef>
              <a:buNone/>
              <a:defRPr sz="800" b="0">
                <a:solidFill>
                  <a:schemeClr val="bg1"/>
                </a:solidFill>
              </a:defRPr>
            </a:lvl1pPr>
            <a:lvl2pPr marL="0" indent="0">
              <a:spcBef>
                <a:spcPts val="0"/>
              </a:spcBef>
              <a:buFont typeface="Arial" panose="020B0604020202020204" pitchFamily="34" charset="0"/>
              <a:buNone/>
              <a:defRPr sz="800" b="0">
                <a:solidFill>
                  <a:schemeClr val="bg1"/>
                </a:solidFill>
              </a:defRPr>
            </a:lvl2pPr>
            <a:lvl3pPr marL="538163" indent="0">
              <a:spcBef>
                <a:spcPts val="0"/>
              </a:spcBef>
              <a:buFont typeface="Arial" panose="020B0604020202020204" pitchFamily="34" charset="0"/>
              <a:buNone/>
              <a:defRPr sz="800" b="0"/>
            </a:lvl3pPr>
            <a:lvl4pPr marL="538163" indent="0">
              <a:spcBef>
                <a:spcPts val="0"/>
              </a:spcBef>
              <a:buFont typeface="Arial" panose="020B0604020202020204" pitchFamily="34" charset="0"/>
              <a:buNone/>
              <a:defRPr sz="800" b="0"/>
            </a:lvl4pPr>
            <a:lvl5pPr marL="198000" indent="0">
              <a:spcBef>
                <a:spcPts val="0"/>
              </a:spcBef>
              <a:buFont typeface="Arial" panose="020B0604020202020204" pitchFamily="34" charset="0"/>
              <a:buNone/>
              <a:defRPr sz="800" b="0"/>
            </a:lvl5pPr>
            <a:lvl6pPr>
              <a:defRPr sz="2000"/>
            </a:lvl6pPr>
            <a:lvl7pPr>
              <a:defRPr sz="2000"/>
            </a:lvl7pPr>
            <a:lvl8pPr>
              <a:defRPr sz="2000"/>
            </a:lvl8pPr>
            <a:lvl9pPr>
              <a:defRPr sz="2000"/>
            </a:lvl9pPr>
          </a:lstStyle>
          <a:p>
            <a:pPr lvl="0"/>
            <a:r>
              <a:rPr lang="fr-FR" noProof="0" dirty="0"/>
              <a:t>Modifier les styles du texte du masque</a:t>
            </a:r>
          </a:p>
          <a:p>
            <a:pPr lvl="1"/>
            <a:r>
              <a:rPr lang="fr-FR" noProof="0" dirty="0"/>
              <a:t>Deuxième niveau</a:t>
            </a:r>
          </a:p>
        </p:txBody>
      </p:sp>
      <p:cxnSp>
        <p:nvCxnSpPr>
          <p:cNvPr id="48" name="Connecteur droit 47">
            <a:extLst>
              <a:ext uri="{FF2B5EF4-FFF2-40B4-BE49-F238E27FC236}">
                <a16:creationId xmlns:a16="http://schemas.microsoft.com/office/drawing/2014/main" id="{8832A72E-DA14-460B-8E61-E5027E89EF4F}"/>
              </a:ext>
            </a:extLst>
          </p:cNvPr>
          <p:cNvCxnSpPr>
            <a:cxnSpLocks/>
          </p:cNvCxnSpPr>
          <p:nvPr userDrawn="1"/>
        </p:nvCxnSpPr>
        <p:spPr>
          <a:xfrm>
            <a:off x="719138" y="2512219"/>
            <a:ext cx="721518" cy="0"/>
          </a:xfrm>
          <a:prstGeom prst="line">
            <a:avLst/>
          </a:prstGeom>
          <a:noFill/>
          <a:ln w="38100" cap="flat" cmpd="sng" algn="ctr">
            <a:solidFill>
              <a:schemeClr val="bg1"/>
            </a:solidFill>
            <a:prstDash val="solid"/>
            <a:miter lim="800000"/>
          </a:ln>
          <a:effectLst/>
        </p:spPr>
      </p:cxnSp>
    </p:spTree>
    <p:extLst>
      <p:ext uri="{BB962C8B-B14F-4D97-AF65-F5344CB8AC3E}">
        <p14:creationId xmlns:p14="http://schemas.microsoft.com/office/powerpoint/2010/main" val="3110054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uverture_Photo_TexteRouge ">
    <p:spTree>
      <p:nvGrpSpPr>
        <p:cNvPr id="1" name=""/>
        <p:cNvGrpSpPr/>
        <p:nvPr/>
      </p:nvGrpSpPr>
      <p:grpSpPr>
        <a:xfrm>
          <a:off x="0" y="0"/>
          <a:ext cx="0" cy="0"/>
          <a:chOff x="0" y="0"/>
          <a:chExt cx="0" cy="0"/>
        </a:xfrm>
      </p:grpSpPr>
      <p:sp>
        <p:nvSpPr>
          <p:cNvPr id="14" name="Espace réservé pour une image  2">
            <a:extLst>
              <a:ext uri="{FF2B5EF4-FFF2-40B4-BE49-F238E27FC236}">
                <a16:creationId xmlns:a16="http://schemas.microsoft.com/office/drawing/2014/main" id="{2BCE75D2-6C84-4F8F-9300-67E0175D0690}"/>
              </a:ext>
            </a:extLst>
          </p:cNvPr>
          <p:cNvSpPr>
            <a:spLocks noGrp="1"/>
          </p:cNvSpPr>
          <p:nvPr>
            <p:ph type="pic" idx="13"/>
          </p:nvPr>
        </p:nvSpPr>
        <p:spPr>
          <a:xfrm>
            <a:off x="0" y="0"/>
            <a:ext cx="11473200" cy="5417345"/>
          </a:xfrm>
          <a:solidFill>
            <a:schemeClr val="bg1">
              <a:lumMod val="95000"/>
            </a:schemeClr>
          </a:solidFill>
        </p:spPr>
        <p:txBody>
          <a:bodyPr anchor="t"/>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noProof="0"/>
              <a:t>Cliquez sur l'icône pour ajouter une image</a:t>
            </a:r>
            <a:endParaRPr lang="fr-FR" noProof="0" dirty="0"/>
          </a:p>
        </p:txBody>
      </p:sp>
      <p:sp>
        <p:nvSpPr>
          <p:cNvPr id="2" name="Titre 1">
            <a:extLst>
              <a:ext uri="{FF2B5EF4-FFF2-40B4-BE49-F238E27FC236}">
                <a16:creationId xmlns:a16="http://schemas.microsoft.com/office/drawing/2014/main" id="{50C5EE01-F973-4120-91B8-34CAA765DBA3}"/>
              </a:ext>
            </a:extLst>
          </p:cNvPr>
          <p:cNvSpPr>
            <a:spLocks noGrp="1"/>
          </p:cNvSpPr>
          <p:nvPr>
            <p:ph type="ctrTitle" hasCustomPrompt="1"/>
          </p:nvPr>
        </p:nvSpPr>
        <p:spPr>
          <a:xfrm>
            <a:off x="719555" y="787079"/>
            <a:ext cx="6120000" cy="1980000"/>
          </a:xfrm>
        </p:spPr>
        <p:txBody>
          <a:bodyPr anchor="b"/>
          <a:lstStyle>
            <a:lvl1pPr algn="l">
              <a:defRPr sz="4000" b="1">
                <a:solidFill>
                  <a:schemeClr val="tx2"/>
                </a:solidFill>
              </a:defRPr>
            </a:lvl1pPr>
          </a:lstStyle>
          <a:p>
            <a:r>
              <a:rPr lang="fr-FR" noProof="0" dirty="0"/>
              <a:t>Modifiez le style </a:t>
            </a:r>
            <a:br>
              <a:rPr lang="fr-FR" noProof="0" dirty="0"/>
            </a:br>
            <a:r>
              <a:rPr lang="fr-FR" noProof="0" dirty="0"/>
              <a:t>du titre</a:t>
            </a:r>
          </a:p>
        </p:txBody>
      </p:sp>
      <p:sp>
        <p:nvSpPr>
          <p:cNvPr id="3" name="Sous-titre 2">
            <a:extLst>
              <a:ext uri="{FF2B5EF4-FFF2-40B4-BE49-F238E27FC236}">
                <a16:creationId xmlns:a16="http://schemas.microsoft.com/office/drawing/2014/main" id="{40AEA671-FC71-4FFA-B81F-CABE73D6E490}"/>
              </a:ext>
            </a:extLst>
          </p:cNvPr>
          <p:cNvSpPr>
            <a:spLocks noGrp="1"/>
          </p:cNvSpPr>
          <p:nvPr>
            <p:ph type="subTitle" idx="1"/>
          </p:nvPr>
        </p:nvSpPr>
        <p:spPr>
          <a:xfrm>
            <a:off x="719555" y="3785955"/>
            <a:ext cx="5475215" cy="540000"/>
          </a:xfrm>
        </p:spPr>
        <p:txBody>
          <a:bodyPr anchor="t"/>
          <a:lstStyle>
            <a:lvl1pPr marL="0" indent="0" algn="l">
              <a:buNone/>
              <a:defRPr sz="14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noProof="0"/>
              <a:t>Modifier le style des sous-titres du masque</a:t>
            </a:r>
            <a:endParaRPr lang="fr-FR" noProof="0" dirty="0"/>
          </a:p>
        </p:txBody>
      </p:sp>
      <p:sp>
        <p:nvSpPr>
          <p:cNvPr id="7" name="Rectangle 6"/>
          <p:cNvSpPr/>
          <p:nvPr userDrawn="1"/>
        </p:nvSpPr>
        <p:spPr>
          <a:xfrm>
            <a:off x="-1" y="-374907"/>
            <a:ext cx="25200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8" name="ZoneTexte 7"/>
          <p:cNvSpPr txBox="1"/>
          <p:nvPr userDrawn="1"/>
        </p:nvSpPr>
        <p:spPr>
          <a:xfrm>
            <a:off x="545702"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s textes</a:t>
            </a:r>
            <a:endParaRPr lang="fr-FR" sz="1200" noProof="0" dirty="0"/>
          </a:p>
        </p:txBody>
      </p:sp>
      <p:sp>
        <p:nvSpPr>
          <p:cNvPr id="9" name="Rectangle 8"/>
          <p:cNvSpPr/>
          <p:nvPr userDrawn="1"/>
        </p:nvSpPr>
        <p:spPr>
          <a:xfrm>
            <a:off x="293702"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pic>
        <p:nvPicPr>
          <p:cNvPr id="15" name="Imag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4543" y="6021827"/>
            <a:ext cx="2705573" cy="371353"/>
          </a:xfrm>
          <a:prstGeom prst="rect">
            <a:avLst/>
          </a:prstGeom>
        </p:spPr>
      </p:pic>
      <p:sp>
        <p:nvSpPr>
          <p:cNvPr id="13" name="ZoneTexte 12"/>
          <p:cNvSpPr txBox="1"/>
          <p:nvPr userDrawn="1"/>
        </p:nvSpPr>
        <p:spPr>
          <a:xfrm>
            <a:off x="3101676" y="6039576"/>
            <a:ext cx="248584" cy="184666"/>
          </a:xfrm>
          <a:prstGeom prst="rect">
            <a:avLst/>
          </a:prstGeom>
          <a:noFill/>
        </p:spPr>
        <p:txBody>
          <a:bodyPr wrap="square" rtlCol="0">
            <a:spAutoFit/>
          </a:bodyPr>
          <a:lstStyle/>
          <a:p>
            <a:r>
              <a:rPr lang="fr-FR" sz="600" b="1" noProof="0" dirty="0">
                <a:solidFill>
                  <a:schemeClr val="tx2"/>
                </a:solidFill>
              </a:rPr>
              <a:t>*</a:t>
            </a:r>
            <a:endParaRPr lang="fr-FR" sz="1050" b="1" noProof="0" dirty="0">
              <a:solidFill>
                <a:schemeClr val="tx2"/>
              </a:solidFill>
            </a:endParaRPr>
          </a:p>
        </p:txBody>
      </p:sp>
      <p:sp>
        <p:nvSpPr>
          <p:cNvPr id="17" name="ZoneTexte 16"/>
          <p:cNvSpPr txBox="1"/>
          <p:nvPr userDrawn="1"/>
        </p:nvSpPr>
        <p:spPr>
          <a:xfrm rot="16200000">
            <a:off x="10855001" y="4732026"/>
            <a:ext cx="1396111" cy="169277"/>
          </a:xfrm>
          <a:prstGeom prst="rect">
            <a:avLst/>
          </a:prstGeom>
          <a:noFill/>
        </p:spPr>
        <p:txBody>
          <a:bodyPr wrap="square" rtlCol="0">
            <a:spAutoFit/>
          </a:bodyPr>
          <a:lstStyle/>
          <a:p>
            <a:r>
              <a:rPr lang="fr-FR" sz="500" b="0" kern="1200" noProof="0" dirty="0">
                <a:solidFill>
                  <a:schemeClr val="tx1"/>
                </a:solidFill>
                <a:effectLst/>
                <a:latin typeface="+mn-lt"/>
                <a:ea typeface="+mn-ea"/>
                <a:cs typeface="+mn-cs"/>
              </a:rPr>
              <a:t>* Le monde est tel que nous le façonnons.</a:t>
            </a:r>
            <a:endParaRPr lang="fr-FR" sz="500" b="0" noProof="0" dirty="0">
              <a:solidFill>
                <a:schemeClr val="tx1"/>
              </a:solidFill>
            </a:endParaRPr>
          </a:p>
        </p:txBody>
      </p:sp>
      <p:pic>
        <p:nvPicPr>
          <p:cNvPr id="20" name="Image 1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79180" y="5767514"/>
            <a:ext cx="2990850" cy="744855"/>
          </a:xfrm>
          <a:prstGeom prst="rect">
            <a:avLst/>
          </a:prstGeom>
        </p:spPr>
      </p:pic>
    </p:spTree>
    <p:extLst>
      <p:ext uri="{BB962C8B-B14F-4D97-AF65-F5344CB8AC3E}">
        <p14:creationId xmlns:p14="http://schemas.microsoft.com/office/powerpoint/2010/main" val="1712545911"/>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Sommaire_Dégradé_TexteBlanc">
    <p:spTree>
      <p:nvGrpSpPr>
        <p:cNvPr id="1" name=""/>
        <p:cNvGrpSpPr/>
        <p:nvPr/>
      </p:nvGrpSpPr>
      <p:grpSpPr>
        <a:xfrm>
          <a:off x="0" y="0"/>
          <a:ext cx="0" cy="0"/>
          <a:chOff x="0" y="0"/>
          <a:chExt cx="0" cy="0"/>
        </a:xfrm>
      </p:grpSpPr>
      <p:pic>
        <p:nvPicPr>
          <p:cNvPr id="26" name="Image 2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8019"/>
            <a:ext cx="12192000" cy="6114287"/>
          </a:xfrm>
          <a:prstGeom prst="rect">
            <a:avLst/>
          </a:prstGeom>
        </p:spPr>
      </p:pic>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723106" y="1741479"/>
            <a:ext cx="792000" cy="612000"/>
          </a:xfrm>
        </p:spPr>
        <p:txBody>
          <a:bodyPr anchor="b"/>
          <a:lstStyle>
            <a:lvl1pPr marL="0" indent="0">
              <a:buNone/>
              <a:defRPr sz="4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01</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p:txBody>
          <a:bodyPr/>
          <a:lstStyle>
            <a:lvl1pPr>
              <a:defRPr>
                <a:solidFill>
                  <a:schemeClr val="tx1"/>
                </a:solidFill>
              </a:defRPr>
            </a:lvl1pPr>
          </a:lstStyle>
          <a:p>
            <a:fld id="{DE5D16B4-C57A-45CC-A738-FD2A14F356A3}" type="datetime1">
              <a:rPr lang="fr-FR" noProof="0" smtClean="0"/>
              <a:t>14/10/2021</a:t>
            </a:fld>
            <a:endParaRPr lang="fr-FR" noProof="0" dirty="0"/>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p:txBody>
          <a:bodyPr/>
          <a:lstStyle>
            <a:lvl1pPr>
              <a:defRPr>
                <a:solidFill>
                  <a:schemeClr val="tx1"/>
                </a:solidFill>
              </a:defRPr>
            </a:lvl1pPr>
          </a:lstStyle>
          <a:p>
            <a:r>
              <a:rPr lang="fr-FR" noProof="0"/>
              <a:t>Initiation à la méthode SAFe</a:t>
            </a:r>
            <a:endParaRPr lang="fr-FR" noProof="0"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lvl1pPr>
              <a:defRPr>
                <a:solidFill>
                  <a:schemeClr val="tx1"/>
                </a:solidFill>
              </a:defRPr>
            </a:lvl1pPr>
          </a:lstStyle>
          <a:p>
            <a:fld id="{975A587B-5814-4D9B-9598-FE9CB954CB01}" type="slidenum">
              <a:rPr lang="fr-FR" noProof="0" smtClean="0"/>
              <a:pPr/>
              <a:t>‹N°›</a:t>
            </a:fld>
            <a:endParaRPr lang="fr-FR" noProof="0" dirty="0"/>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1619250" y="1741479"/>
            <a:ext cx="9851389" cy="609619"/>
          </a:xfrm>
        </p:spPr>
        <p:txBody>
          <a:bodyPr anchor="ctr" anchorCtr="0"/>
          <a:lstStyle>
            <a:lvl1pPr marL="0" indent="0">
              <a:buNone/>
              <a:defRPr sz="15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fr-FR" noProof="0" dirty="0"/>
              <a:t>Modifier les styles du texte du masque</a:t>
            </a:r>
          </a:p>
        </p:txBody>
      </p:sp>
      <p:sp>
        <p:nvSpPr>
          <p:cNvPr id="14" name="Espace réservé du texte 2">
            <a:extLst>
              <a:ext uri="{FF2B5EF4-FFF2-40B4-BE49-F238E27FC236}">
                <a16:creationId xmlns:a16="http://schemas.microsoft.com/office/drawing/2014/main" id="{A4F7D656-C6A7-4E40-8463-1DA89AD87874}"/>
              </a:ext>
            </a:extLst>
          </p:cNvPr>
          <p:cNvSpPr>
            <a:spLocks noGrp="1"/>
          </p:cNvSpPr>
          <p:nvPr>
            <p:ph type="body" idx="14" hasCustomPrompt="1"/>
          </p:nvPr>
        </p:nvSpPr>
        <p:spPr>
          <a:xfrm>
            <a:off x="723106" y="2403943"/>
            <a:ext cx="792000" cy="612000"/>
          </a:xfrm>
        </p:spPr>
        <p:txBody>
          <a:bodyPr anchor="b"/>
          <a:lstStyle>
            <a:lvl1pPr marL="0" indent="0">
              <a:buNone/>
              <a:defRPr sz="4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02</a:t>
            </a:r>
          </a:p>
        </p:txBody>
      </p:sp>
      <p:sp>
        <p:nvSpPr>
          <p:cNvPr id="15" name="Espace réservé du texte 10">
            <a:extLst>
              <a:ext uri="{FF2B5EF4-FFF2-40B4-BE49-F238E27FC236}">
                <a16:creationId xmlns:a16="http://schemas.microsoft.com/office/drawing/2014/main" id="{FCD24ADA-4EC4-4D0D-9A45-04018346B892}"/>
              </a:ext>
            </a:extLst>
          </p:cNvPr>
          <p:cNvSpPr>
            <a:spLocks noGrp="1"/>
          </p:cNvSpPr>
          <p:nvPr>
            <p:ph type="body" sz="quarter" idx="15" hasCustomPrompt="1"/>
          </p:nvPr>
        </p:nvSpPr>
        <p:spPr>
          <a:xfrm>
            <a:off x="1619250" y="2403944"/>
            <a:ext cx="9851389" cy="611523"/>
          </a:xfrm>
        </p:spPr>
        <p:txBody>
          <a:bodyPr anchor="ctr" anchorCtr="0"/>
          <a:lstStyle>
            <a:lvl1pPr marL="0" indent="0">
              <a:buNone/>
              <a:defRPr sz="15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fr-FR" noProof="0" dirty="0"/>
              <a:t>Modifier les styles du texte du masque</a:t>
            </a:r>
          </a:p>
        </p:txBody>
      </p:sp>
      <p:sp>
        <p:nvSpPr>
          <p:cNvPr id="16" name="Espace réservé du texte 2">
            <a:extLst>
              <a:ext uri="{FF2B5EF4-FFF2-40B4-BE49-F238E27FC236}">
                <a16:creationId xmlns:a16="http://schemas.microsoft.com/office/drawing/2014/main" id="{1077578B-007D-4CE7-BBC2-92FD4954E069}"/>
              </a:ext>
            </a:extLst>
          </p:cNvPr>
          <p:cNvSpPr>
            <a:spLocks noGrp="1"/>
          </p:cNvSpPr>
          <p:nvPr>
            <p:ph type="body" idx="16" hasCustomPrompt="1"/>
          </p:nvPr>
        </p:nvSpPr>
        <p:spPr>
          <a:xfrm>
            <a:off x="723106" y="3066407"/>
            <a:ext cx="792000" cy="612000"/>
          </a:xfrm>
        </p:spPr>
        <p:txBody>
          <a:bodyPr anchor="b"/>
          <a:lstStyle>
            <a:lvl1pPr marL="0" indent="0">
              <a:buNone/>
              <a:defRPr sz="4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03</a:t>
            </a:r>
          </a:p>
        </p:txBody>
      </p:sp>
      <p:sp>
        <p:nvSpPr>
          <p:cNvPr id="17" name="Espace réservé du texte 10">
            <a:extLst>
              <a:ext uri="{FF2B5EF4-FFF2-40B4-BE49-F238E27FC236}">
                <a16:creationId xmlns:a16="http://schemas.microsoft.com/office/drawing/2014/main" id="{D9DC529F-0935-48DF-BEAC-4AE83F94E0FC}"/>
              </a:ext>
            </a:extLst>
          </p:cNvPr>
          <p:cNvSpPr>
            <a:spLocks noGrp="1"/>
          </p:cNvSpPr>
          <p:nvPr>
            <p:ph type="body" sz="quarter" idx="17" hasCustomPrompt="1"/>
          </p:nvPr>
        </p:nvSpPr>
        <p:spPr>
          <a:xfrm>
            <a:off x="1619250" y="3066408"/>
            <a:ext cx="9851389" cy="612000"/>
          </a:xfrm>
        </p:spPr>
        <p:txBody>
          <a:bodyPr anchor="ctr" anchorCtr="0"/>
          <a:lstStyle>
            <a:lvl1pPr marL="0" indent="0">
              <a:buNone/>
              <a:defRPr sz="15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fr-FR" noProof="0" dirty="0"/>
              <a:t>Modifier les styles du texte du masque</a:t>
            </a:r>
          </a:p>
        </p:txBody>
      </p:sp>
      <p:sp>
        <p:nvSpPr>
          <p:cNvPr id="18" name="Espace réservé du texte 2">
            <a:extLst>
              <a:ext uri="{FF2B5EF4-FFF2-40B4-BE49-F238E27FC236}">
                <a16:creationId xmlns:a16="http://schemas.microsoft.com/office/drawing/2014/main" id="{339BA69C-B1C0-479F-9F80-102E4524E735}"/>
              </a:ext>
            </a:extLst>
          </p:cNvPr>
          <p:cNvSpPr>
            <a:spLocks noGrp="1"/>
          </p:cNvSpPr>
          <p:nvPr>
            <p:ph type="body" idx="18" hasCustomPrompt="1"/>
          </p:nvPr>
        </p:nvSpPr>
        <p:spPr>
          <a:xfrm>
            <a:off x="723106" y="3728871"/>
            <a:ext cx="792000" cy="612000"/>
          </a:xfrm>
        </p:spPr>
        <p:txBody>
          <a:bodyPr anchor="b"/>
          <a:lstStyle>
            <a:lvl1pPr marL="0" indent="0">
              <a:buNone/>
              <a:defRPr sz="4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04</a:t>
            </a:r>
          </a:p>
        </p:txBody>
      </p:sp>
      <p:sp>
        <p:nvSpPr>
          <p:cNvPr id="19" name="Espace réservé du texte 10">
            <a:extLst>
              <a:ext uri="{FF2B5EF4-FFF2-40B4-BE49-F238E27FC236}">
                <a16:creationId xmlns:a16="http://schemas.microsoft.com/office/drawing/2014/main" id="{DF0D3D75-8DB2-4B18-9B7D-73BAF2D0D5DB}"/>
              </a:ext>
            </a:extLst>
          </p:cNvPr>
          <p:cNvSpPr>
            <a:spLocks noGrp="1"/>
          </p:cNvSpPr>
          <p:nvPr>
            <p:ph type="body" sz="quarter" idx="19" hasCustomPrompt="1"/>
          </p:nvPr>
        </p:nvSpPr>
        <p:spPr>
          <a:xfrm>
            <a:off x="1619250" y="3728872"/>
            <a:ext cx="9851389" cy="611999"/>
          </a:xfrm>
        </p:spPr>
        <p:txBody>
          <a:bodyPr anchor="ctr" anchorCtr="0"/>
          <a:lstStyle>
            <a:lvl1pPr marL="0" indent="0">
              <a:buNone/>
              <a:defRPr sz="15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fr-FR" noProof="0" dirty="0"/>
              <a:t>Modifier les styles du texte du masque</a:t>
            </a:r>
          </a:p>
        </p:txBody>
      </p:sp>
      <p:sp>
        <p:nvSpPr>
          <p:cNvPr id="20" name="Espace réservé du texte 2">
            <a:extLst>
              <a:ext uri="{FF2B5EF4-FFF2-40B4-BE49-F238E27FC236}">
                <a16:creationId xmlns:a16="http://schemas.microsoft.com/office/drawing/2014/main" id="{9261F303-D033-4A3A-9F3D-70FE683684C3}"/>
              </a:ext>
            </a:extLst>
          </p:cNvPr>
          <p:cNvSpPr>
            <a:spLocks noGrp="1"/>
          </p:cNvSpPr>
          <p:nvPr>
            <p:ph type="body" idx="20" hasCustomPrompt="1"/>
          </p:nvPr>
        </p:nvSpPr>
        <p:spPr>
          <a:xfrm>
            <a:off x="723106" y="4391335"/>
            <a:ext cx="792000" cy="612000"/>
          </a:xfrm>
        </p:spPr>
        <p:txBody>
          <a:bodyPr anchor="b"/>
          <a:lstStyle>
            <a:lvl1pPr marL="0" indent="0">
              <a:buNone/>
              <a:defRPr sz="4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05</a:t>
            </a:r>
          </a:p>
        </p:txBody>
      </p:sp>
      <p:sp>
        <p:nvSpPr>
          <p:cNvPr id="21" name="Espace réservé du texte 10">
            <a:extLst>
              <a:ext uri="{FF2B5EF4-FFF2-40B4-BE49-F238E27FC236}">
                <a16:creationId xmlns:a16="http://schemas.microsoft.com/office/drawing/2014/main" id="{E5DDF2DF-5619-4DC5-A488-D73DA10050A5}"/>
              </a:ext>
            </a:extLst>
          </p:cNvPr>
          <p:cNvSpPr>
            <a:spLocks noGrp="1"/>
          </p:cNvSpPr>
          <p:nvPr>
            <p:ph type="body" sz="quarter" idx="21" hasCustomPrompt="1"/>
          </p:nvPr>
        </p:nvSpPr>
        <p:spPr>
          <a:xfrm>
            <a:off x="1619250" y="4391335"/>
            <a:ext cx="9851389" cy="617239"/>
          </a:xfrm>
        </p:spPr>
        <p:txBody>
          <a:bodyPr anchor="ctr" anchorCtr="0"/>
          <a:lstStyle>
            <a:lvl1pPr marL="0" indent="0">
              <a:buNone/>
              <a:defRPr sz="15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fr-FR" noProof="0" dirty="0"/>
              <a:t>Modifier les styles du texte du masque</a:t>
            </a:r>
          </a:p>
        </p:txBody>
      </p:sp>
      <p:sp>
        <p:nvSpPr>
          <p:cNvPr id="22" name="Espace réservé du texte 2">
            <a:extLst>
              <a:ext uri="{FF2B5EF4-FFF2-40B4-BE49-F238E27FC236}">
                <a16:creationId xmlns:a16="http://schemas.microsoft.com/office/drawing/2014/main" id="{12FB7891-B5C9-49E2-B6B5-598576E6F4B4}"/>
              </a:ext>
            </a:extLst>
          </p:cNvPr>
          <p:cNvSpPr>
            <a:spLocks noGrp="1"/>
          </p:cNvSpPr>
          <p:nvPr>
            <p:ph type="body" idx="22" hasCustomPrompt="1"/>
          </p:nvPr>
        </p:nvSpPr>
        <p:spPr>
          <a:xfrm>
            <a:off x="723106" y="5053798"/>
            <a:ext cx="792000" cy="612000"/>
          </a:xfrm>
        </p:spPr>
        <p:txBody>
          <a:bodyPr anchor="b"/>
          <a:lstStyle>
            <a:lvl1pPr marL="0" indent="0">
              <a:buNone/>
              <a:defRPr sz="4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06</a:t>
            </a:r>
          </a:p>
        </p:txBody>
      </p:sp>
      <p:sp>
        <p:nvSpPr>
          <p:cNvPr id="23" name="Espace réservé du texte 10">
            <a:extLst>
              <a:ext uri="{FF2B5EF4-FFF2-40B4-BE49-F238E27FC236}">
                <a16:creationId xmlns:a16="http://schemas.microsoft.com/office/drawing/2014/main" id="{38E77CF1-DFAE-450B-87C3-BACBCFD912D6}"/>
              </a:ext>
            </a:extLst>
          </p:cNvPr>
          <p:cNvSpPr>
            <a:spLocks noGrp="1"/>
          </p:cNvSpPr>
          <p:nvPr>
            <p:ph type="body" sz="quarter" idx="23" hasCustomPrompt="1"/>
          </p:nvPr>
        </p:nvSpPr>
        <p:spPr>
          <a:xfrm>
            <a:off x="1619250" y="5053799"/>
            <a:ext cx="9851389" cy="612000"/>
          </a:xfrm>
        </p:spPr>
        <p:txBody>
          <a:bodyPr anchor="ctr" anchorCtr="0"/>
          <a:lstStyle>
            <a:lvl1pPr marL="0" indent="0">
              <a:buNone/>
              <a:defRPr sz="15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fr-FR" noProof="0" dirty="0"/>
              <a:t>Modifier les styles du texte du masque</a:t>
            </a:r>
          </a:p>
        </p:txBody>
      </p:sp>
      <p:sp>
        <p:nvSpPr>
          <p:cNvPr id="24" name="ZoneTexte 23"/>
          <p:cNvSpPr txBox="1"/>
          <p:nvPr userDrawn="1"/>
        </p:nvSpPr>
        <p:spPr>
          <a:xfrm>
            <a:off x="252000"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s textes</a:t>
            </a:r>
            <a:endParaRPr lang="fr-FR" sz="1200" noProof="0" dirty="0"/>
          </a:p>
        </p:txBody>
      </p:sp>
      <p:sp>
        <p:nvSpPr>
          <p:cNvPr id="25" name="Rectangle 24"/>
          <p:cNvSpPr/>
          <p:nvPr userDrawn="1"/>
        </p:nvSpPr>
        <p:spPr>
          <a:xfrm>
            <a:off x="0"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30" name="Titre 6">
            <a:extLst>
              <a:ext uri="{FF2B5EF4-FFF2-40B4-BE49-F238E27FC236}">
                <a16:creationId xmlns:a16="http://schemas.microsoft.com/office/drawing/2014/main" id="{B7A985A6-151F-4CB0-B805-7356FF1FA8E6}"/>
              </a:ext>
            </a:extLst>
          </p:cNvPr>
          <p:cNvSpPr>
            <a:spLocks noGrp="1"/>
          </p:cNvSpPr>
          <p:nvPr>
            <p:ph type="title"/>
          </p:nvPr>
        </p:nvSpPr>
        <p:spPr>
          <a:xfrm>
            <a:off x="719137" y="30480"/>
            <a:ext cx="10751503" cy="936000"/>
          </a:xfrm>
        </p:spPr>
        <p:txBody>
          <a:bodyPr anchor="b"/>
          <a:lstStyle>
            <a:lvl1pPr>
              <a:defRPr baseline="0">
                <a:solidFill>
                  <a:schemeClr val="bg1"/>
                </a:solidFill>
              </a:defRPr>
            </a:lvl1pPr>
          </a:lstStyle>
          <a:p>
            <a:r>
              <a:rPr lang="fr-FR" noProof="0"/>
              <a:t>Modifiez le style du titre</a:t>
            </a:r>
            <a:endParaRPr lang="fr-FR" noProof="0" dirty="0"/>
          </a:p>
        </p:txBody>
      </p:sp>
    </p:spTree>
    <p:extLst>
      <p:ext uri="{BB962C8B-B14F-4D97-AF65-F5344CB8AC3E}">
        <p14:creationId xmlns:p14="http://schemas.microsoft.com/office/powerpoint/2010/main" val="22866996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ommaire_GrandePhoto_TexteRouge">
    <p:spTree>
      <p:nvGrpSpPr>
        <p:cNvPr id="1" name=""/>
        <p:cNvGrpSpPr/>
        <p:nvPr/>
      </p:nvGrpSpPr>
      <p:grpSpPr>
        <a:xfrm>
          <a:off x="0" y="0"/>
          <a:ext cx="0" cy="0"/>
          <a:chOff x="0" y="0"/>
          <a:chExt cx="0" cy="0"/>
        </a:xfrm>
      </p:grpSpPr>
      <p:sp>
        <p:nvSpPr>
          <p:cNvPr id="29" name="Espace réservé pour une image  2">
            <a:extLst>
              <a:ext uri="{FF2B5EF4-FFF2-40B4-BE49-F238E27FC236}">
                <a16:creationId xmlns:a16="http://schemas.microsoft.com/office/drawing/2014/main" id="{EC36A585-7370-41B5-873A-8B80E3E462EB}"/>
              </a:ext>
            </a:extLst>
          </p:cNvPr>
          <p:cNvSpPr>
            <a:spLocks noGrp="1"/>
          </p:cNvSpPr>
          <p:nvPr>
            <p:ph type="pic" idx="24"/>
          </p:nvPr>
        </p:nvSpPr>
        <p:spPr>
          <a:xfrm>
            <a:off x="0" y="0"/>
            <a:ext cx="12192000" cy="6105600"/>
          </a:xfr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noProof="0"/>
              <a:t>Cliquez sur l'icône pour ajouter une image</a:t>
            </a:r>
            <a:endParaRPr lang="fr-FR" noProof="0" dirty="0"/>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5880707" y="1301230"/>
            <a:ext cx="792000" cy="612000"/>
          </a:xfrm>
        </p:spPr>
        <p:txBody>
          <a:bodyPr anchor="b"/>
          <a:lstStyle>
            <a:lvl1pPr marL="0" indent="0">
              <a:buNone/>
              <a:defRPr sz="4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01</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p:txBody>
          <a:bodyPr/>
          <a:lstStyle>
            <a:lvl1pPr>
              <a:defRPr>
                <a:solidFill>
                  <a:schemeClr val="tx1"/>
                </a:solidFill>
              </a:defRPr>
            </a:lvl1pPr>
          </a:lstStyle>
          <a:p>
            <a:fld id="{C0219BF1-3364-4954-8C80-F8537263B5D0}" type="datetime1">
              <a:rPr lang="fr-FR" noProof="0" smtClean="0"/>
              <a:t>14/10/2021</a:t>
            </a:fld>
            <a:endParaRPr lang="fr-FR" noProof="0" dirty="0"/>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p:txBody>
          <a:bodyPr/>
          <a:lstStyle>
            <a:lvl1pPr>
              <a:defRPr>
                <a:solidFill>
                  <a:schemeClr val="tx1"/>
                </a:solidFill>
              </a:defRPr>
            </a:lvl1pPr>
          </a:lstStyle>
          <a:p>
            <a:r>
              <a:rPr lang="fr-FR" noProof="0"/>
              <a:t>Initiation à la méthode SAFe</a:t>
            </a:r>
            <a:endParaRPr lang="fr-FR" noProof="0"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lvl1pPr>
              <a:defRPr>
                <a:solidFill>
                  <a:schemeClr val="tx1"/>
                </a:solidFill>
              </a:defRPr>
            </a:lvl1pPr>
          </a:lstStyle>
          <a:p>
            <a:fld id="{975A587B-5814-4D9B-9598-FE9CB954CB01}" type="slidenum">
              <a:rPr lang="fr-FR" noProof="0" smtClean="0"/>
              <a:pPr/>
              <a:t>‹N°›</a:t>
            </a:fld>
            <a:endParaRPr lang="fr-FR" noProof="0" dirty="0"/>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6741134" y="1301230"/>
            <a:ext cx="4729506" cy="621525"/>
          </a:xfrm>
        </p:spPr>
        <p:txBody>
          <a:bodyPr anchor="ctr" anchorCtr="0"/>
          <a:lstStyle>
            <a:lvl1pPr marL="0" indent="0">
              <a:buNone/>
              <a:defRPr sz="15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fr-FR" noProof="0" dirty="0"/>
              <a:t>Modifier les styles du texte du masque</a:t>
            </a:r>
          </a:p>
        </p:txBody>
      </p:sp>
      <p:sp>
        <p:nvSpPr>
          <p:cNvPr id="14" name="Espace réservé du texte 2">
            <a:extLst>
              <a:ext uri="{FF2B5EF4-FFF2-40B4-BE49-F238E27FC236}">
                <a16:creationId xmlns:a16="http://schemas.microsoft.com/office/drawing/2014/main" id="{A4F7D656-C6A7-4E40-8463-1DA89AD87874}"/>
              </a:ext>
            </a:extLst>
          </p:cNvPr>
          <p:cNvSpPr>
            <a:spLocks noGrp="1"/>
          </p:cNvSpPr>
          <p:nvPr>
            <p:ph type="body" idx="14" hasCustomPrompt="1"/>
          </p:nvPr>
        </p:nvSpPr>
        <p:spPr>
          <a:xfrm>
            <a:off x="5880707" y="1925594"/>
            <a:ext cx="792000" cy="612000"/>
          </a:xfrm>
        </p:spPr>
        <p:txBody>
          <a:bodyPr anchor="b"/>
          <a:lstStyle>
            <a:lvl1pPr marL="0" indent="0">
              <a:buNone/>
              <a:defRPr sz="4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02</a:t>
            </a:r>
          </a:p>
        </p:txBody>
      </p:sp>
      <p:sp>
        <p:nvSpPr>
          <p:cNvPr id="15" name="Espace réservé du texte 10">
            <a:extLst>
              <a:ext uri="{FF2B5EF4-FFF2-40B4-BE49-F238E27FC236}">
                <a16:creationId xmlns:a16="http://schemas.microsoft.com/office/drawing/2014/main" id="{FCD24ADA-4EC4-4D0D-9A45-04018346B892}"/>
              </a:ext>
            </a:extLst>
          </p:cNvPr>
          <p:cNvSpPr>
            <a:spLocks noGrp="1"/>
          </p:cNvSpPr>
          <p:nvPr>
            <p:ph type="body" sz="quarter" idx="15" hasCustomPrompt="1"/>
          </p:nvPr>
        </p:nvSpPr>
        <p:spPr>
          <a:xfrm>
            <a:off x="6741134" y="1922755"/>
            <a:ext cx="4729506" cy="621984"/>
          </a:xfrm>
        </p:spPr>
        <p:txBody>
          <a:bodyPr anchor="ctr" anchorCtr="0"/>
          <a:lstStyle>
            <a:lvl1pPr marL="0" indent="0">
              <a:buNone/>
              <a:defRPr sz="15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fr-FR" noProof="0" dirty="0"/>
              <a:t>Modifier les styles du texte du masque</a:t>
            </a:r>
          </a:p>
        </p:txBody>
      </p:sp>
      <p:sp>
        <p:nvSpPr>
          <p:cNvPr id="16" name="Espace réservé du texte 2">
            <a:extLst>
              <a:ext uri="{FF2B5EF4-FFF2-40B4-BE49-F238E27FC236}">
                <a16:creationId xmlns:a16="http://schemas.microsoft.com/office/drawing/2014/main" id="{1077578B-007D-4CE7-BBC2-92FD4954E069}"/>
              </a:ext>
            </a:extLst>
          </p:cNvPr>
          <p:cNvSpPr>
            <a:spLocks noGrp="1"/>
          </p:cNvSpPr>
          <p:nvPr>
            <p:ph type="body" idx="16" hasCustomPrompt="1"/>
          </p:nvPr>
        </p:nvSpPr>
        <p:spPr>
          <a:xfrm>
            <a:off x="5880707" y="2549958"/>
            <a:ext cx="792000" cy="612000"/>
          </a:xfrm>
        </p:spPr>
        <p:txBody>
          <a:bodyPr anchor="b"/>
          <a:lstStyle>
            <a:lvl1pPr marL="0" indent="0">
              <a:buNone/>
              <a:defRPr sz="4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03</a:t>
            </a:r>
          </a:p>
        </p:txBody>
      </p:sp>
      <p:sp>
        <p:nvSpPr>
          <p:cNvPr id="17" name="Espace réservé du texte 10">
            <a:extLst>
              <a:ext uri="{FF2B5EF4-FFF2-40B4-BE49-F238E27FC236}">
                <a16:creationId xmlns:a16="http://schemas.microsoft.com/office/drawing/2014/main" id="{D9DC529F-0935-48DF-BEAC-4AE83F94E0FC}"/>
              </a:ext>
            </a:extLst>
          </p:cNvPr>
          <p:cNvSpPr>
            <a:spLocks noGrp="1"/>
          </p:cNvSpPr>
          <p:nvPr>
            <p:ph type="body" sz="quarter" idx="17" hasCustomPrompt="1"/>
          </p:nvPr>
        </p:nvSpPr>
        <p:spPr>
          <a:xfrm>
            <a:off x="6741134" y="2544740"/>
            <a:ext cx="4729506" cy="621982"/>
          </a:xfrm>
        </p:spPr>
        <p:txBody>
          <a:bodyPr anchor="ctr" anchorCtr="0"/>
          <a:lstStyle>
            <a:lvl1pPr marL="0" indent="0">
              <a:buNone/>
              <a:defRPr sz="15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fr-FR" noProof="0" dirty="0"/>
              <a:t>Modifier les styles du texte du masque</a:t>
            </a:r>
          </a:p>
        </p:txBody>
      </p:sp>
      <p:sp>
        <p:nvSpPr>
          <p:cNvPr id="18" name="Espace réservé du texte 2">
            <a:extLst>
              <a:ext uri="{FF2B5EF4-FFF2-40B4-BE49-F238E27FC236}">
                <a16:creationId xmlns:a16="http://schemas.microsoft.com/office/drawing/2014/main" id="{339BA69C-B1C0-479F-9F80-102E4524E735}"/>
              </a:ext>
            </a:extLst>
          </p:cNvPr>
          <p:cNvSpPr>
            <a:spLocks noGrp="1"/>
          </p:cNvSpPr>
          <p:nvPr>
            <p:ph type="body" idx="18" hasCustomPrompt="1"/>
          </p:nvPr>
        </p:nvSpPr>
        <p:spPr>
          <a:xfrm>
            <a:off x="5880707" y="3174322"/>
            <a:ext cx="792000" cy="612000"/>
          </a:xfrm>
        </p:spPr>
        <p:txBody>
          <a:bodyPr anchor="b"/>
          <a:lstStyle>
            <a:lvl1pPr marL="0" indent="0">
              <a:buNone/>
              <a:defRPr sz="4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04</a:t>
            </a:r>
          </a:p>
        </p:txBody>
      </p:sp>
      <p:sp>
        <p:nvSpPr>
          <p:cNvPr id="19" name="Espace réservé du texte 10">
            <a:extLst>
              <a:ext uri="{FF2B5EF4-FFF2-40B4-BE49-F238E27FC236}">
                <a16:creationId xmlns:a16="http://schemas.microsoft.com/office/drawing/2014/main" id="{DF0D3D75-8DB2-4B18-9B7D-73BAF2D0D5DB}"/>
              </a:ext>
            </a:extLst>
          </p:cNvPr>
          <p:cNvSpPr>
            <a:spLocks noGrp="1"/>
          </p:cNvSpPr>
          <p:nvPr>
            <p:ph type="body" sz="quarter" idx="19" hasCustomPrompt="1"/>
          </p:nvPr>
        </p:nvSpPr>
        <p:spPr>
          <a:xfrm>
            <a:off x="6741134" y="3174323"/>
            <a:ext cx="4729506" cy="614382"/>
          </a:xfrm>
        </p:spPr>
        <p:txBody>
          <a:bodyPr anchor="ctr" anchorCtr="0"/>
          <a:lstStyle>
            <a:lvl1pPr marL="0" indent="0">
              <a:buNone/>
              <a:defRPr sz="15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fr-FR" noProof="0" dirty="0"/>
              <a:t>Modifier les styles du texte du masque</a:t>
            </a:r>
          </a:p>
        </p:txBody>
      </p:sp>
      <p:sp>
        <p:nvSpPr>
          <p:cNvPr id="20" name="Espace réservé du texte 2">
            <a:extLst>
              <a:ext uri="{FF2B5EF4-FFF2-40B4-BE49-F238E27FC236}">
                <a16:creationId xmlns:a16="http://schemas.microsoft.com/office/drawing/2014/main" id="{9261F303-D033-4A3A-9F3D-70FE683684C3}"/>
              </a:ext>
            </a:extLst>
          </p:cNvPr>
          <p:cNvSpPr>
            <a:spLocks noGrp="1"/>
          </p:cNvSpPr>
          <p:nvPr>
            <p:ph type="body" idx="20" hasCustomPrompt="1"/>
          </p:nvPr>
        </p:nvSpPr>
        <p:spPr>
          <a:xfrm>
            <a:off x="5880707" y="3798686"/>
            <a:ext cx="792000" cy="612000"/>
          </a:xfrm>
        </p:spPr>
        <p:txBody>
          <a:bodyPr anchor="b"/>
          <a:lstStyle>
            <a:lvl1pPr marL="0" indent="0">
              <a:buNone/>
              <a:defRPr sz="4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05</a:t>
            </a:r>
          </a:p>
        </p:txBody>
      </p:sp>
      <p:sp>
        <p:nvSpPr>
          <p:cNvPr id="21" name="Espace réservé du texte 10">
            <a:extLst>
              <a:ext uri="{FF2B5EF4-FFF2-40B4-BE49-F238E27FC236}">
                <a16:creationId xmlns:a16="http://schemas.microsoft.com/office/drawing/2014/main" id="{E5DDF2DF-5619-4DC5-A488-D73DA10050A5}"/>
              </a:ext>
            </a:extLst>
          </p:cNvPr>
          <p:cNvSpPr>
            <a:spLocks noGrp="1"/>
          </p:cNvSpPr>
          <p:nvPr>
            <p:ph type="body" sz="quarter" idx="21" hasCustomPrompt="1"/>
          </p:nvPr>
        </p:nvSpPr>
        <p:spPr>
          <a:xfrm>
            <a:off x="6741134" y="3796306"/>
            <a:ext cx="4729506" cy="614381"/>
          </a:xfrm>
        </p:spPr>
        <p:txBody>
          <a:bodyPr anchor="ctr" anchorCtr="0"/>
          <a:lstStyle>
            <a:lvl1pPr marL="0" indent="0">
              <a:buNone/>
              <a:defRPr sz="15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fr-FR" noProof="0" dirty="0"/>
              <a:t>Modifier les styles du texte du masque</a:t>
            </a:r>
          </a:p>
        </p:txBody>
      </p:sp>
      <p:sp>
        <p:nvSpPr>
          <p:cNvPr id="22" name="Espace réservé du texte 2">
            <a:extLst>
              <a:ext uri="{FF2B5EF4-FFF2-40B4-BE49-F238E27FC236}">
                <a16:creationId xmlns:a16="http://schemas.microsoft.com/office/drawing/2014/main" id="{12FB7891-B5C9-49E2-B6B5-598576E6F4B4}"/>
              </a:ext>
            </a:extLst>
          </p:cNvPr>
          <p:cNvSpPr>
            <a:spLocks noGrp="1"/>
          </p:cNvSpPr>
          <p:nvPr>
            <p:ph type="body" idx="22" hasCustomPrompt="1"/>
          </p:nvPr>
        </p:nvSpPr>
        <p:spPr>
          <a:xfrm>
            <a:off x="5880707" y="4423049"/>
            <a:ext cx="792000" cy="612000"/>
          </a:xfrm>
        </p:spPr>
        <p:txBody>
          <a:bodyPr anchor="b"/>
          <a:lstStyle>
            <a:lvl1pPr marL="0" indent="0">
              <a:buNone/>
              <a:defRPr sz="4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06</a:t>
            </a:r>
          </a:p>
        </p:txBody>
      </p:sp>
      <p:sp>
        <p:nvSpPr>
          <p:cNvPr id="23" name="Espace réservé du texte 10">
            <a:extLst>
              <a:ext uri="{FF2B5EF4-FFF2-40B4-BE49-F238E27FC236}">
                <a16:creationId xmlns:a16="http://schemas.microsoft.com/office/drawing/2014/main" id="{38E77CF1-DFAE-450B-87C3-BACBCFD912D6}"/>
              </a:ext>
            </a:extLst>
          </p:cNvPr>
          <p:cNvSpPr>
            <a:spLocks noGrp="1"/>
          </p:cNvSpPr>
          <p:nvPr>
            <p:ph type="body" sz="quarter" idx="23" hasCustomPrompt="1"/>
          </p:nvPr>
        </p:nvSpPr>
        <p:spPr>
          <a:xfrm>
            <a:off x="6741134" y="4418289"/>
            <a:ext cx="4729506" cy="614380"/>
          </a:xfrm>
        </p:spPr>
        <p:txBody>
          <a:bodyPr anchor="ctr" anchorCtr="0"/>
          <a:lstStyle>
            <a:lvl1pPr marL="0" indent="0">
              <a:buNone/>
              <a:defRPr sz="1500" b="1">
                <a:solidFill>
                  <a:schemeClr val="bg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fr-FR" noProof="0" dirty="0"/>
              <a:t>Modifier les styles du texte du masque</a:t>
            </a:r>
          </a:p>
        </p:txBody>
      </p:sp>
      <p:sp>
        <p:nvSpPr>
          <p:cNvPr id="24" name="Rectangle 23"/>
          <p:cNvSpPr/>
          <p:nvPr userDrawn="1"/>
        </p:nvSpPr>
        <p:spPr>
          <a:xfrm>
            <a:off x="-1" y="-374907"/>
            <a:ext cx="25200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25" name="ZoneTexte 24"/>
          <p:cNvSpPr txBox="1"/>
          <p:nvPr userDrawn="1"/>
        </p:nvSpPr>
        <p:spPr>
          <a:xfrm>
            <a:off x="841708"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s textes</a:t>
            </a:r>
            <a:endParaRPr lang="fr-FR" sz="1200" noProof="0" dirty="0"/>
          </a:p>
        </p:txBody>
      </p:sp>
      <p:sp>
        <p:nvSpPr>
          <p:cNvPr id="26" name="Rectangle 25"/>
          <p:cNvSpPr/>
          <p:nvPr userDrawn="1"/>
        </p:nvSpPr>
        <p:spPr>
          <a:xfrm>
            <a:off x="293702" y="-374907"/>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27" name="Rectangle 26"/>
          <p:cNvSpPr/>
          <p:nvPr userDrawn="1"/>
        </p:nvSpPr>
        <p:spPr>
          <a:xfrm>
            <a:off x="593137" y="-374907"/>
            <a:ext cx="252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38" name="Titre 6">
            <a:extLst>
              <a:ext uri="{FF2B5EF4-FFF2-40B4-BE49-F238E27FC236}">
                <a16:creationId xmlns:a16="http://schemas.microsoft.com/office/drawing/2014/main" id="{B7A985A6-151F-4CB0-B805-7356FF1FA8E6}"/>
              </a:ext>
            </a:extLst>
          </p:cNvPr>
          <p:cNvSpPr>
            <a:spLocks noGrp="1"/>
          </p:cNvSpPr>
          <p:nvPr>
            <p:ph type="title"/>
          </p:nvPr>
        </p:nvSpPr>
        <p:spPr>
          <a:xfrm>
            <a:off x="719137" y="30480"/>
            <a:ext cx="10751503" cy="936000"/>
          </a:xfrm>
        </p:spPr>
        <p:txBody>
          <a:bodyPr anchor="b"/>
          <a:lstStyle>
            <a:lvl1pPr>
              <a:defRPr baseline="0"/>
            </a:lvl1pPr>
          </a:lstStyle>
          <a:p>
            <a:r>
              <a:rPr lang="fr-FR" noProof="0"/>
              <a:t>Modifiez le style du titre</a:t>
            </a:r>
            <a:endParaRPr lang="fr-FR" noProof="0" dirty="0"/>
          </a:p>
        </p:txBody>
      </p:sp>
    </p:spTree>
    <p:extLst>
      <p:ext uri="{BB962C8B-B14F-4D97-AF65-F5344CB8AC3E}">
        <p14:creationId xmlns:p14="http://schemas.microsoft.com/office/powerpoint/2010/main" val="34184681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ommaire_PetitePhoto_TexteRouge">
    <p:spTree>
      <p:nvGrpSpPr>
        <p:cNvPr id="1" name=""/>
        <p:cNvGrpSpPr/>
        <p:nvPr/>
      </p:nvGrpSpPr>
      <p:grpSpPr>
        <a:xfrm>
          <a:off x="0" y="0"/>
          <a:ext cx="0" cy="0"/>
          <a:chOff x="0" y="0"/>
          <a:chExt cx="0" cy="0"/>
        </a:xfrm>
      </p:grpSpPr>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p:txBody>
          <a:bodyPr/>
          <a:lstStyle>
            <a:lvl1pPr>
              <a:defRPr>
                <a:solidFill>
                  <a:schemeClr val="tx1"/>
                </a:solidFill>
              </a:defRPr>
            </a:lvl1pPr>
          </a:lstStyle>
          <a:p>
            <a:fld id="{2AB8C56E-6FE8-474D-9EBE-023C2B007F3D}" type="datetime1">
              <a:rPr lang="fr-FR" noProof="0" smtClean="0"/>
              <a:t>14/10/2021</a:t>
            </a:fld>
            <a:endParaRPr lang="fr-FR" noProof="0" dirty="0"/>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p:txBody>
          <a:bodyPr/>
          <a:lstStyle>
            <a:lvl1pPr>
              <a:defRPr>
                <a:solidFill>
                  <a:schemeClr val="tx1"/>
                </a:solidFill>
              </a:defRPr>
            </a:lvl1pPr>
          </a:lstStyle>
          <a:p>
            <a:r>
              <a:rPr lang="fr-FR" noProof="0"/>
              <a:t>Initiation à la méthode SAFe</a:t>
            </a:r>
            <a:endParaRPr lang="fr-FR" noProof="0"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lvl1pPr>
              <a:defRPr>
                <a:solidFill>
                  <a:schemeClr val="tx1"/>
                </a:solidFill>
              </a:defRPr>
            </a:lvl1pPr>
          </a:lstStyle>
          <a:p>
            <a:fld id="{975A587B-5814-4D9B-9598-FE9CB954CB01}" type="slidenum">
              <a:rPr lang="fr-FR" noProof="0" smtClean="0"/>
              <a:pPr/>
              <a:t>‹N°›</a:t>
            </a:fld>
            <a:endParaRPr lang="fr-FR" noProof="0" dirty="0"/>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719136" y="1826419"/>
            <a:ext cx="5674685" cy="524679"/>
          </a:xfrm>
        </p:spPr>
        <p:txBody>
          <a:bodyPr anchor="ctr" anchorCtr="0"/>
          <a:lstStyle>
            <a:lvl1pPr marL="0" indent="0">
              <a:buNone/>
              <a:defRPr sz="1500" b="1">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fr-FR" noProof="0" dirty="0"/>
              <a:t>Modifier les styles du texte du masque</a:t>
            </a:r>
          </a:p>
        </p:txBody>
      </p:sp>
      <p:sp>
        <p:nvSpPr>
          <p:cNvPr id="15" name="Espace réservé du texte 10">
            <a:extLst>
              <a:ext uri="{FF2B5EF4-FFF2-40B4-BE49-F238E27FC236}">
                <a16:creationId xmlns:a16="http://schemas.microsoft.com/office/drawing/2014/main" id="{FCD24ADA-4EC4-4D0D-9A45-04018346B892}"/>
              </a:ext>
            </a:extLst>
          </p:cNvPr>
          <p:cNvSpPr>
            <a:spLocks noGrp="1"/>
          </p:cNvSpPr>
          <p:nvPr>
            <p:ph type="body" sz="quarter" idx="15" hasCustomPrompt="1"/>
          </p:nvPr>
        </p:nvSpPr>
        <p:spPr>
          <a:xfrm>
            <a:off x="719136" y="2490788"/>
            <a:ext cx="5674685" cy="524679"/>
          </a:xfrm>
        </p:spPr>
        <p:txBody>
          <a:bodyPr anchor="ctr" anchorCtr="0"/>
          <a:lstStyle>
            <a:lvl1pPr marL="0" indent="0">
              <a:buNone/>
              <a:defRPr sz="1500" b="1">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fr-FR" noProof="0" dirty="0"/>
              <a:t>Modifier les styles du texte du masque</a:t>
            </a:r>
          </a:p>
        </p:txBody>
      </p:sp>
      <p:sp>
        <p:nvSpPr>
          <p:cNvPr id="17" name="Espace réservé du texte 10">
            <a:extLst>
              <a:ext uri="{FF2B5EF4-FFF2-40B4-BE49-F238E27FC236}">
                <a16:creationId xmlns:a16="http://schemas.microsoft.com/office/drawing/2014/main" id="{D9DC529F-0935-48DF-BEAC-4AE83F94E0FC}"/>
              </a:ext>
            </a:extLst>
          </p:cNvPr>
          <p:cNvSpPr>
            <a:spLocks noGrp="1"/>
          </p:cNvSpPr>
          <p:nvPr>
            <p:ph type="body" sz="quarter" idx="17" hasCustomPrompt="1"/>
          </p:nvPr>
        </p:nvSpPr>
        <p:spPr>
          <a:xfrm>
            <a:off x="719136" y="3155157"/>
            <a:ext cx="5674685" cy="524679"/>
          </a:xfrm>
        </p:spPr>
        <p:txBody>
          <a:bodyPr anchor="ctr" anchorCtr="0"/>
          <a:lstStyle>
            <a:lvl1pPr marL="0" indent="0">
              <a:buNone/>
              <a:defRPr sz="1500" b="1">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fr-FR" noProof="0" dirty="0"/>
              <a:t>Modifier les styles du texte du masque</a:t>
            </a:r>
          </a:p>
        </p:txBody>
      </p:sp>
      <p:sp>
        <p:nvSpPr>
          <p:cNvPr id="19" name="Espace réservé du texte 10">
            <a:extLst>
              <a:ext uri="{FF2B5EF4-FFF2-40B4-BE49-F238E27FC236}">
                <a16:creationId xmlns:a16="http://schemas.microsoft.com/office/drawing/2014/main" id="{DF0D3D75-8DB2-4B18-9B7D-73BAF2D0D5DB}"/>
              </a:ext>
            </a:extLst>
          </p:cNvPr>
          <p:cNvSpPr>
            <a:spLocks noGrp="1"/>
          </p:cNvSpPr>
          <p:nvPr>
            <p:ph type="body" sz="quarter" idx="19" hasCustomPrompt="1"/>
          </p:nvPr>
        </p:nvSpPr>
        <p:spPr>
          <a:xfrm>
            <a:off x="719136" y="3819526"/>
            <a:ext cx="5674685" cy="524679"/>
          </a:xfrm>
        </p:spPr>
        <p:txBody>
          <a:bodyPr anchor="ctr" anchorCtr="0"/>
          <a:lstStyle>
            <a:lvl1pPr marL="0" indent="0">
              <a:buNone/>
              <a:defRPr sz="1500" b="1">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fr-FR" noProof="0" dirty="0"/>
              <a:t>Modifier les styles du texte du masque</a:t>
            </a:r>
          </a:p>
        </p:txBody>
      </p:sp>
      <p:sp>
        <p:nvSpPr>
          <p:cNvPr id="21" name="Espace réservé du texte 10">
            <a:extLst>
              <a:ext uri="{FF2B5EF4-FFF2-40B4-BE49-F238E27FC236}">
                <a16:creationId xmlns:a16="http://schemas.microsoft.com/office/drawing/2014/main" id="{E5DDF2DF-5619-4DC5-A488-D73DA10050A5}"/>
              </a:ext>
            </a:extLst>
          </p:cNvPr>
          <p:cNvSpPr>
            <a:spLocks noGrp="1"/>
          </p:cNvSpPr>
          <p:nvPr>
            <p:ph type="body" sz="quarter" idx="21" hasCustomPrompt="1"/>
          </p:nvPr>
        </p:nvSpPr>
        <p:spPr>
          <a:xfrm>
            <a:off x="719136" y="4483895"/>
            <a:ext cx="5674685" cy="524679"/>
          </a:xfrm>
        </p:spPr>
        <p:txBody>
          <a:bodyPr anchor="ctr" anchorCtr="0"/>
          <a:lstStyle>
            <a:lvl1pPr marL="0" indent="0">
              <a:buNone/>
              <a:defRPr sz="1500" b="1">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fr-FR" noProof="0" dirty="0"/>
              <a:t>Modifier les styles du texte du masque</a:t>
            </a:r>
          </a:p>
        </p:txBody>
      </p:sp>
      <p:sp>
        <p:nvSpPr>
          <p:cNvPr id="23" name="Espace réservé du texte 10">
            <a:extLst>
              <a:ext uri="{FF2B5EF4-FFF2-40B4-BE49-F238E27FC236}">
                <a16:creationId xmlns:a16="http://schemas.microsoft.com/office/drawing/2014/main" id="{38E77CF1-DFAE-450B-87C3-BACBCFD912D6}"/>
              </a:ext>
            </a:extLst>
          </p:cNvPr>
          <p:cNvSpPr>
            <a:spLocks noGrp="1"/>
          </p:cNvSpPr>
          <p:nvPr>
            <p:ph type="body" sz="quarter" idx="23" hasCustomPrompt="1"/>
          </p:nvPr>
        </p:nvSpPr>
        <p:spPr>
          <a:xfrm>
            <a:off x="719136" y="5148262"/>
            <a:ext cx="5674685" cy="524679"/>
          </a:xfrm>
        </p:spPr>
        <p:txBody>
          <a:bodyPr anchor="ctr" anchorCtr="0"/>
          <a:lstStyle>
            <a:lvl1pPr marL="0" indent="0">
              <a:buNone/>
              <a:defRPr sz="1500" b="1">
                <a:solidFill>
                  <a:schemeClr val="tx1"/>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fr-FR" noProof="0" dirty="0"/>
              <a:t>Modifier les styles du texte du masque</a:t>
            </a:r>
          </a:p>
        </p:txBody>
      </p:sp>
      <p:sp>
        <p:nvSpPr>
          <p:cNvPr id="24" name="Espace réservé pour une image  2">
            <a:extLst>
              <a:ext uri="{FF2B5EF4-FFF2-40B4-BE49-F238E27FC236}">
                <a16:creationId xmlns:a16="http://schemas.microsoft.com/office/drawing/2014/main" id="{6308D7D9-6833-45E5-89E1-E5B5B2F4792C}"/>
              </a:ext>
            </a:extLst>
          </p:cNvPr>
          <p:cNvSpPr>
            <a:spLocks noGrp="1"/>
          </p:cNvSpPr>
          <p:nvPr>
            <p:ph type="pic" idx="24"/>
          </p:nvPr>
        </p:nvSpPr>
        <p:spPr>
          <a:xfrm>
            <a:off x="6788894" y="1410981"/>
            <a:ext cx="4680000" cy="4680000"/>
          </a:xfr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noProof="0"/>
              <a:t>Cliquez sur l'icône pour ajouter une image</a:t>
            </a:r>
            <a:endParaRPr lang="fr-FR" noProof="0" dirty="0"/>
          </a:p>
        </p:txBody>
      </p:sp>
      <p:sp>
        <p:nvSpPr>
          <p:cNvPr id="13" name="Rectangle 12"/>
          <p:cNvSpPr/>
          <p:nvPr userDrawn="1"/>
        </p:nvSpPr>
        <p:spPr>
          <a:xfrm>
            <a:off x="-1" y="-374907"/>
            <a:ext cx="25200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4" name="ZoneTexte 13"/>
          <p:cNvSpPr txBox="1"/>
          <p:nvPr userDrawn="1"/>
        </p:nvSpPr>
        <p:spPr>
          <a:xfrm>
            <a:off x="545702"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s textes</a:t>
            </a:r>
            <a:endParaRPr lang="fr-FR" sz="1200" noProof="0" dirty="0"/>
          </a:p>
        </p:txBody>
      </p:sp>
      <p:sp>
        <p:nvSpPr>
          <p:cNvPr id="16" name="Rectangle 15"/>
          <p:cNvSpPr/>
          <p:nvPr userDrawn="1"/>
        </p:nvSpPr>
        <p:spPr>
          <a:xfrm>
            <a:off x="293702" y="-374907"/>
            <a:ext cx="252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26" name="Titre 6">
            <a:extLst>
              <a:ext uri="{FF2B5EF4-FFF2-40B4-BE49-F238E27FC236}">
                <a16:creationId xmlns:a16="http://schemas.microsoft.com/office/drawing/2014/main" id="{B7A985A6-151F-4CB0-B805-7356FF1FA8E6}"/>
              </a:ext>
            </a:extLst>
          </p:cNvPr>
          <p:cNvSpPr>
            <a:spLocks noGrp="1"/>
          </p:cNvSpPr>
          <p:nvPr>
            <p:ph type="title"/>
          </p:nvPr>
        </p:nvSpPr>
        <p:spPr>
          <a:xfrm>
            <a:off x="719137" y="30480"/>
            <a:ext cx="10751503" cy="936000"/>
          </a:xfrm>
        </p:spPr>
        <p:txBody>
          <a:bodyPr anchor="b"/>
          <a:lstStyle>
            <a:lvl1pPr>
              <a:defRPr baseline="0"/>
            </a:lvl1pPr>
          </a:lstStyle>
          <a:p>
            <a:r>
              <a:rPr lang="fr-FR" noProof="0"/>
              <a:t>Modifiez le style du titre</a:t>
            </a:r>
            <a:endParaRPr lang="fr-FR" noProof="0" dirty="0"/>
          </a:p>
        </p:txBody>
      </p:sp>
    </p:spTree>
    <p:extLst>
      <p:ext uri="{BB962C8B-B14F-4D97-AF65-F5344CB8AC3E}">
        <p14:creationId xmlns:p14="http://schemas.microsoft.com/office/powerpoint/2010/main" val="314695172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PremierIntercalaire_Dégradé">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34B7DA-FA75-4149-8676-64791F4D66D2}"/>
              </a:ext>
            </a:extLst>
          </p:cNvPr>
          <p:cNvSpPr>
            <a:spLocks noGrp="1"/>
          </p:cNvSpPr>
          <p:nvPr>
            <p:ph type="title" hasCustomPrompt="1"/>
          </p:nvPr>
        </p:nvSpPr>
        <p:spPr>
          <a:xfrm>
            <a:off x="6618979" y="1116000"/>
            <a:ext cx="2880000" cy="1620000"/>
          </a:xfrm>
        </p:spPr>
        <p:txBody>
          <a:bodyPr anchor="ctr"/>
          <a:lstStyle>
            <a:lvl1pPr>
              <a:defRPr sz="13500" b="1">
                <a:solidFill>
                  <a:schemeClr val="tx2"/>
                </a:solidFill>
              </a:defRPr>
            </a:lvl1pPr>
          </a:lstStyle>
          <a:p>
            <a:r>
              <a:rPr lang="fr-FR" noProof="0" dirty="0"/>
              <a:t>NN</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6618979" y="2916076"/>
            <a:ext cx="4851661" cy="1800000"/>
          </a:xfrm>
        </p:spPr>
        <p:txBody>
          <a:bodyPr anchor="t"/>
          <a:lstStyle>
            <a:lvl1pPr marL="0" indent="0">
              <a:spcBef>
                <a:spcPts val="0"/>
              </a:spcBef>
              <a:buNone/>
              <a:defRPr sz="3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Modifier les styles du texte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p:txBody>
          <a:bodyPr/>
          <a:lstStyle>
            <a:lvl1pPr>
              <a:defRPr>
                <a:solidFill>
                  <a:schemeClr val="tx1"/>
                </a:solidFill>
              </a:defRPr>
            </a:lvl1pPr>
          </a:lstStyle>
          <a:p>
            <a:fld id="{C2AE7AE7-73E3-4219-B89A-9AE1273F907D}" type="datetime1">
              <a:rPr lang="fr-FR" noProof="0" smtClean="0"/>
              <a:t>14/10/2021</a:t>
            </a:fld>
            <a:endParaRPr lang="fr-FR" noProof="0" dirty="0"/>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p:txBody>
          <a:bodyPr/>
          <a:lstStyle>
            <a:lvl1pPr>
              <a:defRPr>
                <a:solidFill>
                  <a:schemeClr val="tx1"/>
                </a:solidFill>
              </a:defRPr>
            </a:lvl1pPr>
          </a:lstStyle>
          <a:p>
            <a:r>
              <a:rPr lang="fr-FR" noProof="0"/>
              <a:t>Initiation à la méthode SAFe</a:t>
            </a:r>
            <a:endParaRPr lang="fr-FR" noProof="0"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lvl1pPr>
              <a:defRPr>
                <a:solidFill>
                  <a:schemeClr val="tx1"/>
                </a:solidFill>
              </a:defRPr>
            </a:lvl1pPr>
          </a:lstStyle>
          <a:p>
            <a:fld id="{975A587B-5814-4D9B-9598-FE9CB954CB01}" type="slidenum">
              <a:rPr lang="fr-FR" noProof="0" smtClean="0"/>
              <a:pPr/>
              <a:t>‹N°›</a:t>
            </a:fld>
            <a:endParaRPr lang="fr-FR" noProof="0" dirty="0"/>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6618979" y="4849847"/>
            <a:ext cx="4851661" cy="288000"/>
          </a:xfrm>
        </p:spPr>
        <p:txBody>
          <a:bodyPr/>
          <a:lstStyle>
            <a:lvl1pPr marL="0" indent="0">
              <a:buNone/>
              <a:defRPr sz="1400" b="0" cap="all" baseline="0">
                <a:solidFill>
                  <a:schemeClr val="tx2"/>
                </a:solidFill>
              </a:defRPr>
            </a:lvl1pPr>
          </a:lstStyle>
          <a:p>
            <a:pPr lvl="0"/>
            <a:r>
              <a:rPr lang="fr-FR" noProof="0" dirty="0"/>
              <a:t>Modifier les styles du texte du masque</a:t>
            </a:r>
          </a:p>
        </p:txBody>
      </p:sp>
      <p:sp>
        <p:nvSpPr>
          <p:cNvPr id="10" name="ZoneTexte 9"/>
          <p:cNvSpPr txBox="1"/>
          <p:nvPr userDrawn="1"/>
        </p:nvSpPr>
        <p:spPr>
          <a:xfrm>
            <a:off x="252000"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 numéro</a:t>
            </a:r>
            <a:endParaRPr lang="fr-FR" sz="1200" noProof="0" dirty="0"/>
          </a:p>
        </p:txBody>
      </p:sp>
      <p:sp>
        <p:nvSpPr>
          <p:cNvPr id="12" name="Rectangle 11"/>
          <p:cNvSpPr/>
          <p:nvPr userDrawn="1"/>
        </p:nvSpPr>
        <p:spPr>
          <a:xfrm>
            <a:off x="0" y="-374907"/>
            <a:ext cx="25200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8" name="Rectangle 17"/>
          <p:cNvSpPr/>
          <p:nvPr userDrawn="1"/>
        </p:nvSpPr>
        <p:spPr>
          <a:xfrm>
            <a:off x="0" y="-1297"/>
            <a:ext cx="6089904" cy="6114312"/>
          </a:xfrm>
          <a:prstGeom prst="rect">
            <a:avLst/>
          </a:prstGeom>
          <a:gradFill flip="none" rotWithShape="1">
            <a:gsLst>
              <a:gs pos="50000">
                <a:schemeClr val="tx2"/>
              </a:gs>
              <a:gs pos="100000">
                <a:schemeClr val="bg2"/>
              </a:gs>
            </a:gsLst>
            <a:path path="circle">
              <a:fillToRect t="100000" r="100000"/>
            </a:path>
            <a:tileRect l="-100000" b="-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noProof="0" dirty="0">
              <a:solidFill>
                <a:schemeClr val="tx1"/>
              </a:solidFill>
            </a:endParaRPr>
          </a:p>
        </p:txBody>
      </p:sp>
    </p:spTree>
    <p:extLst>
      <p:ext uri="{BB962C8B-B14F-4D97-AF65-F5344CB8AC3E}">
        <p14:creationId xmlns:p14="http://schemas.microsoft.com/office/powerpoint/2010/main" val="1472849127"/>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DeuxièmeIntercalaire_Dégradé">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34B7DA-FA75-4149-8676-64791F4D66D2}"/>
              </a:ext>
            </a:extLst>
          </p:cNvPr>
          <p:cNvSpPr>
            <a:spLocks noGrp="1"/>
          </p:cNvSpPr>
          <p:nvPr>
            <p:ph type="title" hasCustomPrompt="1"/>
          </p:nvPr>
        </p:nvSpPr>
        <p:spPr>
          <a:xfrm>
            <a:off x="6618979" y="1116000"/>
            <a:ext cx="2880000" cy="1620000"/>
          </a:xfrm>
        </p:spPr>
        <p:txBody>
          <a:bodyPr anchor="ctr"/>
          <a:lstStyle>
            <a:lvl1pPr>
              <a:defRPr sz="13500" b="1">
                <a:solidFill>
                  <a:srgbClr val="8D1D82"/>
                </a:solidFill>
              </a:defRPr>
            </a:lvl1pPr>
          </a:lstStyle>
          <a:p>
            <a:r>
              <a:rPr lang="fr-FR" noProof="0" dirty="0"/>
              <a:t>NN</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6618979" y="2916076"/>
            <a:ext cx="4851661" cy="1800000"/>
          </a:xfrm>
        </p:spPr>
        <p:txBody>
          <a:bodyPr anchor="t"/>
          <a:lstStyle>
            <a:lvl1pPr marL="0" indent="0">
              <a:spcBef>
                <a:spcPts val="0"/>
              </a:spcBef>
              <a:buNone/>
              <a:defRPr sz="3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Modifier les styles du texte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p:txBody>
          <a:bodyPr/>
          <a:lstStyle>
            <a:lvl1pPr>
              <a:defRPr>
                <a:solidFill>
                  <a:schemeClr val="tx1"/>
                </a:solidFill>
              </a:defRPr>
            </a:lvl1pPr>
          </a:lstStyle>
          <a:p>
            <a:fld id="{2E29996D-7698-415F-B80E-0D745A63F30F}" type="datetime1">
              <a:rPr lang="fr-FR" noProof="0" smtClean="0"/>
              <a:t>14/10/2021</a:t>
            </a:fld>
            <a:endParaRPr lang="fr-FR" noProof="0" dirty="0"/>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p:txBody>
          <a:bodyPr/>
          <a:lstStyle>
            <a:lvl1pPr>
              <a:defRPr>
                <a:solidFill>
                  <a:schemeClr val="tx1"/>
                </a:solidFill>
              </a:defRPr>
            </a:lvl1pPr>
          </a:lstStyle>
          <a:p>
            <a:r>
              <a:rPr lang="fr-FR" noProof="0"/>
              <a:t>Initiation à la méthode SAFe</a:t>
            </a:r>
            <a:endParaRPr lang="fr-FR" noProof="0"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lvl1pPr>
              <a:defRPr>
                <a:solidFill>
                  <a:schemeClr val="tx1"/>
                </a:solidFill>
              </a:defRPr>
            </a:lvl1pPr>
          </a:lstStyle>
          <a:p>
            <a:fld id="{975A587B-5814-4D9B-9598-FE9CB954CB01}" type="slidenum">
              <a:rPr lang="fr-FR" noProof="0" smtClean="0"/>
              <a:pPr/>
              <a:t>‹N°›</a:t>
            </a:fld>
            <a:endParaRPr lang="fr-FR" noProof="0" dirty="0"/>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6618979" y="4849847"/>
            <a:ext cx="4851661" cy="288000"/>
          </a:xfrm>
        </p:spPr>
        <p:txBody>
          <a:bodyPr/>
          <a:lstStyle>
            <a:lvl1pPr marL="0" indent="0">
              <a:buNone/>
              <a:defRPr sz="1400" b="0" cap="all" baseline="0">
                <a:solidFill>
                  <a:schemeClr val="tx2"/>
                </a:solidFill>
              </a:defRPr>
            </a:lvl1pPr>
          </a:lstStyle>
          <a:p>
            <a:pPr lvl="0"/>
            <a:r>
              <a:rPr lang="fr-FR" noProof="0" dirty="0"/>
              <a:t>Modifier les styles du texte du masque</a:t>
            </a:r>
          </a:p>
        </p:txBody>
      </p:sp>
      <p:sp>
        <p:nvSpPr>
          <p:cNvPr id="12" name="ZoneTexte 11"/>
          <p:cNvSpPr txBox="1"/>
          <p:nvPr userDrawn="1"/>
        </p:nvSpPr>
        <p:spPr>
          <a:xfrm>
            <a:off x="252000"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 numéro</a:t>
            </a:r>
            <a:endParaRPr lang="fr-FR" sz="1200" noProof="0" dirty="0"/>
          </a:p>
        </p:txBody>
      </p:sp>
      <p:sp>
        <p:nvSpPr>
          <p:cNvPr id="14" name="Rectangle 13"/>
          <p:cNvSpPr/>
          <p:nvPr userDrawn="1"/>
        </p:nvSpPr>
        <p:spPr>
          <a:xfrm>
            <a:off x="0" y="-374907"/>
            <a:ext cx="252000" cy="252000"/>
          </a:xfrm>
          <a:prstGeom prst="rect">
            <a:avLst/>
          </a:prstGeom>
          <a:solidFill>
            <a:srgbClr val="8C1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6" name="Rectangle 15"/>
          <p:cNvSpPr/>
          <p:nvPr userDrawn="1"/>
        </p:nvSpPr>
        <p:spPr>
          <a:xfrm>
            <a:off x="0" y="-1"/>
            <a:ext cx="6090168" cy="6113016"/>
          </a:xfrm>
          <a:prstGeom prst="rect">
            <a:avLst/>
          </a:prstGeom>
          <a:gradFill flip="none" rotWithShape="1">
            <a:gsLst>
              <a:gs pos="50000">
                <a:srgbClr val="8D1D82"/>
              </a:gs>
              <a:gs pos="100000">
                <a:srgbClr val="EA5599"/>
              </a:gs>
            </a:gsLst>
            <a:path path="circle">
              <a:fillToRect t="100000" r="100000"/>
            </a:path>
            <a:tileRect l="-100000" b="-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noProof="0" dirty="0">
              <a:solidFill>
                <a:schemeClr val="tx1"/>
              </a:solidFill>
            </a:endParaRPr>
          </a:p>
        </p:txBody>
      </p:sp>
    </p:spTree>
    <p:extLst>
      <p:ext uri="{BB962C8B-B14F-4D97-AF65-F5344CB8AC3E}">
        <p14:creationId xmlns:p14="http://schemas.microsoft.com/office/powerpoint/2010/main" val="26807756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roisièmeIntercalaire_Dégradé">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34B7DA-FA75-4149-8676-64791F4D66D2}"/>
              </a:ext>
            </a:extLst>
          </p:cNvPr>
          <p:cNvSpPr>
            <a:spLocks noGrp="1"/>
          </p:cNvSpPr>
          <p:nvPr>
            <p:ph type="title" hasCustomPrompt="1"/>
          </p:nvPr>
        </p:nvSpPr>
        <p:spPr>
          <a:xfrm>
            <a:off x="6618979" y="1116000"/>
            <a:ext cx="2880000" cy="1620000"/>
          </a:xfrm>
        </p:spPr>
        <p:txBody>
          <a:bodyPr anchor="ctr"/>
          <a:lstStyle>
            <a:lvl1pPr>
              <a:defRPr sz="13500" b="1">
                <a:solidFill>
                  <a:srgbClr val="00A188"/>
                </a:solidFill>
              </a:defRPr>
            </a:lvl1pPr>
          </a:lstStyle>
          <a:p>
            <a:r>
              <a:rPr lang="fr-FR" noProof="0" dirty="0"/>
              <a:t>NN</a:t>
            </a: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6618979" y="2916076"/>
            <a:ext cx="4851661" cy="1800000"/>
          </a:xfrm>
        </p:spPr>
        <p:txBody>
          <a:bodyPr anchor="t"/>
          <a:lstStyle>
            <a:lvl1pPr marL="0" indent="0">
              <a:spcBef>
                <a:spcPts val="0"/>
              </a:spcBef>
              <a:buNone/>
              <a:defRPr sz="3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dirty="0"/>
              <a:t>Modifier les styles du texte du masque</a:t>
            </a: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p:txBody>
          <a:bodyPr/>
          <a:lstStyle>
            <a:lvl1pPr>
              <a:defRPr>
                <a:solidFill>
                  <a:schemeClr val="tx1"/>
                </a:solidFill>
              </a:defRPr>
            </a:lvl1pPr>
          </a:lstStyle>
          <a:p>
            <a:fld id="{BB13F184-9FF0-4612-A153-E94A71E991BF}" type="datetime1">
              <a:rPr lang="fr-FR" noProof="0" smtClean="0"/>
              <a:t>14/10/2021</a:t>
            </a:fld>
            <a:endParaRPr lang="fr-FR" noProof="0" dirty="0"/>
          </a:p>
        </p:txBody>
      </p:sp>
      <p:sp>
        <p:nvSpPr>
          <p:cNvPr id="8" name="Espace réservé du pied de page 7">
            <a:extLst>
              <a:ext uri="{FF2B5EF4-FFF2-40B4-BE49-F238E27FC236}">
                <a16:creationId xmlns:a16="http://schemas.microsoft.com/office/drawing/2014/main" id="{4D9927BF-3057-4ED9-A027-6ED3E5944114}"/>
              </a:ext>
            </a:extLst>
          </p:cNvPr>
          <p:cNvSpPr>
            <a:spLocks noGrp="1"/>
          </p:cNvSpPr>
          <p:nvPr>
            <p:ph type="ftr" sz="quarter" idx="11"/>
          </p:nvPr>
        </p:nvSpPr>
        <p:spPr/>
        <p:txBody>
          <a:bodyPr/>
          <a:lstStyle>
            <a:lvl1pPr>
              <a:defRPr>
                <a:solidFill>
                  <a:schemeClr val="tx1"/>
                </a:solidFill>
              </a:defRPr>
            </a:lvl1pPr>
          </a:lstStyle>
          <a:p>
            <a:r>
              <a:rPr lang="fr-FR" noProof="0"/>
              <a:t>Initiation à la méthode SAFe</a:t>
            </a:r>
            <a:endParaRPr lang="fr-FR" noProof="0" dirty="0"/>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lvl1pPr>
              <a:defRPr>
                <a:solidFill>
                  <a:schemeClr val="tx1"/>
                </a:solidFill>
              </a:defRPr>
            </a:lvl1pPr>
          </a:lstStyle>
          <a:p>
            <a:fld id="{975A587B-5814-4D9B-9598-FE9CB954CB01}" type="slidenum">
              <a:rPr lang="fr-FR" noProof="0" smtClean="0"/>
              <a:pPr/>
              <a:t>‹N°›</a:t>
            </a:fld>
            <a:endParaRPr lang="fr-FR" noProof="0" dirty="0"/>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6618979" y="4849847"/>
            <a:ext cx="4851661" cy="288000"/>
          </a:xfrm>
        </p:spPr>
        <p:txBody>
          <a:bodyPr/>
          <a:lstStyle>
            <a:lvl1pPr marL="0" indent="0">
              <a:buNone/>
              <a:defRPr sz="1400" b="0" cap="all" baseline="0">
                <a:solidFill>
                  <a:schemeClr val="tx2"/>
                </a:solidFill>
              </a:defRPr>
            </a:lvl1pPr>
          </a:lstStyle>
          <a:p>
            <a:pPr lvl="0"/>
            <a:r>
              <a:rPr lang="fr-FR" noProof="0" dirty="0"/>
              <a:t>Modifier les styles du texte du masque</a:t>
            </a:r>
          </a:p>
        </p:txBody>
      </p:sp>
      <p:sp>
        <p:nvSpPr>
          <p:cNvPr id="10" name="ZoneTexte 9"/>
          <p:cNvSpPr txBox="1"/>
          <p:nvPr userDrawn="1"/>
        </p:nvSpPr>
        <p:spPr>
          <a:xfrm>
            <a:off x="252000" y="-384054"/>
            <a:ext cx="4080298" cy="276999"/>
          </a:xfrm>
          <a:prstGeom prst="rect">
            <a:avLst/>
          </a:prstGeom>
          <a:noFill/>
        </p:spPr>
        <p:txBody>
          <a:bodyPr wrap="square" rtlCol="0">
            <a:spAutoFit/>
          </a:bodyPr>
          <a:lstStyle/>
          <a:p>
            <a:r>
              <a:rPr lang="fr-FR" sz="1200" noProof="0" dirty="0"/>
              <a:t>Couleurs</a:t>
            </a:r>
            <a:r>
              <a:rPr lang="fr-FR" sz="1200" baseline="0" noProof="0" dirty="0"/>
              <a:t> à utiliser pour le numéro</a:t>
            </a:r>
            <a:endParaRPr lang="fr-FR" sz="1200" noProof="0" dirty="0"/>
          </a:p>
        </p:txBody>
      </p:sp>
      <p:sp>
        <p:nvSpPr>
          <p:cNvPr id="12" name="Rectangle 11"/>
          <p:cNvSpPr/>
          <p:nvPr userDrawn="1"/>
        </p:nvSpPr>
        <p:spPr>
          <a:xfrm>
            <a:off x="0" y="-374907"/>
            <a:ext cx="252000" cy="252000"/>
          </a:xfrm>
          <a:prstGeom prst="rect">
            <a:avLst/>
          </a:prstGeom>
          <a:solidFill>
            <a:srgbClr val="00A1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97" noProof="0" dirty="0"/>
          </a:p>
        </p:txBody>
      </p:sp>
      <p:sp>
        <p:nvSpPr>
          <p:cNvPr id="15" name="Rectangle 14"/>
          <p:cNvSpPr/>
          <p:nvPr userDrawn="1"/>
        </p:nvSpPr>
        <p:spPr>
          <a:xfrm>
            <a:off x="0" y="-1"/>
            <a:ext cx="6090168" cy="6120962"/>
          </a:xfrm>
          <a:prstGeom prst="rect">
            <a:avLst/>
          </a:prstGeom>
          <a:gradFill flip="none" rotWithShape="1">
            <a:gsLst>
              <a:gs pos="50000">
                <a:srgbClr val="00A188"/>
              </a:gs>
              <a:gs pos="100000">
                <a:srgbClr val="95C11F"/>
              </a:gs>
            </a:gsLst>
            <a:path path="circle">
              <a:fillToRect t="100000" r="100000"/>
            </a:path>
            <a:tileRect l="-100000" b="-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noProof="0" dirty="0">
              <a:solidFill>
                <a:schemeClr val="tx1"/>
              </a:solidFill>
            </a:endParaRPr>
          </a:p>
        </p:txBody>
      </p:sp>
    </p:spTree>
    <p:extLst>
      <p:ext uri="{BB962C8B-B14F-4D97-AF65-F5344CB8AC3E}">
        <p14:creationId xmlns:p14="http://schemas.microsoft.com/office/powerpoint/2010/main" val="15474769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BF798E53-107F-468D-A86A-B9E27C8FBA8B}"/>
              </a:ext>
            </a:extLst>
          </p:cNvPr>
          <p:cNvSpPr>
            <a:spLocks noGrp="1"/>
          </p:cNvSpPr>
          <p:nvPr>
            <p:ph type="title"/>
          </p:nvPr>
        </p:nvSpPr>
        <p:spPr>
          <a:xfrm>
            <a:off x="719137" y="349140"/>
            <a:ext cx="10751504" cy="936000"/>
          </a:xfrm>
          <a:prstGeom prst="rect">
            <a:avLst/>
          </a:prstGeom>
        </p:spPr>
        <p:txBody>
          <a:bodyPr vert="horz" lIns="0" tIns="0" rIns="0" bIns="0" rtlCol="0" anchor="t">
            <a:noAutofit/>
          </a:bodyPr>
          <a:lstStyle/>
          <a:p>
            <a:r>
              <a:rPr lang="fr-FR" noProof="0" dirty="0"/>
              <a:t>Modifiez le style du titre</a:t>
            </a:r>
          </a:p>
        </p:txBody>
      </p:sp>
      <p:sp>
        <p:nvSpPr>
          <p:cNvPr id="3" name="Espace réservé du texte 2">
            <a:extLst>
              <a:ext uri="{FF2B5EF4-FFF2-40B4-BE49-F238E27FC236}">
                <a16:creationId xmlns:a16="http://schemas.microsoft.com/office/drawing/2014/main" id="{33116353-A2DB-400D-836D-10B770C82C62}"/>
              </a:ext>
            </a:extLst>
          </p:cNvPr>
          <p:cNvSpPr>
            <a:spLocks noGrp="1"/>
          </p:cNvSpPr>
          <p:nvPr>
            <p:ph type="body" idx="1"/>
          </p:nvPr>
        </p:nvSpPr>
        <p:spPr>
          <a:xfrm>
            <a:off x="719137" y="2185200"/>
            <a:ext cx="10751504" cy="3933660"/>
          </a:xfrm>
          <a:prstGeom prst="rect">
            <a:avLst/>
          </a:prstGeom>
        </p:spPr>
        <p:txBody>
          <a:bodyPr vert="horz" lIns="0" tIns="0" rIns="0" bIns="0" rtlCol="0">
            <a:noAutofit/>
          </a:bodyPr>
          <a:lstStyle/>
          <a:p>
            <a:pPr lvl="0"/>
            <a:r>
              <a:rPr lang="fr-FR" noProof="0" dirty="0"/>
              <a:t>Modifier les styles du texte du masque</a:t>
            </a:r>
          </a:p>
          <a:p>
            <a:pPr lvl="1"/>
            <a:r>
              <a:rPr lang="fr-FR" noProof="0" dirty="0"/>
              <a:t>Deuxième niveau</a:t>
            </a:r>
          </a:p>
          <a:p>
            <a:pPr lvl="2"/>
            <a:r>
              <a:rPr lang="fr-FR" noProof="0" dirty="0"/>
              <a:t>Troisième niveau</a:t>
            </a:r>
          </a:p>
          <a:p>
            <a:pPr lvl="3"/>
            <a:r>
              <a:rPr lang="fr-FR" noProof="0" dirty="0"/>
              <a:t>Quatrième niveau</a:t>
            </a:r>
          </a:p>
        </p:txBody>
      </p:sp>
      <p:sp>
        <p:nvSpPr>
          <p:cNvPr id="4" name="Espace réservé de la date 3">
            <a:extLst>
              <a:ext uri="{FF2B5EF4-FFF2-40B4-BE49-F238E27FC236}">
                <a16:creationId xmlns:a16="http://schemas.microsoft.com/office/drawing/2014/main" id="{FDD59078-F0EA-4B2B-B92A-CB1D0AA4F88E}"/>
              </a:ext>
            </a:extLst>
          </p:cNvPr>
          <p:cNvSpPr>
            <a:spLocks noGrp="1"/>
          </p:cNvSpPr>
          <p:nvPr>
            <p:ph type="dt" sz="half" idx="2"/>
          </p:nvPr>
        </p:nvSpPr>
        <p:spPr>
          <a:xfrm>
            <a:off x="4742021" y="6337302"/>
            <a:ext cx="612000" cy="252000"/>
          </a:xfrm>
          <a:prstGeom prst="rect">
            <a:avLst/>
          </a:prstGeom>
        </p:spPr>
        <p:txBody>
          <a:bodyPr vert="horz" lIns="0" tIns="0" rIns="0" bIns="0" rtlCol="0" anchor="ctr">
            <a:noAutofit/>
          </a:bodyPr>
          <a:lstStyle>
            <a:lvl1pPr algn="l">
              <a:lnSpc>
                <a:spcPct val="100000"/>
              </a:lnSpc>
              <a:defRPr sz="800">
                <a:solidFill>
                  <a:schemeClr val="tx1"/>
                </a:solidFill>
              </a:defRPr>
            </a:lvl1pPr>
          </a:lstStyle>
          <a:p>
            <a:fld id="{BA27C20C-03F8-437D-A790-54241EF1A3FA}" type="datetime1">
              <a:rPr lang="fr-FR" noProof="0" smtClean="0"/>
              <a:t>14/10/2021</a:t>
            </a:fld>
            <a:endParaRPr lang="fr-FR" noProof="0" dirty="0"/>
          </a:p>
        </p:txBody>
      </p:sp>
      <p:sp>
        <p:nvSpPr>
          <p:cNvPr id="5" name="Espace réservé du pied de page 4">
            <a:extLst>
              <a:ext uri="{FF2B5EF4-FFF2-40B4-BE49-F238E27FC236}">
                <a16:creationId xmlns:a16="http://schemas.microsoft.com/office/drawing/2014/main" id="{16B74129-F7BE-4703-924F-ACEA71B2544C}"/>
              </a:ext>
            </a:extLst>
          </p:cNvPr>
          <p:cNvSpPr>
            <a:spLocks noGrp="1"/>
          </p:cNvSpPr>
          <p:nvPr>
            <p:ph type="ftr" sz="quarter" idx="3"/>
          </p:nvPr>
        </p:nvSpPr>
        <p:spPr>
          <a:xfrm>
            <a:off x="1026000" y="6337302"/>
            <a:ext cx="3600000" cy="252000"/>
          </a:xfrm>
          <a:prstGeom prst="rect">
            <a:avLst/>
          </a:prstGeom>
        </p:spPr>
        <p:txBody>
          <a:bodyPr vert="horz" lIns="0" tIns="0" rIns="0" bIns="0" rtlCol="0" anchor="ctr">
            <a:noAutofit/>
          </a:bodyPr>
          <a:lstStyle>
            <a:lvl1pPr algn="l">
              <a:lnSpc>
                <a:spcPct val="100000"/>
              </a:lnSpc>
              <a:defRPr sz="800" b="0">
                <a:solidFill>
                  <a:schemeClr val="tx1"/>
                </a:solidFill>
              </a:defRPr>
            </a:lvl1pPr>
          </a:lstStyle>
          <a:p>
            <a:r>
              <a:rPr lang="fr-FR" noProof="0"/>
              <a:t>Initiation à la méthode SAFe</a:t>
            </a:r>
            <a:endParaRPr lang="fr-FR" noProof="0" dirty="0"/>
          </a:p>
        </p:txBody>
      </p:sp>
      <p:sp>
        <p:nvSpPr>
          <p:cNvPr id="6" name="Espace réservé du numéro de diapositive 5">
            <a:extLst>
              <a:ext uri="{FF2B5EF4-FFF2-40B4-BE49-F238E27FC236}">
                <a16:creationId xmlns:a16="http://schemas.microsoft.com/office/drawing/2014/main" id="{2A1B493F-9EAA-4161-9132-F480E263F13A}"/>
              </a:ext>
            </a:extLst>
          </p:cNvPr>
          <p:cNvSpPr>
            <a:spLocks noGrp="1"/>
          </p:cNvSpPr>
          <p:nvPr>
            <p:ph type="sldNum" sz="quarter" idx="4"/>
          </p:nvPr>
        </p:nvSpPr>
        <p:spPr>
          <a:xfrm>
            <a:off x="719137" y="6337302"/>
            <a:ext cx="360000" cy="252000"/>
          </a:xfrm>
          <a:prstGeom prst="rect">
            <a:avLst/>
          </a:prstGeom>
        </p:spPr>
        <p:txBody>
          <a:bodyPr vert="horz" lIns="0" tIns="0" rIns="0" bIns="0" rtlCol="0" anchor="ctr">
            <a:noAutofit/>
          </a:bodyPr>
          <a:lstStyle>
            <a:lvl1pPr algn="l">
              <a:lnSpc>
                <a:spcPct val="100000"/>
              </a:lnSpc>
              <a:defRPr sz="800" b="1">
                <a:solidFill>
                  <a:schemeClr val="tx1"/>
                </a:solidFill>
              </a:defRPr>
            </a:lvl1pPr>
          </a:lstStyle>
          <a:p>
            <a:fld id="{975A587B-5814-4D9B-9598-FE9CB954CB01}" type="slidenum">
              <a:rPr lang="fr-FR" noProof="0" smtClean="0"/>
              <a:pPr/>
              <a:t>‹N°›</a:t>
            </a:fld>
            <a:endParaRPr lang="fr-FR" noProof="0" dirty="0"/>
          </a:p>
        </p:txBody>
      </p:sp>
      <p:pic>
        <p:nvPicPr>
          <p:cNvPr id="9" name="Image 8"/>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9989532" y="6268043"/>
            <a:ext cx="1587153" cy="395272"/>
          </a:xfrm>
          <a:prstGeom prst="rect">
            <a:avLst/>
          </a:prstGeom>
        </p:spPr>
      </p:pic>
    </p:spTree>
    <p:extLst>
      <p:ext uri="{BB962C8B-B14F-4D97-AF65-F5344CB8AC3E}">
        <p14:creationId xmlns:p14="http://schemas.microsoft.com/office/powerpoint/2010/main" val="1232752388"/>
      </p:ext>
    </p:extLst>
  </p:cSld>
  <p:clrMap bg1="lt1" tx1="dk1" bg2="lt2" tx2="dk2" accent1="accent1" accent2="accent2" accent3="accent3" accent4="accent4" accent5="accent5" accent6="accent6" hlink="hlink" folHlink="folHlink"/>
  <p:sldLayoutIdLst>
    <p:sldLayoutId id="2147483703" r:id="rId1"/>
    <p:sldLayoutId id="2147483702" r:id="rId2"/>
    <p:sldLayoutId id="2147483701" r:id="rId3"/>
    <p:sldLayoutId id="2147483706" r:id="rId4"/>
    <p:sldLayoutId id="2147483704" r:id="rId5"/>
    <p:sldLayoutId id="2147483707" r:id="rId6"/>
    <p:sldLayoutId id="2147483667" r:id="rId7"/>
    <p:sldLayoutId id="2147483669" r:id="rId8"/>
    <p:sldLayoutId id="2147483671" r:id="rId9"/>
    <p:sldLayoutId id="2147483673" r:id="rId10"/>
    <p:sldLayoutId id="2147483668" r:id="rId11"/>
    <p:sldLayoutId id="2147483708" r:id="rId12"/>
    <p:sldLayoutId id="2147483709" r:id="rId13"/>
    <p:sldLayoutId id="2147483728" r:id="rId14"/>
    <p:sldLayoutId id="2147483711" r:id="rId15"/>
    <p:sldLayoutId id="2147483715" r:id="rId16"/>
    <p:sldLayoutId id="2147483716" r:id="rId17"/>
    <p:sldLayoutId id="2147483712" r:id="rId18"/>
    <p:sldLayoutId id="2147483690" r:id="rId19"/>
    <p:sldLayoutId id="2147483689" r:id="rId20"/>
    <p:sldLayoutId id="2147483679" r:id="rId21"/>
    <p:sldLayoutId id="2147483713" r:id="rId22"/>
    <p:sldLayoutId id="2147483717" r:id="rId23"/>
    <p:sldLayoutId id="2147483718" r:id="rId24"/>
    <p:sldLayoutId id="2147483700" r:id="rId25"/>
  </p:sldLayoutIdLst>
  <p:hf hdr="0" dt="0"/>
  <p:txStyles>
    <p:titleStyle>
      <a:lvl1pPr algn="l" defTabSz="914400" rtl="0" eaLnBrk="1" latinLnBrk="0" hangingPunct="1">
        <a:lnSpc>
          <a:spcPct val="100000"/>
        </a:lnSpc>
        <a:spcBef>
          <a:spcPts val="600"/>
        </a:spcBef>
        <a:buNone/>
        <a:defRPr sz="3000" b="1" kern="1200">
          <a:solidFill>
            <a:schemeClr val="tx2"/>
          </a:solidFill>
          <a:latin typeface="+mj-lt"/>
          <a:ea typeface="+mj-ea"/>
          <a:cs typeface="+mj-cs"/>
        </a:defRPr>
      </a:lvl1pPr>
    </p:titleStyle>
    <p:bodyStyle>
      <a:lvl1pPr marL="355600" indent="-355600" algn="l" defTabSz="914400" rtl="0" eaLnBrk="1" latinLnBrk="0" hangingPunct="1">
        <a:lnSpc>
          <a:spcPct val="100000"/>
        </a:lnSpc>
        <a:spcBef>
          <a:spcPts val="600"/>
        </a:spcBef>
        <a:buClr>
          <a:schemeClr val="tx2"/>
        </a:buClr>
        <a:buSzPct val="60000"/>
        <a:buFontTx/>
        <a:buBlip>
          <a:blip r:embed="rId28"/>
        </a:buBlip>
        <a:defRPr sz="1800" b="1" kern="1200">
          <a:solidFill>
            <a:schemeClr val="tx1"/>
          </a:solidFill>
          <a:latin typeface="+mn-lt"/>
          <a:ea typeface="+mn-ea"/>
          <a:cs typeface="+mn-cs"/>
        </a:defRPr>
      </a:lvl1pPr>
      <a:lvl2pPr marL="625475" indent="-269875" algn="l" defTabSz="914400" rtl="0" eaLnBrk="1" latinLnBrk="0" hangingPunct="1">
        <a:lnSpc>
          <a:spcPct val="100000"/>
        </a:lnSpc>
        <a:spcBef>
          <a:spcPts val="600"/>
        </a:spcBef>
        <a:buClr>
          <a:schemeClr val="tx1">
            <a:lumMod val="60000"/>
            <a:lumOff val="40000"/>
          </a:schemeClr>
        </a:buClr>
        <a:buSzPct val="40000"/>
        <a:buFontTx/>
        <a:buBlip>
          <a:blip r:embed="rId29"/>
        </a:buBlip>
        <a:defRPr sz="1800" kern="1200">
          <a:solidFill>
            <a:schemeClr val="tx1"/>
          </a:solidFill>
          <a:latin typeface="+mn-lt"/>
          <a:ea typeface="+mn-ea"/>
          <a:cs typeface="+mn-cs"/>
        </a:defRPr>
      </a:lvl2pPr>
      <a:lvl3pPr marL="719138"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893763" indent="0" algn="l" defTabSz="914400" rtl="0" eaLnBrk="1" latinLnBrk="0" hangingPunct="1">
        <a:lnSpc>
          <a:spcPct val="100000"/>
        </a:lnSpc>
        <a:spcBef>
          <a:spcPts val="600"/>
        </a:spcBef>
        <a:buFont typeface="Arial" panose="020B0604020202020204" pitchFamily="34" charset="0"/>
        <a:buNone/>
        <a:defRPr sz="120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s://www.youtube.com/watch?v=MFzDaBzBlL0" TargetMode="Externa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s://www.scaledagileframework.com/" TargetMode="External"/><Relationship Id="rId1" Type="http://schemas.openxmlformats.org/officeDocument/2006/relationships/slideLayout" Target="../slideLayouts/slideLayout12.xml"/><Relationship Id="rId4" Type="http://schemas.openxmlformats.org/officeDocument/2006/relationships/image" Target="../media/image26.jpeg"/></Relationships>
</file>

<file path=ppt/slides/_rels/slide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hyperlink" Target="https://youtu.be/H0_yKBitO8M" TargetMode="External"/><Relationship Id="rId2" Type="http://schemas.openxmlformats.org/officeDocument/2006/relationships/image" Target="../media/image31.png"/><Relationship Id="rId1" Type="http://schemas.openxmlformats.org/officeDocument/2006/relationships/slideLayout" Target="../slideLayouts/slideLayout12.xml"/><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hyperlink" Target="https://youtu.be/u6XAPnuFjJc" TargetMode="External"/><Relationship Id="rId2" Type="http://schemas.openxmlformats.org/officeDocument/2006/relationships/image" Target="../media/image35.png"/><Relationship Id="rId1" Type="http://schemas.openxmlformats.org/officeDocument/2006/relationships/slideLayout" Target="../slideLayouts/slideLayout12.xml"/><Relationship Id="rId5" Type="http://schemas.openxmlformats.org/officeDocument/2006/relationships/hyperlink" Target="https://youtu.be/RRy_73ivcms" TargetMode="External"/><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youtu.be/OqmdLcyES_Q" TargetMode="External"/><Relationship Id="rId1" Type="http://schemas.openxmlformats.org/officeDocument/2006/relationships/slideLayout" Target="../slideLayouts/slideLayout12.xml"/><Relationship Id="rId4" Type="http://schemas.openxmlformats.org/officeDocument/2006/relationships/image" Target="../media/image36.png"/></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s://www.scaledagileframework.com/" TargetMode="Externa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image" Target="../media/image42.png"/><Relationship Id="rId4" Type="http://schemas.openxmlformats.org/officeDocument/2006/relationships/diagramLayout" Target="../diagrams/layout2.xml"/><Relationship Id="rId9" Type="http://schemas.openxmlformats.org/officeDocument/2006/relationships/image" Target="../media/image41.png"/></Relationships>
</file>

<file path=ppt/slides/_rels/slide26.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4.xml"/><Relationship Id="rId7" Type="http://schemas.openxmlformats.org/officeDocument/2006/relationships/image" Target="../media/image44.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3.png"/><Relationship Id="rId5" Type="http://schemas.openxmlformats.org/officeDocument/2006/relationships/slideLayout" Target="../slideLayouts/slideLayout12.xml"/><Relationship Id="rId10" Type="http://schemas.openxmlformats.org/officeDocument/2006/relationships/image" Target="../media/image47.png"/><Relationship Id="rId4" Type="http://schemas.openxmlformats.org/officeDocument/2006/relationships/tags" Target="../tags/tag5.xml"/><Relationship Id="rId9" Type="http://schemas.openxmlformats.org/officeDocument/2006/relationships/image" Target="../media/image46.png"/></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8.png"/><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3.png"/><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32.png"/><Relationship Id="rId4" Type="http://schemas.openxmlformats.org/officeDocument/2006/relationships/hyperlink" Target="https://youtu.be/H0_yKBitO8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 Id="rId5" Type="http://schemas.openxmlformats.org/officeDocument/2006/relationships/image" Target="../media/image52.png"/><Relationship Id="rId4" Type="http://schemas.openxmlformats.org/officeDocument/2006/relationships/image" Target="../media/image51.png"/></Relationships>
</file>

<file path=ppt/slides/_rels/slide3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8" Type="http://schemas.openxmlformats.org/officeDocument/2006/relationships/hyperlink" Target="https://youtu.be/t08nOEkrX-I" TargetMode="External"/><Relationship Id="rId3" Type="http://schemas.openxmlformats.org/officeDocument/2006/relationships/image" Target="../media/image3.png"/><Relationship Id="rId7" Type="http://schemas.openxmlformats.org/officeDocument/2006/relationships/hyperlink" Target="https://youtu.be/H0_yKBitO8M" TargetMode="External"/><Relationship Id="rId2"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image" Target="../media/image56.png"/><Relationship Id="rId5" Type="http://schemas.openxmlformats.org/officeDocument/2006/relationships/image" Target="../media/image55.png"/><Relationship Id="rId10" Type="http://schemas.openxmlformats.org/officeDocument/2006/relationships/image" Target="../media/image57.png"/><Relationship Id="rId4" Type="http://schemas.openxmlformats.org/officeDocument/2006/relationships/image" Target="../media/image54.png"/><Relationship Id="rId9" Type="http://schemas.openxmlformats.org/officeDocument/2006/relationships/image" Target="../media/image32.png"/></Relationships>
</file>

<file path=ppt/slides/_rels/slide3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 Id="rId5" Type="http://schemas.openxmlformats.org/officeDocument/2006/relationships/image" Target="../media/image60.jpeg"/><Relationship Id="rId4" Type="http://schemas.openxmlformats.org/officeDocument/2006/relationships/image" Target="../media/image59.jpeg"/></Relationships>
</file>

<file path=ppt/slides/_rels/slide3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 Id="rId5" Type="http://schemas.openxmlformats.org/officeDocument/2006/relationships/image" Target="../media/image63.jpeg"/><Relationship Id="rId4" Type="http://schemas.openxmlformats.org/officeDocument/2006/relationships/image" Target="../media/image62.jpeg"/></Relationships>
</file>

<file path=ppt/slides/_rels/slide38.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 Id="rId4" Type="http://schemas.openxmlformats.org/officeDocument/2006/relationships/image" Target="../media/image65.png"/></Relationships>
</file>

<file path=ppt/slides/_rels/slide4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58.png"/><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 Id="rId4" Type="http://schemas.openxmlformats.org/officeDocument/2006/relationships/image" Target="../media/image68.png"/></Relationships>
</file>

<file path=ppt/slides/_rels/slide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 Id="rId4" Type="http://schemas.openxmlformats.org/officeDocument/2006/relationships/image" Target="../media/image69.jpeg"/></Relationships>
</file>

<file path=ppt/slides/_rels/slide46.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eg"/><Relationship Id="rId1" Type="http://schemas.openxmlformats.org/officeDocument/2006/relationships/slideLayout" Target="../slideLayouts/slideLayout12.xml"/><Relationship Id="rId4" Type="http://schemas.openxmlformats.org/officeDocument/2006/relationships/image" Target="../media/image72.jpeg"/></Relationships>
</file>

<file path=ppt/slides/_rels/slide4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12.xml"/><Relationship Id="rId5" Type="http://schemas.openxmlformats.org/officeDocument/2006/relationships/image" Target="../media/image76.png"/><Relationship Id="rId4" Type="http://schemas.openxmlformats.org/officeDocument/2006/relationships/image" Target="../media/image75.png"/></Relationships>
</file>

<file path=ppt/slides/_rels/slide48.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2.png"/><Relationship Id="rId7" Type="http://schemas.openxmlformats.org/officeDocument/2006/relationships/image" Target="../media/image79.png"/><Relationship Id="rId2" Type="http://schemas.openxmlformats.org/officeDocument/2006/relationships/slideLayout" Target="../slideLayouts/slideLayout12.xml"/><Relationship Id="rId1" Type="http://schemas.openxmlformats.org/officeDocument/2006/relationships/tags" Target="../tags/tag7.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3.png"/><Relationship Id="rId9" Type="http://schemas.openxmlformats.org/officeDocument/2006/relationships/image" Target="../media/image81.png"/></Relationships>
</file>

<file path=ppt/slides/_rels/slide4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emf"/><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image" Target="../media/image19.png"/><Relationship Id="rId3" Type="http://schemas.openxmlformats.org/officeDocument/2006/relationships/image" Target="../media/image14.jpeg"/><Relationship Id="rId7" Type="http://schemas.openxmlformats.org/officeDocument/2006/relationships/diagramColors" Target="../diagrams/colors1.xml"/><Relationship Id="rId12" Type="http://schemas.openxmlformats.org/officeDocument/2006/relationships/image" Target="../media/image18.jpeg"/><Relationship Id="rId17" Type="http://schemas.openxmlformats.org/officeDocument/2006/relationships/image" Target="../media/image23.png"/><Relationship Id="rId2" Type="http://schemas.openxmlformats.org/officeDocument/2006/relationships/image" Target="../media/image13.png"/><Relationship Id="rId16" Type="http://schemas.openxmlformats.org/officeDocument/2006/relationships/image" Target="../media/image22.jpeg"/><Relationship Id="rId1" Type="http://schemas.openxmlformats.org/officeDocument/2006/relationships/slideLayout" Target="../slideLayouts/slideLayout12.xml"/><Relationship Id="rId6" Type="http://schemas.openxmlformats.org/officeDocument/2006/relationships/diagramQuickStyle" Target="../diagrams/quickStyle1.xml"/><Relationship Id="rId11" Type="http://schemas.openxmlformats.org/officeDocument/2006/relationships/image" Target="../media/image17.png"/><Relationship Id="rId5" Type="http://schemas.openxmlformats.org/officeDocument/2006/relationships/diagramLayout" Target="../diagrams/layout1.xml"/><Relationship Id="rId15" Type="http://schemas.openxmlformats.org/officeDocument/2006/relationships/image" Target="../media/image21.jpeg"/><Relationship Id="rId10" Type="http://schemas.openxmlformats.org/officeDocument/2006/relationships/image" Target="../media/image16.png"/><Relationship Id="rId4" Type="http://schemas.openxmlformats.org/officeDocument/2006/relationships/diagramData" Target="../diagrams/data1.xml"/><Relationship Id="rId9" Type="http://schemas.openxmlformats.org/officeDocument/2006/relationships/image" Target="../media/image15.png"/><Relationship Id="rId14" Type="http://schemas.openxmlformats.org/officeDocument/2006/relationships/image" Target="../media/image20.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r>
              <a:rPr lang="fr-FR" dirty="0"/>
              <a:t>Initiation à la méthode </a:t>
            </a:r>
            <a:r>
              <a:rPr lang="fr-FR" dirty="0" err="1"/>
              <a:t>SAFe</a:t>
            </a:r>
            <a:endParaRPr lang="fr-FR" dirty="0"/>
          </a:p>
        </p:txBody>
      </p:sp>
      <p:sp>
        <p:nvSpPr>
          <p:cNvPr id="3" name="Sous-titre 2"/>
          <p:cNvSpPr>
            <a:spLocks noGrp="1"/>
          </p:cNvSpPr>
          <p:nvPr>
            <p:ph type="subTitle" idx="1"/>
          </p:nvPr>
        </p:nvSpPr>
        <p:spPr/>
        <p:txBody>
          <a:bodyPr/>
          <a:lstStyle/>
          <a:p>
            <a:r>
              <a:rPr lang="fr-FR" dirty="0"/>
              <a:t>Polytech Montpellier</a:t>
            </a:r>
          </a:p>
          <a:p>
            <a:endParaRPr lang="fr-FR" dirty="0"/>
          </a:p>
        </p:txBody>
      </p:sp>
    </p:spTree>
    <p:extLst>
      <p:ext uri="{BB962C8B-B14F-4D97-AF65-F5344CB8AC3E}">
        <p14:creationId xmlns:p14="http://schemas.microsoft.com/office/powerpoint/2010/main" val="22233001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DAF23-3952-4BE0-A904-35EE3DCB179D}"/>
              </a:ext>
            </a:extLst>
          </p:cNvPr>
          <p:cNvSpPr>
            <a:spLocks noGrp="1"/>
          </p:cNvSpPr>
          <p:nvPr>
            <p:ph type="title"/>
          </p:nvPr>
        </p:nvSpPr>
        <p:spPr/>
        <p:txBody>
          <a:bodyPr/>
          <a:lstStyle/>
          <a:p>
            <a:r>
              <a:rPr lang="fr-FR" dirty="0">
                <a:solidFill>
                  <a:srgbClr val="00A188"/>
                </a:solidFill>
              </a:rPr>
              <a:t>03</a:t>
            </a:r>
          </a:p>
        </p:txBody>
      </p:sp>
      <p:sp>
        <p:nvSpPr>
          <p:cNvPr id="3" name="Espace réservé du texte 2">
            <a:extLst>
              <a:ext uri="{FF2B5EF4-FFF2-40B4-BE49-F238E27FC236}">
                <a16:creationId xmlns:a16="http://schemas.microsoft.com/office/drawing/2014/main" id="{31DFA70B-34D4-4D7E-8D44-380743E2A699}"/>
              </a:ext>
            </a:extLst>
          </p:cNvPr>
          <p:cNvSpPr>
            <a:spLocks noGrp="1"/>
          </p:cNvSpPr>
          <p:nvPr>
            <p:ph type="body" idx="1"/>
          </p:nvPr>
        </p:nvSpPr>
        <p:spPr/>
        <p:txBody>
          <a:bodyPr/>
          <a:lstStyle/>
          <a:p>
            <a:r>
              <a:rPr lang="fr-FR" dirty="0"/>
              <a:t>Le </a:t>
            </a:r>
            <a:r>
              <a:rPr lang="fr-FR" dirty="0" err="1"/>
              <a:t>framework</a:t>
            </a:r>
            <a:r>
              <a:rPr lang="fr-FR" dirty="0"/>
              <a:t> </a:t>
            </a:r>
            <a:r>
              <a:rPr lang="fr-FR" dirty="0" err="1"/>
              <a:t>SAFe</a:t>
            </a:r>
            <a:r>
              <a:rPr lang="fr-FR" dirty="0"/>
              <a:t> au global</a:t>
            </a:r>
          </a:p>
        </p:txBody>
      </p:sp>
      <p:sp>
        <p:nvSpPr>
          <p:cNvPr id="11" name="Espace réservé du pied de page 10">
            <a:extLst>
              <a:ext uri="{FF2B5EF4-FFF2-40B4-BE49-F238E27FC236}">
                <a16:creationId xmlns:a16="http://schemas.microsoft.com/office/drawing/2014/main" id="{EB9E3A3D-0BC1-4816-9A5C-4A91437B815E}"/>
              </a:ext>
            </a:extLst>
          </p:cNvPr>
          <p:cNvSpPr>
            <a:spLocks noGrp="1"/>
          </p:cNvSpPr>
          <p:nvPr>
            <p:ph type="ftr" sz="quarter" idx="11"/>
          </p:nvPr>
        </p:nvSpPr>
        <p:spPr/>
        <p:txBody>
          <a:bodyPr/>
          <a:lstStyle/>
          <a:p>
            <a:r>
              <a:rPr lang="fr-FR"/>
              <a:t>Initiation à la méthode SAFe</a:t>
            </a:r>
            <a:endParaRPr lang="fr-FR" dirty="0"/>
          </a:p>
        </p:txBody>
      </p:sp>
      <p:sp>
        <p:nvSpPr>
          <p:cNvPr id="12" name="Espace réservé du numéro de diapositive 11">
            <a:extLst>
              <a:ext uri="{FF2B5EF4-FFF2-40B4-BE49-F238E27FC236}">
                <a16:creationId xmlns:a16="http://schemas.microsoft.com/office/drawing/2014/main" id="{0CBB6F6B-E68A-4C55-8308-07951DA3516C}"/>
              </a:ext>
            </a:extLst>
          </p:cNvPr>
          <p:cNvSpPr>
            <a:spLocks noGrp="1"/>
          </p:cNvSpPr>
          <p:nvPr>
            <p:ph type="sldNum" sz="quarter" idx="12"/>
          </p:nvPr>
        </p:nvSpPr>
        <p:spPr/>
        <p:txBody>
          <a:bodyPr/>
          <a:lstStyle/>
          <a:p>
            <a:pPr lvl="0"/>
            <a:fld id="{975A587B-5814-4D9B-9598-FE9CB954CB01}" type="slidenum">
              <a:rPr lang="fr-FR" smtClean="0"/>
              <a:pPr lvl="0"/>
              <a:t>10</a:t>
            </a:fld>
            <a:endParaRPr lang="fr-FR" dirty="0"/>
          </a:p>
        </p:txBody>
      </p:sp>
    </p:spTree>
    <p:extLst>
      <p:ext uri="{BB962C8B-B14F-4D97-AF65-F5344CB8AC3E}">
        <p14:creationId xmlns:p14="http://schemas.microsoft.com/office/powerpoint/2010/main" val="32313937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11</a:t>
            </a:fld>
            <a:endParaRPr lang="fr-FR" dirty="0"/>
          </a:p>
        </p:txBody>
      </p:sp>
      <p:sp>
        <p:nvSpPr>
          <p:cNvPr id="5" name="Espace réservé du texte 4"/>
          <p:cNvSpPr>
            <a:spLocks noGrp="1"/>
          </p:cNvSpPr>
          <p:nvPr>
            <p:ph type="body" idx="1"/>
          </p:nvPr>
        </p:nvSpPr>
        <p:spPr/>
        <p:txBody>
          <a:bodyPr/>
          <a:lstStyle/>
          <a:p>
            <a:r>
              <a:rPr lang="fr-FR" dirty="0"/>
              <a:t>Apprendre à désapprendre</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au global</a:t>
            </a:r>
          </a:p>
        </p:txBody>
      </p:sp>
      <p:sp>
        <p:nvSpPr>
          <p:cNvPr id="9" name="Espace réservé du texte 8">
            <a:extLst>
              <a:ext uri="{FF2B5EF4-FFF2-40B4-BE49-F238E27FC236}">
                <a16:creationId xmlns:a16="http://schemas.microsoft.com/office/drawing/2014/main" id="{A5163B7C-1532-4687-9E66-80099CA8395C}"/>
              </a:ext>
            </a:extLst>
          </p:cNvPr>
          <p:cNvSpPr>
            <a:spLocks noGrp="1"/>
          </p:cNvSpPr>
          <p:nvPr>
            <p:ph type="body" sz="quarter" idx="13"/>
          </p:nvPr>
        </p:nvSpPr>
        <p:spPr/>
        <p:txBody>
          <a:bodyPr/>
          <a:lstStyle/>
          <a:p>
            <a:r>
              <a:rPr lang="en-US" dirty="0">
                <a:hlinkClick r:id="rId2"/>
              </a:rPr>
              <a:t>The Backwards Brain Bicycle - Smarter Every Day 133 - YouTube</a:t>
            </a:r>
            <a:endParaRPr lang="fr-FR" dirty="0"/>
          </a:p>
        </p:txBody>
      </p:sp>
      <p:pic>
        <p:nvPicPr>
          <p:cNvPr id="11" name="Image 10">
            <a:extLst>
              <a:ext uri="{FF2B5EF4-FFF2-40B4-BE49-F238E27FC236}">
                <a16:creationId xmlns:a16="http://schemas.microsoft.com/office/drawing/2014/main" id="{C5C9F760-E86E-46AC-AE70-4F7D2864E14A}"/>
              </a:ext>
            </a:extLst>
          </p:cNvPr>
          <p:cNvPicPr>
            <a:picLocks noChangeAspect="1"/>
          </p:cNvPicPr>
          <p:nvPr/>
        </p:nvPicPr>
        <p:blipFill>
          <a:blip r:embed="rId3"/>
          <a:stretch>
            <a:fillRect/>
          </a:stretch>
        </p:blipFill>
        <p:spPr>
          <a:xfrm>
            <a:off x="2462301" y="2194748"/>
            <a:ext cx="7265174" cy="3844488"/>
          </a:xfrm>
          <a:prstGeom prst="rect">
            <a:avLst/>
          </a:prstGeom>
        </p:spPr>
      </p:pic>
    </p:spTree>
    <p:extLst>
      <p:ext uri="{BB962C8B-B14F-4D97-AF65-F5344CB8AC3E}">
        <p14:creationId xmlns:p14="http://schemas.microsoft.com/office/powerpoint/2010/main" val="3290651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12</a:t>
            </a:fld>
            <a:endParaRPr lang="fr-FR" dirty="0"/>
          </a:p>
        </p:txBody>
      </p:sp>
      <p:sp>
        <p:nvSpPr>
          <p:cNvPr id="5" name="Espace réservé du texte 4"/>
          <p:cNvSpPr>
            <a:spLocks noGrp="1"/>
          </p:cNvSpPr>
          <p:nvPr>
            <p:ph type="body" idx="1"/>
          </p:nvPr>
        </p:nvSpPr>
        <p:spPr/>
        <p:txBody>
          <a:bodyPr/>
          <a:lstStyle/>
          <a:p>
            <a:r>
              <a:rPr lang="fr-FR" dirty="0"/>
              <a:t>OK mais c’est quoi au juste ?</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au global</a:t>
            </a:r>
          </a:p>
        </p:txBody>
      </p:sp>
      <p:sp>
        <p:nvSpPr>
          <p:cNvPr id="33" name="Espace réservé du texte 1">
            <a:extLst>
              <a:ext uri="{FF2B5EF4-FFF2-40B4-BE49-F238E27FC236}">
                <a16:creationId xmlns:a16="http://schemas.microsoft.com/office/drawing/2014/main" id="{48F88ED5-B2C6-4B0E-AC34-5AD1226D3D51}"/>
              </a:ext>
            </a:extLst>
          </p:cNvPr>
          <p:cNvSpPr>
            <a:spLocks noGrp="1"/>
          </p:cNvSpPr>
          <p:nvPr>
            <p:ph type="body" sz="quarter" idx="13"/>
          </p:nvPr>
        </p:nvSpPr>
        <p:spPr>
          <a:xfrm>
            <a:off x="719137" y="1744980"/>
            <a:ext cx="3906863" cy="4389120"/>
          </a:xfrm>
        </p:spPr>
        <p:txBody>
          <a:bodyPr/>
          <a:lstStyle/>
          <a:p>
            <a:r>
              <a:rPr lang="fr-FR" dirty="0"/>
              <a:t>Framework créé en </a:t>
            </a:r>
            <a:r>
              <a:rPr lang="fr-FR" dirty="0">
                <a:solidFill>
                  <a:schemeClr val="tx2"/>
                </a:solidFill>
              </a:rPr>
              <a:t>2011</a:t>
            </a:r>
            <a:r>
              <a:rPr lang="fr-FR" dirty="0"/>
              <a:t> par </a:t>
            </a:r>
            <a:r>
              <a:rPr lang="fr-FR" dirty="0">
                <a:solidFill>
                  <a:schemeClr val="tx2"/>
                </a:solidFill>
              </a:rPr>
              <a:t>Dean </a:t>
            </a:r>
            <a:r>
              <a:rPr lang="fr-FR" dirty="0" err="1">
                <a:solidFill>
                  <a:schemeClr val="tx2"/>
                </a:solidFill>
              </a:rPr>
              <a:t>Leffingwell</a:t>
            </a:r>
            <a:endParaRPr lang="fr-FR" dirty="0">
              <a:solidFill>
                <a:schemeClr val="tx2"/>
              </a:solidFill>
            </a:endParaRPr>
          </a:p>
          <a:p>
            <a:pPr marL="0" indent="0">
              <a:buNone/>
            </a:pPr>
            <a:endParaRPr lang="fr-FR" dirty="0">
              <a:solidFill>
                <a:schemeClr val="tx2"/>
              </a:solidFill>
            </a:endParaRPr>
          </a:p>
          <a:p>
            <a:r>
              <a:rPr lang="fr-FR" dirty="0"/>
              <a:t>Basé sur les concepts </a:t>
            </a:r>
            <a:r>
              <a:rPr lang="fr-FR" dirty="0">
                <a:solidFill>
                  <a:schemeClr val="tx2"/>
                </a:solidFill>
              </a:rPr>
              <a:t>Lean, Agile, Product Flow</a:t>
            </a:r>
          </a:p>
          <a:p>
            <a:pPr marL="0" indent="0">
              <a:buNone/>
            </a:pPr>
            <a:endParaRPr lang="fr-FR" dirty="0">
              <a:solidFill>
                <a:schemeClr val="tx2"/>
              </a:solidFill>
            </a:endParaRPr>
          </a:p>
          <a:p>
            <a:r>
              <a:rPr lang="fr-FR" dirty="0"/>
              <a:t>Une base de connaissances centralisée sur le site </a:t>
            </a:r>
            <a:r>
              <a:rPr lang="fr-FR" dirty="0">
                <a:hlinkClick r:id="rId2"/>
              </a:rPr>
              <a:t>https://www.scaledagileframework.com/</a:t>
            </a:r>
            <a:endParaRPr lang="fr-FR" dirty="0"/>
          </a:p>
          <a:p>
            <a:pPr lvl="3"/>
            <a:endParaRPr lang="fr-FR" dirty="0"/>
          </a:p>
          <a:p>
            <a:endParaRPr lang="fr-FR" dirty="0"/>
          </a:p>
          <a:p>
            <a:pPr marL="355600" lvl="1" indent="0">
              <a:buNone/>
            </a:pPr>
            <a:endParaRPr lang="fr-FR" dirty="0"/>
          </a:p>
          <a:p>
            <a:pPr lvl="3"/>
            <a:endParaRPr lang="fr-FR" dirty="0"/>
          </a:p>
          <a:p>
            <a:pPr lvl="3"/>
            <a:endParaRPr lang="fr-FR" dirty="0"/>
          </a:p>
        </p:txBody>
      </p:sp>
      <p:pic>
        <p:nvPicPr>
          <p:cNvPr id="8" name="Image 7">
            <a:extLst>
              <a:ext uri="{FF2B5EF4-FFF2-40B4-BE49-F238E27FC236}">
                <a16:creationId xmlns:a16="http://schemas.microsoft.com/office/drawing/2014/main" id="{DF78715E-2182-4BD5-BC91-064080DE1B3B}"/>
              </a:ext>
            </a:extLst>
          </p:cNvPr>
          <p:cNvPicPr>
            <a:picLocks noChangeAspect="1"/>
          </p:cNvPicPr>
          <p:nvPr/>
        </p:nvPicPr>
        <p:blipFill>
          <a:blip r:embed="rId3"/>
          <a:stretch>
            <a:fillRect/>
          </a:stretch>
        </p:blipFill>
        <p:spPr>
          <a:xfrm>
            <a:off x="4781169" y="1645157"/>
            <a:ext cx="7410831" cy="5143764"/>
          </a:xfrm>
          <a:prstGeom prst="rect">
            <a:avLst/>
          </a:prstGeom>
        </p:spPr>
      </p:pic>
      <p:pic>
        <p:nvPicPr>
          <p:cNvPr id="34" name="Picture 2" descr="Résultat de recherche d'images pour &quot;photo dean leffingwell&quot;">
            <a:extLst>
              <a:ext uri="{FF2B5EF4-FFF2-40B4-BE49-F238E27FC236}">
                <a16:creationId xmlns:a16="http://schemas.microsoft.com/office/drawing/2014/main" id="{D4331EE6-3F22-40CE-8C16-D86149C3401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97750" y="120503"/>
            <a:ext cx="1691953" cy="1691953"/>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28177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13</a:t>
            </a:fld>
            <a:endParaRPr lang="fr-FR" dirty="0"/>
          </a:p>
        </p:txBody>
      </p:sp>
      <p:sp>
        <p:nvSpPr>
          <p:cNvPr id="5" name="Espace réservé du texte 4"/>
          <p:cNvSpPr>
            <a:spLocks noGrp="1"/>
          </p:cNvSpPr>
          <p:nvPr>
            <p:ph type="body" idx="1"/>
          </p:nvPr>
        </p:nvSpPr>
        <p:spPr/>
        <p:txBody>
          <a:bodyPr/>
          <a:lstStyle/>
          <a:p>
            <a:r>
              <a:rPr lang="fr-FR" dirty="0"/>
              <a:t>OK mais c’est quoi au juste ?</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au global</a:t>
            </a:r>
          </a:p>
        </p:txBody>
      </p:sp>
      <p:sp>
        <p:nvSpPr>
          <p:cNvPr id="33" name="Espace réservé du texte 1">
            <a:extLst>
              <a:ext uri="{FF2B5EF4-FFF2-40B4-BE49-F238E27FC236}">
                <a16:creationId xmlns:a16="http://schemas.microsoft.com/office/drawing/2014/main" id="{48F88ED5-B2C6-4B0E-AC34-5AD1226D3D51}"/>
              </a:ext>
            </a:extLst>
          </p:cNvPr>
          <p:cNvSpPr>
            <a:spLocks noGrp="1"/>
          </p:cNvSpPr>
          <p:nvPr>
            <p:ph type="body" sz="quarter" idx="13"/>
          </p:nvPr>
        </p:nvSpPr>
        <p:spPr>
          <a:xfrm>
            <a:off x="719137" y="1744980"/>
            <a:ext cx="10751503" cy="4389120"/>
          </a:xfrm>
        </p:spPr>
        <p:txBody>
          <a:bodyPr/>
          <a:lstStyle/>
          <a:p>
            <a:r>
              <a:rPr lang="fr-FR" dirty="0"/>
              <a:t>L’objectif est de lancer des trains* (</a:t>
            </a:r>
            <a:r>
              <a:rPr lang="fr-FR" dirty="0">
                <a:solidFill>
                  <a:schemeClr val="tx2"/>
                </a:solidFill>
              </a:rPr>
              <a:t>Agile Release Train, ART</a:t>
            </a:r>
            <a:r>
              <a:rPr lang="fr-FR" dirty="0"/>
              <a:t>)</a:t>
            </a:r>
          </a:p>
          <a:p>
            <a:pPr lvl="2"/>
            <a:r>
              <a:rPr lang="fr-FR" dirty="0">
                <a:solidFill>
                  <a:schemeClr val="tx2"/>
                </a:solidFill>
              </a:rPr>
              <a:t>*sauf chez Air France ils lancent des avions (</a:t>
            </a:r>
            <a:r>
              <a:rPr lang="fr-FR">
                <a:solidFill>
                  <a:schemeClr val="tx2"/>
                </a:solidFill>
              </a:rPr>
              <a:t>Agile Release Plane, ARP)</a:t>
            </a:r>
            <a:endParaRPr lang="fr-FR" dirty="0">
              <a:solidFill>
                <a:schemeClr val="tx2"/>
              </a:solidFill>
            </a:endParaRPr>
          </a:p>
          <a:p>
            <a:pPr marL="0" indent="0">
              <a:buNone/>
            </a:pPr>
            <a:endParaRPr lang="fr-FR" dirty="0">
              <a:solidFill>
                <a:schemeClr val="tx2"/>
              </a:solidFill>
            </a:endParaRPr>
          </a:p>
          <a:p>
            <a:r>
              <a:rPr lang="fr-FR" dirty="0"/>
              <a:t>Un train est une organisation virtuelle (50 à 125 personnes) qui planifie, s’engage et réalise ensemble</a:t>
            </a:r>
            <a:endParaRPr lang="fr-FR" dirty="0">
              <a:solidFill>
                <a:schemeClr val="tx2"/>
              </a:solidFill>
            </a:endParaRPr>
          </a:p>
          <a:p>
            <a:pPr marL="0" indent="0">
              <a:buNone/>
            </a:pPr>
            <a:endParaRPr lang="fr-FR" dirty="0">
              <a:solidFill>
                <a:schemeClr val="tx2"/>
              </a:solidFill>
            </a:endParaRPr>
          </a:p>
          <a:p>
            <a:r>
              <a:rPr lang="fr-FR" dirty="0"/>
              <a:t>Les trains sont organisés selon les chaînes de valeur de l’entreprise et construisent la Solution qui apporte des avantages à l’utilisateur final.</a:t>
            </a:r>
          </a:p>
          <a:p>
            <a:endParaRPr lang="fr-FR" dirty="0"/>
          </a:p>
          <a:p>
            <a:pPr marL="355600" lvl="1" indent="0">
              <a:buNone/>
            </a:pPr>
            <a:endParaRPr lang="fr-FR" dirty="0"/>
          </a:p>
          <a:p>
            <a:pPr lvl="3"/>
            <a:endParaRPr lang="fr-FR" dirty="0"/>
          </a:p>
          <a:p>
            <a:pPr lvl="3"/>
            <a:endParaRPr lang="fr-FR" dirty="0"/>
          </a:p>
        </p:txBody>
      </p:sp>
      <p:pic>
        <p:nvPicPr>
          <p:cNvPr id="1026" name="Picture 2">
            <a:extLst>
              <a:ext uri="{FF2B5EF4-FFF2-40B4-BE49-F238E27FC236}">
                <a16:creationId xmlns:a16="http://schemas.microsoft.com/office/drawing/2014/main" id="{877E19BE-EA0B-4614-9E02-DA825F09FC6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51363" y="4682760"/>
            <a:ext cx="6487049" cy="14513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97576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AC72BCB7-3427-4118-8003-C521A71BF7DC}"/>
              </a:ext>
            </a:extLst>
          </p:cNvPr>
          <p:cNvPicPr>
            <a:picLocks noChangeAspect="1"/>
          </p:cNvPicPr>
          <p:nvPr/>
        </p:nvPicPr>
        <p:blipFill>
          <a:blip r:embed="rId2"/>
          <a:stretch>
            <a:fillRect/>
          </a:stretch>
        </p:blipFill>
        <p:spPr>
          <a:xfrm>
            <a:off x="6642406" y="1157681"/>
            <a:ext cx="5405163" cy="5034687"/>
          </a:xfrm>
          <a:prstGeom prst="rect">
            <a:avLst/>
          </a:prstGeom>
        </p:spPr>
      </p:pic>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14</a:t>
            </a:fld>
            <a:endParaRPr lang="fr-FR" dirty="0"/>
          </a:p>
        </p:txBody>
      </p:sp>
      <p:sp>
        <p:nvSpPr>
          <p:cNvPr id="5" name="Espace réservé du texte 4"/>
          <p:cNvSpPr>
            <a:spLocks noGrp="1"/>
          </p:cNvSpPr>
          <p:nvPr>
            <p:ph type="body" idx="1"/>
          </p:nvPr>
        </p:nvSpPr>
        <p:spPr/>
        <p:txBody>
          <a:bodyPr/>
          <a:lstStyle/>
          <a:p>
            <a:r>
              <a:rPr lang="fr-FR" dirty="0"/>
              <a:t>Les valeurs essentielles</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au global</a:t>
            </a:r>
          </a:p>
        </p:txBody>
      </p:sp>
      <p:sp>
        <p:nvSpPr>
          <p:cNvPr id="7" name="Espace réservé du texte 6">
            <a:extLst>
              <a:ext uri="{FF2B5EF4-FFF2-40B4-BE49-F238E27FC236}">
                <a16:creationId xmlns:a16="http://schemas.microsoft.com/office/drawing/2014/main" id="{F7460B39-0051-432C-8587-28B99120ABB5}"/>
              </a:ext>
            </a:extLst>
          </p:cNvPr>
          <p:cNvSpPr>
            <a:spLocks noGrp="1"/>
          </p:cNvSpPr>
          <p:nvPr>
            <p:ph type="body" sz="quarter" idx="13"/>
          </p:nvPr>
        </p:nvSpPr>
        <p:spPr>
          <a:xfrm>
            <a:off x="719136" y="1584725"/>
            <a:ext cx="10751504" cy="4389120"/>
          </a:xfrm>
        </p:spPr>
        <p:txBody>
          <a:bodyPr/>
          <a:lstStyle/>
          <a:p>
            <a:r>
              <a:rPr lang="fr-FR" altLang="fr-FR" b="1" dirty="0">
                <a:solidFill>
                  <a:schemeClr val="accent1"/>
                </a:solidFill>
              </a:rPr>
              <a:t>Alignement - </a:t>
            </a:r>
            <a:r>
              <a:rPr lang="fr-FR" altLang="fr-FR" b="1" i="1" dirty="0" err="1">
                <a:solidFill>
                  <a:schemeClr val="accent1"/>
                </a:solidFill>
              </a:rPr>
              <a:t>Alignment</a:t>
            </a:r>
            <a:endParaRPr lang="fr-FR" altLang="fr-FR" b="1" i="1" dirty="0">
              <a:solidFill>
                <a:schemeClr val="accent1"/>
              </a:solidFill>
            </a:endParaRPr>
          </a:p>
          <a:p>
            <a:pPr lvl="1"/>
            <a:r>
              <a:rPr lang="fr-FR" altLang="fr-FR" dirty="0"/>
              <a:t>de la stratégie d’entreprise (Roadmap, Vision)</a:t>
            </a:r>
          </a:p>
          <a:p>
            <a:pPr lvl="1"/>
            <a:r>
              <a:rPr lang="fr-FR" altLang="fr-FR" dirty="0"/>
              <a:t>des équipes – cadence et synchronisation</a:t>
            </a:r>
          </a:p>
          <a:p>
            <a:r>
              <a:rPr lang="fr-FR" altLang="fr-FR" b="1" dirty="0">
                <a:solidFill>
                  <a:schemeClr val="accent1"/>
                </a:solidFill>
              </a:rPr>
              <a:t>La Qualité intrinsèque - </a:t>
            </a:r>
            <a:r>
              <a:rPr lang="fr-FR" altLang="fr-FR" b="1" i="1" dirty="0" err="1">
                <a:solidFill>
                  <a:schemeClr val="accent1"/>
                </a:solidFill>
              </a:rPr>
              <a:t>Built-in</a:t>
            </a:r>
            <a:r>
              <a:rPr lang="fr-FR" altLang="fr-FR" b="1" i="1" dirty="0">
                <a:solidFill>
                  <a:schemeClr val="accent1"/>
                </a:solidFill>
              </a:rPr>
              <a:t> </a:t>
            </a:r>
            <a:r>
              <a:rPr lang="fr-FR" altLang="fr-FR" b="1" i="1" dirty="0" err="1">
                <a:solidFill>
                  <a:schemeClr val="accent1"/>
                </a:solidFill>
              </a:rPr>
              <a:t>Quality</a:t>
            </a:r>
            <a:endParaRPr lang="fr-FR" altLang="fr-FR" b="1" i="1" dirty="0">
              <a:solidFill>
                <a:schemeClr val="accent1"/>
              </a:solidFill>
            </a:endParaRPr>
          </a:p>
          <a:p>
            <a:pPr lvl="1"/>
            <a:r>
              <a:rPr lang="fr-FR" altLang="fr-FR" i="1" dirty="0"/>
              <a:t>« On ne peut mettre à l’échelle du code sale »</a:t>
            </a:r>
          </a:p>
          <a:p>
            <a:pPr lvl="1"/>
            <a:r>
              <a:rPr lang="fr-FR" altLang="fr-FR" i="1" dirty="0"/>
              <a:t>« You </a:t>
            </a:r>
            <a:r>
              <a:rPr lang="fr-FR" altLang="fr-FR" i="1" dirty="0" err="1"/>
              <a:t>can’t</a:t>
            </a:r>
            <a:r>
              <a:rPr lang="fr-FR" altLang="fr-FR" i="1" dirty="0"/>
              <a:t> </a:t>
            </a:r>
            <a:r>
              <a:rPr lang="fr-FR" altLang="fr-FR" i="1" dirty="0" err="1"/>
              <a:t>scale</a:t>
            </a:r>
            <a:r>
              <a:rPr lang="fr-FR" altLang="fr-FR" i="1" dirty="0"/>
              <a:t> </a:t>
            </a:r>
            <a:r>
              <a:rPr lang="fr-FR" altLang="fr-FR" i="1" dirty="0" err="1"/>
              <a:t>crappy</a:t>
            </a:r>
            <a:r>
              <a:rPr lang="fr-FR" altLang="fr-FR" i="1" dirty="0"/>
              <a:t> code »</a:t>
            </a:r>
          </a:p>
          <a:p>
            <a:r>
              <a:rPr lang="en-US" b="1" dirty="0">
                <a:solidFill>
                  <a:schemeClr val="accent1"/>
                </a:solidFill>
              </a:rPr>
              <a:t>Transparence - </a:t>
            </a:r>
            <a:r>
              <a:rPr lang="en-US" b="1" i="1" dirty="0">
                <a:solidFill>
                  <a:schemeClr val="accent1"/>
                </a:solidFill>
              </a:rPr>
              <a:t>Transparence</a:t>
            </a:r>
          </a:p>
          <a:p>
            <a:pPr lvl="1"/>
            <a:r>
              <a:rPr lang="en-US" dirty="0"/>
              <a:t>Dans </a:t>
            </a:r>
            <a:r>
              <a:rPr lang="en-US" dirty="0" err="1"/>
              <a:t>l’avancement</a:t>
            </a:r>
            <a:r>
              <a:rPr lang="en-US" dirty="0"/>
              <a:t> et les </a:t>
            </a:r>
            <a:r>
              <a:rPr lang="en-US" dirty="0" err="1"/>
              <a:t>difficultés</a:t>
            </a:r>
            <a:endParaRPr lang="en-US" dirty="0"/>
          </a:p>
          <a:p>
            <a:pPr lvl="1"/>
            <a:r>
              <a:rPr lang="en-US" dirty="0"/>
              <a:t>Dans </a:t>
            </a:r>
            <a:r>
              <a:rPr lang="en-US" dirty="0" err="1"/>
              <a:t>l’amélioration</a:t>
            </a:r>
            <a:r>
              <a:rPr lang="en-US" dirty="0"/>
              <a:t> (retrospectives à </a:t>
            </a:r>
            <a:r>
              <a:rPr lang="en-US" dirty="0" err="1"/>
              <a:t>tous</a:t>
            </a:r>
            <a:r>
              <a:rPr lang="en-US" dirty="0"/>
              <a:t> les </a:t>
            </a:r>
            <a:r>
              <a:rPr lang="en-US" dirty="0" err="1"/>
              <a:t>niveaux</a:t>
            </a:r>
            <a:r>
              <a:rPr lang="en-US" dirty="0"/>
              <a:t>)</a:t>
            </a:r>
          </a:p>
          <a:p>
            <a:pPr lvl="1"/>
            <a:r>
              <a:rPr lang="en-US" dirty="0"/>
              <a:t>Dans </a:t>
            </a:r>
            <a:r>
              <a:rPr lang="en-US" dirty="0" err="1"/>
              <a:t>l’engagement</a:t>
            </a:r>
            <a:r>
              <a:rPr lang="en-US" dirty="0"/>
              <a:t> des </a:t>
            </a:r>
            <a:r>
              <a:rPr lang="en-US" dirty="0" err="1"/>
              <a:t>équipes</a:t>
            </a:r>
            <a:r>
              <a:rPr lang="en-US" dirty="0"/>
              <a:t> (PI Objectives)</a:t>
            </a:r>
          </a:p>
          <a:p>
            <a:r>
              <a:rPr lang="en-US" b="1" dirty="0" err="1">
                <a:solidFill>
                  <a:schemeClr val="accent1"/>
                </a:solidFill>
              </a:rPr>
              <a:t>Exécution</a:t>
            </a:r>
            <a:r>
              <a:rPr lang="en-US" b="1" dirty="0">
                <a:solidFill>
                  <a:schemeClr val="accent1"/>
                </a:solidFill>
              </a:rPr>
              <a:t> du </a:t>
            </a:r>
            <a:r>
              <a:rPr lang="en-US" b="1" dirty="0" err="1">
                <a:solidFill>
                  <a:schemeClr val="accent1"/>
                </a:solidFill>
              </a:rPr>
              <a:t>Programme</a:t>
            </a:r>
            <a:r>
              <a:rPr lang="en-US" b="1" dirty="0">
                <a:solidFill>
                  <a:schemeClr val="accent1"/>
                </a:solidFill>
              </a:rPr>
              <a:t> - </a:t>
            </a:r>
            <a:r>
              <a:rPr lang="en-US" b="1" i="1" dirty="0">
                <a:solidFill>
                  <a:schemeClr val="accent1"/>
                </a:solidFill>
              </a:rPr>
              <a:t>Program Execution</a:t>
            </a:r>
          </a:p>
          <a:p>
            <a:pPr lvl="1"/>
            <a:r>
              <a:rPr lang="en-US" dirty="0"/>
              <a:t>Le train part et arrive </a:t>
            </a:r>
            <a:r>
              <a:rPr lang="en-US" dirty="0" err="1"/>
              <a:t>en</a:t>
            </a:r>
            <a:r>
              <a:rPr lang="en-US" dirty="0"/>
              <a:t> </a:t>
            </a:r>
            <a:r>
              <a:rPr lang="en-US" dirty="0" err="1"/>
              <a:t>même</a:t>
            </a:r>
            <a:r>
              <a:rPr lang="en-US" dirty="0"/>
              <a:t> temps pour tout le monde</a:t>
            </a:r>
          </a:p>
          <a:p>
            <a:endParaRPr lang="fr-FR" dirty="0"/>
          </a:p>
        </p:txBody>
      </p:sp>
    </p:spTree>
    <p:extLst>
      <p:ext uri="{BB962C8B-B14F-4D97-AF65-F5344CB8AC3E}">
        <p14:creationId xmlns:p14="http://schemas.microsoft.com/office/powerpoint/2010/main" val="13065834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15</a:t>
            </a:fld>
            <a:endParaRPr lang="fr-FR" dirty="0"/>
          </a:p>
        </p:txBody>
      </p:sp>
      <p:sp>
        <p:nvSpPr>
          <p:cNvPr id="5" name="Espace réservé du texte 4"/>
          <p:cNvSpPr>
            <a:spLocks noGrp="1"/>
          </p:cNvSpPr>
          <p:nvPr>
            <p:ph type="body" idx="1"/>
          </p:nvPr>
        </p:nvSpPr>
        <p:spPr/>
        <p:txBody>
          <a:bodyPr/>
          <a:lstStyle/>
          <a:p>
            <a:r>
              <a:rPr lang="fr-FR" dirty="0"/>
              <a:t>La maison du Lean </a:t>
            </a:r>
            <a:r>
              <a:rPr lang="fr-FR" dirty="0" err="1"/>
              <a:t>SAFe</a:t>
            </a:r>
            <a:endParaRPr lang="fr-FR" dirty="0"/>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au global</a:t>
            </a:r>
          </a:p>
        </p:txBody>
      </p:sp>
      <p:grpSp>
        <p:nvGrpSpPr>
          <p:cNvPr id="9" name="Groupe 8">
            <a:extLst>
              <a:ext uri="{FF2B5EF4-FFF2-40B4-BE49-F238E27FC236}">
                <a16:creationId xmlns:a16="http://schemas.microsoft.com/office/drawing/2014/main" id="{605C3CBA-D6F5-4DF8-92CD-07BBDC8C6DD2}"/>
              </a:ext>
            </a:extLst>
          </p:cNvPr>
          <p:cNvGrpSpPr/>
          <p:nvPr/>
        </p:nvGrpSpPr>
        <p:grpSpPr>
          <a:xfrm>
            <a:off x="2386476" y="1404394"/>
            <a:ext cx="7416824" cy="4932908"/>
            <a:chOff x="925053" y="1039378"/>
            <a:chExt cx="7424928" cy="4858502"/>
          </a:xfrm>
        </p:grpSpPr>
        <p:sp>
          <p:nvSpPr>
            <p:cNvPr id="10" name="Rounded Rectangle 7">
              <a:extLst>
                <a:ext uri="{FF2B5EF4-FFF2-40B4-BE49-F238E27FC236}">
                  <a16:creationId xmlns:a16="http://schemas.microsoft.com/office/drawing/2014/main" id="{C63A9639-B22C-424C-8102-2158C6814C9C}"/>
                </a:ext>
              </a:extLst>
            </p:cNvPr>
            <p:cNvSpPr/>
            <p:nvPr/>
          </p:nvSpPr>
          <p:spPr bwMode="auto">
            <a:xfrm rot="5400000">
              <a:off x="3996741" y="1619301"/>
              <a:ext cx="1305966" cy="7251191"/>
            </a:xfrm>
            <a:prstGeom prst="roundRect">
              <a:avLst>
                <a:gd name="adj" fmla="val 4561"/>
              </a:avLst>
            </a:prstGeom>
            <a:solidFill>
              <a:srgbClr val="565656"/>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marL="0" marR="0" lvl="0" indent="0" defTabSz="914400" eaLnBrk="0" fontAlgn="auto" latinLnBrk="0" hangingPunct="0">
                <a:lnSpc>
                  <a:spcPct val="100000"/>
                </a:lnSpc>
                <a:spcBef>
                  <a:spcPct val="20000"/>
                </a:spcBef>
                <a:spcAft>
                  <a:spcPts val="0"/>
                </a:spcAft>
                <a:buClrTx/>
                <a:buSzTx/>
                <a:buFontTx/>
                <a:buNone/>
                <a:tabLst/>
                <a:defRPr/>
              </a:pPr>
              <a:endParaRPr kumimoji="0" lang="en-US" sz="1400" b="0" i="1" u="none" strike="noStrike" kern="0" cap="none" spc="0" normalizeH="0" baseline="0" noProof="0" dirty="0">
                <a:ln>
                  <a:noFill/>
                </a:ln>
                <a:solidFill>
                  <a:srgbClr val="565656"/>
                </a:solidFill>
                <a:effectLst/>
                <a:uLnTx/>
                <a:uFillTx/>
                <a:latin typeface="Arial"/>
                <a:cs typeface="Arial"/>
              </a:endParaRPr>
            </a:p>
          </p:txBody>
        </p:sp>
        <p:sp>
          <p:nvSpPr>
            <p:cNvPr id="12" name="TextBox 11">
              <a:extLst>
                <a:ext uri="{FF2B5EF4-FFF2-40B4-BE49-F238E27FC236}">
                  <a16:creationId xmlns:a16="http://schemas.microsoft.com/office/drawing/2014/main" id="{967DC4C5-41CA-4188-8CF5-4CEE348F15C9}"/>
                </a:ext>
              </a:extLst>
            </p:cNvPr>
            <p:cNvSpPr txBox="1"/>
            <p:nvPr/>
          </p:nvSpPr>
          <p:spPr>
            <a:xfrm>
              <a:off x="1024127" y="4591915"/>
              <a:ext cx="7251191" cy="1242850"/>
            </a:xfrm>
            <a:prstGeom prst="rect">
              <a:avLst/>
            </a:prstGeom>
            <a:solidFill>
              <a:srgbClr val="FFFFFF">
                <a:alpha val="0"/>
              </a:srgbClr>
            </a:solidFill>
            <a:ln>
              <a:solidFill>
                <a:srgbClr val="FFFFFF">
                  <a:alpha val="0"/>
                </a:srgbClr>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FFFFFF"/>
                  </a:solidFill>
                  <a:effectLst/>
                  <a:uLnTx/>
                  <a:uFillTx/>
                  <a:latin typeface="Arial"/>
                  <a:cs typeface="Arial"/>
                </a:rPr>
                <a:t>LE LEADERSHIP</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919191">
                      <a:lumMod val="40000"/>
                      <a:lumOff val="60000"/>
                    </a:srgbClr>
                  </a:solidFill>
                  <a:effectLst/>
                  <a:uLnTx/>
                  <a:uFillTx/>
                  <a:latin typeface="Arial" pitchFamily="34" charset="0"/>
                  <a:cs typeface="Arial"/>
                </a:rPr>
                <a:t>Le Management a la </a:t>
              </a:r>
              <a:r>
                <a:rPr kumimoji="0" lang="en-US" sz="1200" b="0" i="0" u="none" strike="noStrike" kern="0" cap="none" spc="0" normalizeH="0" baseline="0" noProof="0" dirty="0" err="1">
                  <a:ln>
                    <a:noFill/>
                  </a:ln>
                  <a:solidFill>
                    <a:srgbClr val="919191">
                      <a:lumMod val="40000"/>
                      <a:lumOff val="60000"/>
                    </a:srgbClr>
                  </a:solidFill>
                  <a:effectLst/>
                  <a:uLnTx/>
                  <a:uFillTx/>
                  <a:latin typeface="Arial" pitchFamily="34" charset="0"/>
                  <a:cs typeface="Arial"/>
                </a:rPr>
                <a:t>responsabilité</a:t>
              </a:r>
              <a:r>
                <a:rPr kumimoji="0" lang="en-US" sz="1200" b="0" i="0" u="none" strike="noStrike" kern="0" cap="none" spc="0" normalizeH="0" baseline="0" noProof="0" dirty="0">
                  <a:ln>
                    <a:noFill/>
                  </a:ln>
                  <a:solidFill>
                    <a:srgbClr val="919191">
                      <a:lumMod val="40000"/>
                      <a:lumOff val="60000"/>
                    </a:srgbClr>
                  </a:solidFill>
                  <a:effectLst/>
                  <a:uLnTx/>
                  <a:uFillTx/>
                  <a:latin typeface="Arial" pitchFamily="34" charset="0"/>
                  <a:cs typeface="Arial"/>
                </a:rPr>
                <a:t> de </a:t>
              </a:r>
              <a:r>
                <a:rPr kumimoji="0" lang="en-US" sz="1200" b="0" i="0" u="none" strike="noStrike" kern="0" cap="none" spc="0" normalizeH="0" baseline="0" noProof="0" dirty="0" err="1">
                  <a:ln>
                    <a:noFill/>
                  </a:ln>
                  <a:solidFill>
                    <a:srgbClr val="919191">
                      <a:lumMod val="40000"/>
                      <a:lumOff val="60000"/>
                    </a:srgbClr>
                  </a:solidFill>
                  <a:effectLst/>
                  <a:uLnTx/>
                  <a:uFillTx/>
                  <a:latin typeface="Arial" pitchFamily="34" charset="0"/>
                  <a:cs typeface="Arial"/>
                </a:rPr>
                <a:t>conduire</a:t>
              </a:r>
              <a:r>
                <a:rPr kumimoji="0" lang="en-US" sz="1200" b="0" i="0" u="none" strike="noStrike" kern="0" cap="none" spc="0" normalizeH="0" baseline="0" noProof="0" dirty="0">
                  <a:ln>
                    <a:noFill/>
                  </a:ln>
                  <a:solidFill>
                    <a:srgbClr val="919191">
                      <a:lumMod val="40000"/>
                      <a:lumOff val="60000"/>
                    </a:srgbClr>
                  </a:solidFill>
                  <a:effectLst/>
                  <a:uLnTx/>
                  <a:uFillTx/>
                  <a:latin typeface="Arial" pitchFamily="34" charset="0"/>
                  <a:cs typeface="Arial"/>
                </a:rPr>
                <a:t> le </a:t>
              </a:r>
              <a:r>
                <a:rPr kumimoji="0" lang="en-US" sz="1200" b="0" i="0" u="none" strike="noStrike" kern="0" cap="none" spc="0" normalizeH="0" baseline="0" noProof="0" dirty="0" err="1">
                  <a:ln>
                    <a:noFill/>
                  </a:ln>
                  <a:solidFill>
                    <a:srgbClr val="919191">
                      <a:lumMod val="40000"/>
                      <a:lumOff val="60000"/>
                    </a:srgbClr>
                  </a:solidFill>
                  <a:effectLst/>
                  <a:uLnTx/>
                  <a:uFillTx/>
                  <a:latin typeface="Arial" pitchFamily="34" charset="0"/>
                  <a:cs typeface="Arial"/>
                </a:rPr>
                <a:t>changement</a:t>
              </a:r>
              <a:r>
                <a:rPr kumimoji="0" lang="en-US" sz="1200" b="0" i="0" u="none" strike="noStrike" kern="0" cap="none" spc="0" normalizeH="0" baseline="0" noProof="0" dirty="0">
                  <a:ln>
                    <a:noFill/>
                  </a:ln>
                  <a:solidFill>
                    <a:srgbClr val="919191">
                      <a:lumMod val="40000"/>
                      <a:lumOff val="60000"/>
                    </a:srgbClr>
                  </a:solidFill>
                  <a:effectLst/>
                  <a:uLnTx/>
                  <a:uFillTx/>
                  <a:latin typeface="Arial" pitchFamily="34" charset="0"/>
                  <a:cs typeface="Arial"/>
                </a:rPr>
                <a:t>. </a:t>
              </a:r>
              <a:br>
                <a:rPr kumimoji="0" lang="en-US" sz="1200" b="0" i="0" u="none" strike="noStrike" kern="0" cap="none" spc="0" normalizeH="0" baseline="0" noProof="0" dirty="0">
                  <a:ln>
                    <a:noFill/>
                  </a:ln>
                  <a:solidFill>
                    <a:srgbClr val="919191">
                      <a:lumMod val="40000"/>
                      <a:lumOff val="60000"/>
                    </a:srgbClr>
                  </a:solidFill>
                  <a:effectLst/>
                  <a:uLnTx/>
                  <a:uFillTx/>
                  <a:latin typeface="Arial" pitchFamily="34" charset="0"/>
                  <a:cs typeface="Arial"/>
                </a:rPr>
              </a:br>
              <a:r>
                <a:rPr kumimoji="0" lang="en-US" sz="1200" b="0" i="0" u="none" strike="noStrike" kern="0" cap="none" spc="0" normalizeH="0" baseline="0" noProof="0" dirty="0">
                  <a:ln>
                    <a:noFill/>
                  </a:ln>
                  <a:solidFill>
                    <a:srgbClr val="919191">
                      <a:lumMod val="40000"/>
                      <a:lumOff val="60000"/>
                    </a:srgbClr>
                  </a:solidFill>
                  <a:effectLst/>
                  <a:uLnTx/>
                  <a:uFillTx/>
                  <a:latin typeface="Arial" pitchFamily="34" charset="0"/>
                  <a:cs typeface="Arial"/>
                </a:rPr>
                <a:t>Le Management doit </a:t>
              </a:r>
              <a:r>
                <a:rPr kumimoji="0" lang="fr-FR" sz="1200" b="0" i="0" u="none" strike="noStrike" kern="0" cap="none" spc="0" normalizeH="0" baseline="0" noProof="0" dirty="0">
                  <a:ln>
                    <a:noFill/>
                  </a:ln>
                  <a:solidFill>
                    <a:srgbClr val="919191">
                      <a:lumMod val="40000"/>
                      <a:lumOff val="60000"/>
                    </a:srgbClr>
                  </a:solidFill>
                  <a:effectLst/>
                  <a:uLnTx/>
                  <a:uFillTx/>
                  <a:latin typeface="Arial" pitchFamily="34" charset="0"/>
                  <a:cs typeface="Arial"/>
                </a:rPr>
                <a:t>aider les collaborateurs à développer leurs compétences et à révéler leur potentiel.</a:t>
              </a:r>
              <a:r>
                <a:rPr kumimoji="0" lang="en-US" sz="1200" b="0" i="0" u="none" strike="noStrike" kern="0" cap="none" spc="0" normalizeH="0" baseline="0" noProof="0" dirty="0">
                  <a:ln>
                    <a:noFill/>
                  </a:ln>
                  <a:solidFill>
                    <a:srgbClr val="919191">
                      <a:lumMod val="40000"/>
                      <a:lumOff val="60000"/>
                    </a:srgbClr>
                  </a:solidFill>
                  <a:effectLst/>
                  <a:uLnTx/>
                  <a:uFillTx/>
                  <a:latin typeface="Arial" pitchFamily="34" charset="0"/>
                  <a:cs typeface="Arial"/>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a:ln>
                    <a:noFill/>
                  </a:ln>
                  <a:solidFill>
                    <a:srgbClr val="919191">
                      <a:lumMod val="40000"/>
                      <a:lumOff val="60000"/>
                    </a:srgbClr>
                  </a:solidFill>
                  <a:effectLst/>
                  <a:uLnTx/>
                  <a:uFillTx/>
                  <a:latin typeface="Arial" pitchFamily="34" charset="0"/>
                  <a:cs typeface="Arial"/>
                </a:rPr>
                <a:t>Il faut décentraliser la prise de décision car les collaborateurs sont les mieux placés pour prendre des décisions sur la façon de réaliser leur travail. Déverrouiller la</a:t>
              </a:r>
              <a:r>
                <a:rPr kumimoji="0" lang="fr-FR" sz="1200" b="0" i="0" u="none" strike="noStrike" kern="0" cap="none" spc="0" normalizeH="0" noProof="0" dirty="0">
                  <a:ln>
                    <a:noFill/>
                  </a:ln>
                  <a:solidFill>
                    <a:srgbClr val="919191">
                      <a:lumMod val="40000"/>
                      <a:lumOff val="60000"/>
                    </a:srgbClr>
                  </a:solidFill>
                  <a:effectLst/>
                  <a:uLnTx/>
                  <a:uFillTx/>
                  <a:latin typeface="Arial" pitchFamily="34" charset="0"/>
                  <a:cs typeface="Arial"/>
                </a:rPr>
                <a:t> motivation intrinsèque</a:t>
              </a:r>
              <a:r>
                <a:rPr kumimoji="0" lang="fr-FR" sz="1100" b="0" i="0" u="none" strike="noStrike" kern="0" cap="none" spc="0" normalizeH="0" noProof="0" dirty="0">
                  <a:ln>
                    <a:noFill/>
                  </a:ln>
                  <a:solidFill>
                    <a:srgbClr val="919191">
                      <a:lumMod val="40000"/>
                      <a:lumOff val="60000"/>
                    </a:srgbClr>
                  </a:solidFill>
                  <a:effectLst/>
                  <a:uLnTx/>
                  <a:uFillTx/>
                  <a:latin typeface="Arial" pitchFamily="34" charset="0"/>
                  <a:cs typeface="Arial"/>
                </a:rPr>
                <a:t>.</a:t>
              </a:r>
              <a:endParaRPr kumimoji="0" lang="en-US" sz="1100" b="0" i="0" u="none" strike="noStrike" kern="0" cap="none" spc="0" normalizeH="0" baseline="0" noProof="0" dirty="0">
                <a:ln>
                  <a:noFill/>
                </a:ln>
                <a:solidFill>
                  <a:srgbClr val="919191">
                    <a:lumMod val="40000"/>
                    <a:lumOff val="60000"/>
                  </a:srgbClr>
                </a:solidFill>
                <a:effectLst/>
                <a:uLnTx/>
                <a:uFillTx/>
                <a:latin typeface="Arial" pitchFamily="34" charset="0"/>
                <a:cs typeface="Arial"/>
              </a:endParaRPr>
            </a:p>
          </p:txBody>
        </p:sp>
        <p:sp>
          <p:nvSpPr>
            <p:cNvPr id="13" name="Trapezoid 5">
              <a:extLst>
                <a:ext uri="{FF2B5EF4-FFF2-40B4-BE49-F238E27FC236}">
                  <a16:creationId xmlns:a16="http://schemas.microsoft.com/office/drawing/2014/main" id="{070AE2A7-A30D-4A72-8E8D-286FBDF4D1E9}"/>
                </a:ext>
              </a:extLst>
            </p:cNvPr>
            <p:cNvSpPr/>
            <p:nvPr/>
          </p:nvSpPr>
          <p:spPr bwMode="auto">
            <a:xfrm>
              <a:off x="925053" y="1039378"/>
              <a:ext cx="7424928" cy="1089321"/>
            </a:xfrm>
            <a:prstGeom prst="trapezoid">
              <a:avLst>
                <a:gd name="adj" fmla="val 93424"/>
              </a:avLst>
            </a:prstGeom>
            <a:solidFill>
              <a:schemeClr val="tx2"/>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marL="0" marR="0" lvl="0" indent="0" algn="ctr" defTabSz="914400" eaLnBrk="0" fontAlgn="auto" latinLnBrk="0" hangingPunct="0">
                <a:lnSpc>
                  <a:spcPct val="100000"/>
                </a:lnSpc>
                <a:spcBef>
                  <a:spcPct val="20000"/>
                </a:spcBef>
                <a:spcAft>
                  <a:spcPts val="0"/>
                </a:spcAft>
                <a:buClrTx/>
                <a:buSzTx/>
                <a:buFontTx/>
                <a:buNone/>
                <a:tabLst/>
                <a:defRPr/>
              </a:pPr>
              <a:endParaRPr kumimoji="0" lang="fr-FR" sz="1100" b="0" u="none" strike="noStrike" kern="0" cap="none" spc="0" normalizeH="0" baseline="0" noProof="0" dirty="0">
                <a:ln>
                  <a:noFill/>
                </a:ln>
                <a:solidFill>
                  <a:schemeClr val="accent4"/>
                </a:solidFill>
                <a:effectLst/>
                <a:uLnTx/>
                <a:uFillTx/>
                <a:latin typeface="Arial"/>
                <a:cs typeface="Arial"/>
              </a:endParaRPr>
            </a:p>
            <a:p>
              <a:pPr marL="0" marR="0" lvl="0" indent="0" algn="ctr" defTabSz="914400" eaLnBrk="0" fontAlgn="auto" latinLnBrk="0" hangingPunct="0">
                <a:lnSpc>
                  <a:spcPct val="100000"/>
                </a:lnSpc>
                <a:spcBef>
                  <a:spcPct val="20000"/>
                </a:spcBef>
                <a:spcAft>
                  <a:spcPts val="0"/>
                </a:spcAft>
                <a:buClrTx/>
                <a:buSzTx/>
                <a:buFontTx/>
                <a:buNone/>
                <a:tabLst/>
                <a:defRPr/>
              </a:pPr>
              <a:br>
                <a:rPr kumimoji="0" lang="fr-FR" sz="1100" b="0" u="none" strike="noStrike" kern="0" cap="none" spc="0" normalizeH="0" baseline="0" noProof="0" dirty="0">
                  <a:ln>
                    <a:noFill/>
                  </a:ln>
                  <a:solidFill>
                    <a:srgbClr val="565656"/>
                  </a:solidFill>
                  <a:effectLst/>
                  <a:uLnTx/>
                  <a:uFillTx/>
                  <a:latin typeface="Arial"/>
                  <a:cs typeface="Arial"/>
                </a:rPr>
              </a:br>
              <a:r>
                <a:rPr kumimoji="0" lang="fr-FR" sz="1200" b="0" u="none" strike="noStrike" kern="0" cap="none" spc="0" normalizeH="0" baseline="0" noProof="0" dirty="0">
                  <a:ln>
                    <a:noFill/>
                  </a:ln>
                  <a:solidFill>
                    <a:schemeClr val="bg1"/>
                  </a:solidFill>
                  <a:effectLst/>
                  <a:uLnTx/>
                  <a:uFillTx/>
                  <a:latin typeface="Arial"/>
                  <a:cs typeface="Arial"/>
                </a:rPr>
                <a:t>Délais raccourcis, meilleure qualité et plus de valeur pour tous (individus</a:t>
              </a:r>
              <a:r>
                <a:rPr lang="fr-FR" sz="1200" kern="0" dirty="0">
                  <a:solidFill>
                    <a:schemeClr val="bg1"/>
                  </a:solidFill>
                  <a:latin typeface="Arial"/>
                  <a:cs typeface="Arial"/>
                </a:rPr>
                <a:t>, entreprises et </a:t>
              </a:r>
              <a:r>
                <a:rPr kumimoji="0" lang="fr-FR" sz="1200" b="0" u="none" strike="noStrike" kern="0" cap="none" spc="0" normalizeH="0" noProof="0" dirty="0">
                  <a:ln>
                    <a:noFill/>
                  </a:ln>
                  <a:solidFill>
                    <a:schemeClr val="bg1"/>
                  </a:solidFill>
                  <a:effectLst/>
                  <a:uLnTx/>
                  <a:uFillTx/>
                  <a:latin typeface="Arial"/>
                  <a:cs typeface="Arial"/>
                </a:rPr>
                <a:t>clients</a:t>
              </a:r>
              <a:r>
                <a:rPr kumimoji="0" lang="fr-FR" sz="1200" b="0" u="none" strike="noStrike" kern="0" cap="none" spc="0" normalizeH="0" baseline="0" noProof="0" dirty="0">
                  <a:ln>
                    <a:noFill/>
                  </a:ln>
                  <a:solidFill>
                    <a:schemeClr val="bg1"/>
                  </a:solidFill>
                  <a:effectLst/>
                  <a:uLnTx/>
                  <a:uFillTx/>
                  <a:latin typeface="Arial"/>
                  <a:cs typeface="Arial"/>
                </a:rPr>
                <a:t>), satisfaction client, coûts réduits, meilleur moral, sécurité </a:t>
              </a:r>
              <a:endParaRPr kumimoji="0" lang="fr-FR" sz="1100" b="0" u="none" strike="noStrike" kern="0" cap="none" spc="0" normalizeH="0" baseline="0" noProof="0" dirty="0">
                <a:ln>
                  <a:noFill/>
                </a:ln>
                <a:solidFill>
                  <a:schemeClr val="bg1"/>
                </a:solidFill>
                <a:effectLst/>
                <a:uLnTx/>
                <a:uFillTx/>
                <a:latin typeface="Arial"/>
                <a:cs typeface="Arial"/>
              </a:endParaRPr>
            </a:p>
          </p:txBody>
        </p:sp>
        <p:sp>
          <p:nvSpPr>
            <p:cNvPr id="14" name="TextBox 12">
              <a:extLst>
                <a:ext uri="{FF2B5EF4-FFF2-40B4-BE49-F238E27FC236}">
                  <a16:creationId xmlns:a16="http://schemas.microsoft.com/office/drawing/2014/main" id="{78617B26-3969-471C-AC2E-57CC86F96974}"/>
                </a:ext>
              </a:extLst>
            </p:cNvPr>
            <p:cNvSpPr txBox="1"/>
            <p:nvPr/>
          </p:nvSpPr>
          <p:spPr>
            <a:xfrm>
              <a:off x="3663273" y="1045483"/>
              <a:ext cx="1948494" cy="475526"/>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uLnTx/>
                  <a:uFillTx/>
                  <a:latin typeface="Arial"/>
                  <a:cs typeface="Arial"/>
                </a:rPr>
                <a:t>LA VALEUR</a:t>
              </a:r>
            </a:p>
          </p:txBody>
        </p:sp>
        <p:grpSp>
          <p:nvGrpSpPr>
            <p:cNvPr id="15" name="Groupe 14">
              <a:extLst>
                <a:ext uri="{FF2B5EF4-FFF2-40B4-BE49-F238E27FC236}">
                  <a16:creationId xmlns:a16="http://schemas.microsoft.com/office/drawing/2014/main" id="{3D8FEF4E-AEBF-4E03-98BD-4E085A874B50}"/>
                </a:ext>
              </a:extLst>
            </p:cNvPr>
            <p:cNvGrpSpPr/>
            <p:nvPr/>
          </p:nvGrpSpPr>
          <p:grpSpPr>
            <a:xfrm>
              <a:off x="1433619" y="2145552"/>
              <a:ext cx="1368000" cy="2423881"/>
              <a:chOff x="1433619" y="2152127"/>
              <a:chExt cx="1368000" cy="2423881"/>
            </a:xfrm>
          </p:grpSpPr>
          <p:sp>
            <p:nvSpPr>
              <p:cNvPr id="28" name="Rounded Rectangle 6">
                <a:extLst>
                  <a:ext uri="{FF2B5EF4-FFF2-40B4-BE49-F238E27FC236}">
                    <a16:creationId xmlns:a16="http://schemas.microsoft.com/office/drawing/2014/main" id="{E0BFD239-2EEC-497A-8585-F8A04D73C779}"/>
                  </a:ext>
                </a:extLst>
              </p:cNvPr>
              <p:cNvSpPr/>
              <p:nvPr/>
            </p:nvSpPr>
            <p:spPr bwMode="auto">
              <a:xfrm>
                <a:off x="1433619" y="2306857"/>
                <a:ext cx="1368000" cy="2138566"/>
              </a:xfrm>
              <a:prstGeom prst="roundRect">
                <a:avLst>
                  <a:gd name="adj" fmla="val 4561"/>
                </a:avLst>
              </a:prstGeom>
              <a:solidFill>
                <a:srgbClr val="565656">
                  <a:lumMod val="20000"/>
                  <a:lumOff val="80000"/>
                </a:srgbClr>
              </a:solidFill>
              <a:ln w="19050" cap="flat" cmpd="sng" algn="ctr">
                <a:solidFill>
                  <a:srgbClr val="565656">
                    <a:lumMod val="40000"/>
                    <a:lumOff val="60000"/>
                  </a:srgb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65656"/>
                    </a:solidFill>
                    <a:effectLst/>
                    <a:uLnTx/>
                    <a:uFillTx/>
                    <a:latin typeface="Arial"/>
                    <a:cs typeface="Arial"/>
                  </a:rPr>
                  <a:t>Respect des </a:t>
                </a:r>
                <a:r>
                  <a:rPr kumimoji="0" lang="en-US" sz="1400" b="0" i="0" u="none" strike="noStrike" kern="0" cap="none" spc="0" normalizeH="0" baseline="0" noProof="0" dirty="0" err="1">
                    <a:ln>
                      <a:noFill/>
                    </a:ln>
                    <a:solidFill>
                      <a:srgbClr val="565656"/>
                    </a:solidFill>
                    <a:effectLst/>
                    <a:uLnTx/>
                    <a:uFillTx/>
                    <a:latin typeface="Arial"/>
                    <a:cs typeface="Arial"/>
                  </a:rPr>
                  <a:t>individus</a:t>
                </a:r>
                <a:r>
                  <a:rPr kumimoji="0" lang="en-US" sz="1400" b="0" i="0" u="none" strike="noStrike" kern="0" cap="none" spc="0" normalizeH="0" baseline="0" noProof="0" dirty="0">
                    <a:ln>
                      <a:noFill/>
                    </a:ln>
                    <a:solidFill>
                      <a:srgbClr val="565656"/>
                    </a:solidFill>
                    <a:effectLst/>
                    <a:uLnTx/>
                    <a:uFillTx/>
                    <a:latin typeface="Arial"/>
                    <a:cs typeface="Arial"/>
                  </a:rPr>
                  <a:t> et de la culture</a:t>
                </a:r>
                <a:br>
                  <a:rPr kumimoji="0" lang="en-US" sz="1200" b="0" i="0" u="none" strike="noStrike" kern="0" cap="none" spc="0" normalizeH="0" baseline="0" noProof="0" dirty="0">
                    <a:ln>
                      <a:noFill/>
                    </a:ln>
                    <a:solidFill>
                      <a:srgbClr val="565656"/>
                    </a:solidFill>
                    <a:effectLst/>
                    <a:uLnTx/>
                    <a:uFillTx/>
                    <a:latin typeface="Arial"/>
                    <a:cs typeface="Arial"/>
                  </a:rPr>
                </a:br>
                <a:br>
                  <a:rPr kumimoji="0" lang="en-US" sz="1200" b="0" i="0" u="none" strike="noStrike" kern="0" cap="none" spc="0" normalizeH="0" baseline="0" noProof="0" dirty="0">
                    <a:ln>
                      <a:noFill/>
                    </a:ln>
                    <a:solidFill>
                      <a:srgbClr val="565656"/>
                    </a:solidFill>
                    <a:effectLst/>
                    <a:uLnTx/>
                    <a:uFillTx/>
                    <a:latin typeface="Arial"/>
                    <a:cs typeface="Arial"/>
                  </a:rPr>
                </a:br>
                <a:r>
                  <a:rPr kumimoji="0" lang="fr-FR" sz="1100" b="0" i="0" u="none" strike="noStrike" kern="0" cap="none" spc="0" normalizeH="0" baseline="0" noProof="0" dirty="0">
                    <a:ln>
                      <a:noFill/>
                    </a:ln>
                    <a:solidFill>
                      <a:srgbClr val="FFFFFF">
                        <a:lumMod val="50000"/>
                      </a:srgbClr>
                    </a:solidFill>
                    <a:effectLst/>
                    <a:uLnTx/>
                    <a:uFillTx/>
                    <a:latin typeface="Arial" pitchFamily="34" charset="0"/>
                    <a:cs typeface="Arial"/>
                  </a:rPr>
                  <a:t>Le savoir-faire est dans les équipes, développer la relation</a:t>
                </a:r>
                <a:r>
                  <a:rPr kumimoji="0" lang="fr-FR" sz="1100" b="0" i="0" u="none" strike="noStrike" kern="0" cap="none" spc="0" normalizeH="0" noProof="0" dirty="0">
                    <a:ln>
                      <a:noFill/>
                    </a:ln>
                    <a:solidFill>
                      <a:srgbClr val="FFFFFF">
                        <a:lumMod val="50000"/>
                      </a:srgbClr>
                    </a:solidFill>
                    <a:effectLst/>
                    <a:uLnTx/>
                    <a:uFillTx/>
                    <a:latin typeface="Arial" pitchFamily="34" charset="0"/>
                    <a:cs typeface="Arial"/>
                  </a:rPr>
                  <a:t> de confiance.</a:t>
                </a:r>
                <a:endParaRPr kumimoji="0" lang="fr-FR" sz="1100" b="0" i="0" u="none" strike="noStrike" kern="0" cap="none" spc="0" normalizeH="0" baseline="0" noProof="0" dirty="0">
                  <a:ln>
                    <a:noFill/>
                  </a:ln>
                  <a:solidFill>
                    <a:srgbClr val="FFFFFF">
                      <a:lumMod val="50000"/>
                    </a:srgbClr>
                  </a:solidFill>
                  <a:effectLst/>
                  <a:uLnTx/>
                  <a:uFillTx/>
                  <a:latin typeface="Arial" pitchFamily="34" charset="0"/>
                  <a:cs typeface="Arial"/>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65656"/>
                  </a:solidFill>
                  <a:effectLst/>
                  <a:uLnTx/>
                  <a:uFillTx/>
                  <a:latin typeface="Arial"/>
                  <a:cs typeface="Arial"/>
                </a:endParaRPr>
              </a:p>
            </p:txBody>
          </p:sp>
          <p:sp>
            <p:nvSpPr>
              <p:cNvPr id="29" name="Rounded Rectangle 6">
                <a:extLst>
                  <a:ext uri="{FF2B5EF4-FFF2-40B4-BE49-F238E27FC236}">
                    <a16:creationId xmlns:a16="http://schemas.microsoft.com/office/drawing/2014/main" id="{1DA0A678-8228-4783-978D-E7B2EB1D0518}"/>
                  </a:ext>
                </a:extLst>
              </p:cNvPr>
              <p:cNvSpPr/>
              <p:nvPr/>
            </p:nvSpPr>
            <p:spPr bwMode="auto">
              <a:xfrm flipV="1">
                <a:off x="1433619" y="2152127"/>
                <a:ext cx="1368000" cy="103153"/>
              </a:xfrm>
              <a:prstGeom prst="trapezoid">
                <a:avLst/>
              </a:prstGeom>
              <a:solidFill>
                <a:srgbClr val="FFFFFF">
                  <a:lumMod val="50000"/>
                </a:srgbClr>
              </a:solidFill>
              <a:ln w="19050" cap="flat" cmpd="sng" algn="ctr">
                <a:solidFill>
                  <a:srgbClr val="FFFFFF">
                    <a:lumMod val="50000"/>
                  </a:srgb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65656"/>
                  </a:solidFill>
                  <a:effectLst/>
                  <a:uLnTx/>
                  <a:uFillTx/>
                  <a:latin typeface="Arial"/>
                  <a:cs typeface="Arial"/>
                </a:endParaRPr>
              </a:p>
            </p:txBody>
          </p:sp>
          <p:sp>
            <p:nvSpPr>
              <p:cNvPr id="30" name="Rounded Rectangle 6">
                <a:extLst>
                  <a:ext uri="{FF2B5EF4-FFF2-40B4-BE49-F238E27FC236}">
                    <a16:creationId xmlns:a16="http://schemas.microsoft.com/office/drawing/2014/main" id="{150D95F5-822D-4E0A-B615-E7E8E1CB8915}"/>
                  </a:ext>
                </a:extLst>
              </p:cNvPr>
              <p:cNvSpPr/>
              <p:nvPr/>
            </p:nvSpPr>
            <p:spPr bwMode="auto">
              <a:xfrm>
                <a:off x="1433619" y="4472855"/>
                <a:ext cx="1368000" cy="103153"/>
              </a:xfrm>
              <a:prstGeom prst="trapezoid">
                <a:avLst/>
              </a:prstGeom>
              <a:solidFill>
                <a:srgbClr val="FFFFFF">
                  <a:lumMod val="50000"/>
                </a:srgbClr>
              </a:solidFill>
              <a:ln w="19050" cap="flat" cmpd="sng" algn="ctr">
                <a:solidFill>
                  <a:srgbClr val="FFFFFF">
                    <a:lumMod val="50000"/>
                  </a:srgb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65656"/>
                  </a:solidFill>
                  <a:effectLst/>
                  <a:uLnTx/>
                  <a:uFillTx/>
                  <a:latin typeface="Arial"/>
                  <a:cs typeface="Arial"/>
                </a:endParaRPr>
              </a:p>
            </p:txBody>
          </p:sp>
        </p:grpSp>
        <p:grpSp>
          <p:nvGrpSpPr>
            <p:cNvPr id="16" name="Groupe 15">
              <a:extLst>
                <a:ext uri="{FF2B5EF4-FFF2-40B4-BE49-F238E27FC236}">
                  <a16:creationId xmlns:a16="http://schemas.microsoft.com/office/drawing/2014/main" id="{C0DA6BCE-0E5E-40DE-B9C4-F40B6C29FFA9}"/>
                </a:ext>
              </a:extLst>
            </p:cNvPr>
            <p:cNvGrpSpPr/>
            <p:nvPr/>
          </p:nvGrpSpPr>
          <p:grpSpPr>
            <a:xfrm>
              <a:off x="3123288" y="2145552"/>
              <a:ext cx="1368000" cy="2423881"/>
              <a:chOff x="1433619" y="2152127"/>
              <a:chExt cx="1368000" cy="2423881"/>
            </a:xfrm>
          </p:grpSpPr>
          <p:sp>
            <p:nvSpPr>
              <p:cNvPr id="25" name="Rounded Rectangle 6">
                <a:extLst>
                  <a:ext uri="{FF2B5EF4-FFF2-40B4-BE49-F238E27FC236}">
                    <a16:creationId xmlns:a16="http://schemas.microsoft.com/office/drawing/2014/main" id="{DD236F84-C2C7-491C-872E-61E9A0016D77}"/>
                  </a:ext>
                </a:extLst>
              </p:cNvPr>
              <p:cNvSpPr/>
              <p:nvPr/>
            </p:nvSpPr>
            <p:spPr bwMode="auto">
              <a:xfrm>
                <a:off x="1433619" y="2306857"/>
                <a:ext cx="1368000" cy="2138566"/>
              </a:xfrm>
              <a:prstGeom prst="roundRect">
                <a:avLst>
                  <a:gd name="adj" fmla="val 4561"/>
                </a:avLst>
              </a:prstGeom>
              <a:solidFill>
                <a:srgbClr val="565656">
                  <a:lumMod val="20000"/>
                  <a:lumOff val="80000"/>
                </a:srgbClr>
              </a:solidFill>
              <a:ln w="19050" cap="flat" cmpd="sng" algn="ctr">
                <a:solidFill>
                  <a:srgbClr val="565656">
                    <a:lumMod val="40000"/>
                    <a:lumOff val="60000"/>
                  </a:srgb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65656"/>
                    </a:solidFill>
                    <a:effectLst/>
                    <a:uLnTx/>
                    <a:uFillTx/>
                    <a:latin typeface="Arial"/>
                    <a:cs typeface="Arial"/>
                  </a:rPr>
                  <a:t>Production </a:t>
                </a:r>
                <a:r>
                  <a:rPr kumimoji="0" lang="en-US" sz="1400" b="0" i="0" u="none" strike="noStrike" kern="0" cap="none" spc="0" normalizeH="0" baseline="0" noProof="0" dirty="0" err="1">
                    <a:ln>
                      <a:noFill/>
                    </a:ln>
                    <a:solidFill>
                      <a:srgbClr val="565656"/>
                    </a:solidFill>
                    <a:effectLst/>
                    <a:uLnTx/>
                    <a:uFillTx/>
                    <a:latin typeface="Arial"/>
                    <a:cs typeface="Arial"/>
                  </a:rPr>
                  <a:t>en</a:t>
                </a:r>
                <a:r>
                  <a:rPr kumimoji="0" lang="en-US" sz="1400" b="0" i="0" u="none" strike="noStrike" kern="0" cap="none" spc="0" normalizeH="0" baseline="0" noProof="0" dirty="0">
                    <a:ln>
                      <a:noFill/>
                    </a:ln>
                    <a:solidFill>
                      <a:srgbClr val="565656"/>
                    </a:solidFill>
                    <a:effectLst/>
                    <a:uLnTx/>
                    <a:uFillTx/>
                    <a:latin typeface="Arial"/>
                    <a:cs typeface="Arial"/>
                  </a:rPr>
                  <a:t> Flux</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565656"/>
                    </a:solidFill>
                    <a:effectLst/>
                    <a:uLnTx/>
                    <a:uFillTx/>
                    <a:latin typeface="Arial"/>
                    <a:cs typeface="Arial"/>
                  </a:rPr>
                </a:br>
                <a:endParaRPr kumimoji="0" lang="en-US" sz="1200" b="0" i="0" u="none" strike="noStrike" kern="0" cap="none" spc="0" normalizeH="0" baseline="0" noProof="0" dirty="0">
                  <a:ln>
                    <a:noFill/>
                  </a:ln>
                  <a:solidFill>
                    <a:srgbClr val="565656"/>
                  </a:solidFill>
                  <a:effectLst/>
                  <a:uLnTx/>
                  <a:uFillTx/>
                  <a:latin typeface="Arial"/>
                  <a:cs typeface="Arial"/>
                </a:endParaRPr>
              </a:p>
              <a:p>
                <a:pPr marL="0" marR="0" lvl="0" indent="0" algn="ctr" defTabSz="977900" eaLnBrk="1" fontAlgn="base" latinLnBrk="0" hangingPunct="1">
                  <a:lnSpc>
                    <a:spcPct val="100000"/>
                  </a:lnSpc>
                  <a:spcBef>
                    <a:spcPct val="0"/>
                  </a:spcBef>
                  <a:spcAft>
                    <a:spcPct val="0"/>
                  </a:spcAft>
                  <a:buClrTx/>
                  <a:buSzTx/>
                  <a:buFontTx/>
                  <a:buNone/>
                  <a:tabLst/>
                  <a:defRPr/>
                </a:pPr>
                <a:r>
                  <a:rPr kumimoji="0" lang="fr-FR" sz="1100" b="0" i="0" u="none" strike="noStrike" kern="0" cap="none" spc="0" normalizeH="0" baseline="0" noProof="0" dirty="0">
                    <a:ln>
                      <a:noFill/>
                    </a:ln>
                    <a:solidFill>
                      <a:srgbClr val="FFFFFF">
                        <a:lumMod val="50000"/>
                      </a:srgbClr>
                    </a:solidFill>
                    <a:effectLst/>
                    <a:uLnTx/>
                    <a:uFillTx/>
                    <a:latin typeface="Arial" pitchFamily="34" charset="0"/>
                    <a:cs typeface="Arial"/>
                  </a:rPr>
                  <a:t>Fabriquer un produit de qualité en continu et développer</a:t>
                </a:r>
                <a:r>
                  <a:rPr kumimoji="0" lang="fr-FR" sz="1100" b="0" i="0" u="none" strike="noStrike" kern="0" cap="none" spc="0" normalizeH="0" noProof="0" dirty="0">
                    <a:ln>
                      <a:noFill/>
                    </a:ln>
                    <a:solidFill>
                      <a:srgbClr val="FFFFFF">
                        <a:lumMod val="50000"/>
                      </a:srgbClr>
                    </a:solidFill>
                    <a:effectLst/>
                    <a:uLnTx/>
                    <a:uFillTx/>
                    <a:latin typeface="Arial" pitchFamily="34" charset="0"/>
                    <a:cs typeface="Arial"/>
                  </a:rPr>
                  <a:t> </a:t>
                </a:r>
                <a:r>
                  <a:rPr kumimoji="0" lang="fr-FR" sz="1100" b="0" i="0" u="none" strike="noStrike" kern="0" cap="none" spc="0" normalizeH="0" baseline="0" noProof="0" dirty="0">
                    <a:ln>
                      <a:noFill/>
                    </a:ln>
                    <a:solidFill>
                      <a:srgbClr val="FFFFFF">
                        <a:lumMod val="50000"/>
                      </a:srgbClr>
                    </a:solidFill>
                    <a:effectLst/>
                    <a:uLnTx/>
                    <a:uFillTx/>
                    <a:latin typeface="Arial" pitchFamily="34" charset="0"/>
                    <a:cs typeface="Arial"/>
                  </a:rPr>
                  <a:t>de manière durable un flux de valeur</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lumMod val="50000"/>
                    </a:srgbClr>
                  </a:solidFill>
                  <a:effectLst/>
                  <a:uLnTx/>
                  <a:uFillTx/>
                  <a:latin typeface="Arial" pitchFamily="34" charset="0"/>
                  <a:cs typeface="Arial"/>
                </a:endParaRPr>
              </a:p>
            </p:txBody>
          </p:sp>
          <p:sp>
            <p:nvSpPr>
              <p:cNvPr id="26" name="Rounded Rectangle 6">
                <a:extLst>
                  <a:ext uri="{FF2B5EF4-FFF2-40B4-BE49-F238E27FC236}">
                    <a16:creationId xmlns:a16="http://schemas.microsoft.com/office/drawing/2014/main" id="{8160DC79-6661-4010-8E97-B097F291AE55}"/>
                  </a:ext>
                </a:extLst>
              </p:cNvPr>
              <p:cNvSpPr/>
              <p:nvPr/>
            </p:nvSpPr>
            <p:spPr bwMode="auto">
              <a:xfrm flipV="1">
                <a:off x="1433619" y="2152127"/>
                <a:ext cx="1368000" cy="103153"/>
              </a:xfrm>
              <a:prstGeom prst="trapezoid">
                <a:avLst/>
              </a:prstGeom>
              <a:solidFill>
                <a:srgbClr val="FFFFFF">
                  <a:lumMod val="50000"/>
                </a:srgbClr>
              </a:solidFill>
              <a:ln w="19050" cap="flat" cmpd="sng" algn="ctr">
                <a:solidFill>
                  <a:srgbClr val="FFFFFF">
                    <a:lumMod val="50000"/>
                  </a:srgb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65656"/>
                  </a:solidFill>
                  <a:effectLst/>
                  <a:uLnTx/>
                  <a:uFillTx/>
                  <a:latin typeface="Arial"/>
                  <a:cs typeface="Arial"/>
                </a:endParaRPr>
              </a:p>
            </p:txBody>
          </p:sp>
          <p:sp>
            <p:nvSpPr>
              <p:cNvPr id="27" name="Rounded Rectangle 6">
                <a:extLst>
                  <a:ext uri="{FF2B5EF4-FFF2-40B4-BE49-F238E27FC236}">
                    <a16:creationId xmlns:a16="http://schemas.microsoft.com/office/drawing/2014/main" id="{1CD6A4F9-DD0E-4610-86F8-BAD46BEA5870}"/>
                  </a:ext>
                </a:extLst>
              </p:cNvPr>
              <p:cNvSpPr/>
              <p:nvPr/>
            </p:nvSpPr>
            <p:spPr bwMode="auto">
              <a:xfrm>
                <a:off x="1433619" y="4472855"/>
                <a:ext cx="1368000" cy="103153"/>
              </a:xfrm>
              <a:prstGeom prst="trapezoid">
                <a:avLst/>
              </a:prstGeom>
              <a:solidFill>
                <a:srgbClr val="FFFFFF">
                  <a:lumMod val="50000"/>
                </a:srgbClr>
              </a:solidFill>
              <a:ln w="19050" cap="flat" cmpd="sng" algn="ctr">
                <a:solidFill>
                  <a:srgbClr val="FFFFFF">
                    <a:lumMod val="50000"/>
                  </a:srgb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65656"/>
                  </a:solidFill>
                  <a:effectLst/>
                  <a:uLnTx/>
                  <a:uFillTx/>
                  <a:latin typeface="Arial"/>
                  <a:cs typeface="Arial"/>
                </a:endParaRPr>
              </a:p>
            </p:txBody>
          </p:sp>
        </p:grpSp>
        <p:grpSp>
          <p:nvGrpSpPr>
            <p:cNvPr id="17" name="Groupe 16">
              <a:extLst>
                <a:ext uri="{FF2B5EF4-FFF2-40B4-BE49-F238E27FC236}">
                  <a16:creationId xmlns:a16="http://schemas.microsoft.com/office/drawing/2014/main" id="{10B125B3-C1F1-44A3-B1A8-FB4DEAAF5C13}"/>
                </a:ext>
              </a:extLst>
            </p:cNvPr>
            <p:cNvGrpSpPr/>
            <p:nvPr/>
          </p:nvGrpSpPr>
          <p:grpSpPr>
            <a:xfrm>
              <a:off x="4812957" y="2145552"/>
              <a:ext cx="1368000" cy="2423881"/>
              <a:chOff x="1433619" y="2152127"/>
              <a:chExt cx="1368000" cy="2423881"/>
            </a:xfrm>
          </p:grpSpPr>
          <p:sp>
            <p:nvSpPr>
              <p:cNvPr id="22" name="Rounded Rectangle 6">
                <a:extLst>
                  <a:ext uri="{FF2B5EF4-FFF2-40B4-BE49-F238E27FC236}">
                    <a16:creationId xmlns:a16="http://schemas.microsoft.com/office/drawing/2014/main" id="{C95B6EB0-589E-4F53-90C3-24D6CC7EFBB0}"/>
                  </a:ext>
                </a:extLst>
              </p:cNvPr>
              <p:cNvSpPr/>
              <p:nvPr/>
            </p:nvSpPr>
            <p:spPr bwMode="auto">
              <a:xfrm>
                <a:off x="1433619" y="2306857"/>
                <a:ext cx="1368000" cy="2138566"/>
              </a:xfrm>
              <a:prstGeom prst="roundRect">
                <a:avLst>
                  <a:gd name="adj" fmla="val 4561"/>
                </a:avLst>
              </a:prstGeom>
              <a:solidFill>
                <a:srgbClr val="565656">
                  <a:lumMod val="20000"/>
                  <a:lumOff val="80000"/>
                </a:srgbClr>
              </a:solidFill>
              <a:ln w="19050" cap="flat" cmpd="sng" algn="ctr">
                <a:solidFill>
                  <a:srgbClr val="565656">
                    <a:lumMod val="40000"/>
                    <a:lumOff val="60000"/>
                  </a:srgb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65656"/>
                    </a:solidFill>
                    <a:effectLst/>
                    <a:uLnTx/>
                    <a:uFillTx/>
                    <a:latin typeface="Arial"/>
                    <a:cs typeface="Arial"/>
                  </a:rPr>
                  <a:t>Innovation</a:t>
                </a:r>
                <a:endParaRPr kumimoji="0" lang="en-US" sz="1200" b="0" i="0" u="none" strike="noStrike" kern="0" cap="none" spc="0" normalizeH="0" baseline="0" noProof="0" dirty="0">
                  <a:ln>
                    <a:noFill/>
                  </a:ln>
                  <a:solidFill>
                    <a:srgbClr val="565656"/>
                  </a:solidFill>
                  <a:effectLst/>
                  <a:uLnTx/>
                  <a:uFillTx/>
                  <a:latin typeface="Arial"/>
                  <a:cs typeface="Arial"/>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65656"/>
                  </a:solidFill>
                  <a:effectLst/>
                  <a:uLnTx/>
                  <a:uFillTx/>
                  <a:latin typeface="Arial"/>
                  <a:cs typeface="Arial"/>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65656"/>
                  </a:solidFill>
                  <a:effectLst/>
                  <a:uLnTx/>
                  <a:uFillTx/>
                  <a:latin typeface="Arial"/>
                  <a:cs typeface="Arial"/>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65656"/>
                  </a:solidFill>
                  <a:effectLst/>
                  <a:uLnTx/>
                  <a:uFillTx/>
                  <a:latin typeface="Arial"/>
                  <a:cs typeface="Arial"/>
                </a:endParaRPr>
              </a:p>
              <a:p>
                <a:pPr marL="0" marR="0" lvl="0" indent="0" algn="ctr" defTabSz="977900" eaLnBrk="1" fontAlgn="base" latinLnBrk="0" hangingPunct="1">
                  <a:lnSpc>
                    <a:spcPct val="100000"/>
                  </a:lnSpc>
                  <a:spcBef>
                    <a:spcPct val="0"/>
                  </a:spcBef>
                  <a:spcAft>
                    <a:spcPct val="0"/>
                  </a:spcAft>
                  <a:buClrTx/>
                  <a:buSzTx/>
                  <a:buFontTx/>
                  <a:buNone/>
                  <a:tabLst/>
                  <a:defRPr/>
                </a:pPr>
                <a:r>
                  <a:rPr kumimoji="0" lang="fr-FR" sz="1100" b="0" i="0" u="none" strike="noStrike" kern="0" cap="none" spc="0" normalizeH="0" baseline="0" noProof="0" dirty="0">
                    <a:ln>
                      <a:noFill/>
                    </a:ln>
                    <a:solidFill>
                      <a:srgbClr val="FFFFFF">
                        <a:lumMod val="50000"/>
                      </a:srgbClr>
                    </a:solidFill>
                    <a:effectLst/>
                    <a:uLnTx/>
                    <a:uFillTx/>
                    <a:latin typeface="Arial" pitchFamily="34" charset="0"/>
                    <a:cs typeface="Arial"/>
                  </a:rPr>
                  <a:t>Fournir le temps et l’environnement nécessaire à la créativité, aller sur le terrain.</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65656"/>
                  </a:solidFill>
                  <a:effectLst/>
                  <a:uLnTx/>
                  <a:uFillTx/>
                  <a:latin typeface="Arial"/>
                  <a:cs typeface="Arial"/>
                </a:endParaRPr>
              </a:p>
            </p:txBody>
          </p:sp>
          <p:sp>
            <p:nvSpPr>
              <p:cNvPr id="23" name="Rounded Rectangle 6">
                <a:extLst>
                  <a:ext uri="{FF2B5EF4-FFF2-40B4-BE49-F238E27FC236}">
                    <a16:creationId xmlns:a16="http://schemas.microsoft.com/office/drawing/2014/main" id="{BDDC1EB1-94D3-4141-BB76-3E9C124A5BA2}"/>
                  </a:ext>
                </a:extLst>
              </p:cNvPr>
              <p:cNvSpPr/>
              <p:nvPr/>
            </p:nvSpPr>
            <p:spPr bwMode="auto">
              <a:xfrm flipV="1">
                <a:off x="1433619" y="2152127"/>
                <a:ext cx="1368000" cy="103153"/>
              </a:xfrm>
              <a:prstGeom prst="trapezoid">
                <a:avLst/>
              </a:prstGeom>
              <a:solidFill>
                <a:srgbClr val="FFFFFF">
                  <a:lumMod val="50000"/>
                </a:srgbClr>
              </a:solidFill>
              <a:ln w="19050" cap="flat" cmpd="sng" algn="ctr">
                <a:solidFill>
                  <a:srgbClr val="FFFFFF">
                    <a:lumMod val="50000"/>
                  </a:srgb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65656"/>
                  </a:solidFill>
                  <a:effectLst/>
                  <a:uLnTx/>
                  <a:uFillTx/>
                  <a:latin typeface="Arial"/>
                  <a:cs typeface="Arial"/>
                </a:endParaRPr>
              </a:p>
            </p:txBody>
          </p:sp>
          <p:sp>
            <p:nvSpPr>
              <p:cNvPr id="24" name="Rounded Rectangle 6">
                <a:extLst>
                  <a:ext uri="{FF2B5EF4-FFF2-40B4-BE49-F238E27FC236}">
                    <a16:creationId xmlns:a16="http://schemas.microsoft.com/office/drawing/2014/main" id="{36EFDAEE-6C64-44B2-A984-3016BE33161B}"/>
                  </a:ext>
                </a:extLst>
              </p:cNvPr>
              <p:cNvSpPr/>
              <p:nvPr/>
            </p:nvSpPr>
            <p:spPr bwMode="auto">
              <a:xfrm>
                <a:off x="1433619" y="4472855"/>
                <a:ext cx="1368000" cy="103153"/>
              </a:xfrm>
              <a:prstGeom prst="trapezoid">
                <a:avLst/>
              </a:prstGeom>
              <a:solidFill>
                <a:srgbClr val="FFFFFF">
                  <a:lumMod val="50000"/>
                </a:srgbClr>
              </a:solidFill>
              <a:ln w="19050" cap="flat" cmpd="sng" algn="ctr">
                <a:solidFill>
                  <a:srgbClr val="FFFFFF">
                    <a:lumMod val="50000"/>
                  </a:srgb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65656"/>
                  </a:solidFill>
                  <a:effectLst/>
                  <a:uLnTx/>
                  <a:uFillTx/>
                  <a:latin typeface="Arial"/>
                  <a:cs typeface="Arial"/>
                </a:endParaRPr>
              </a:p>
            </p:txBody>
          </p:sp>
        </p:grpSp>
        <p:grpSp>
          <p:nvGrpSpPr>
            <p:cNvPr id="18" name="Groupe 17">
              <a:extLst>
                <a:ext uri="{FF2B5EF4-FFF2-40B4-BE49-F238E27FC236}">
                  <a16:creationId xmlns:a16="http://schemas.microsoft.com/office/drawing/2014/main" id="{0EB0D51E-7445-472E-96BC-F5BDAA8FC5A9}"/>
                </a:ext>
              </a:extLst>
            </p:cNvPr>
            <p:cNvGrpSpPr/>
            <p:nvPr/>
          </p:nvGrpSpPr>
          <p:grpSpPr>
            <a:xfrm>
              <a:off x="6502627" y="2145552"/>
              <a:ext cx="1368000" cy="2423881"/>
              <a:chOff x="1433619" y="2152127"/>
              <a:chExt cx="1368000" cy="2423881"/>
            </a:xfrm>
          </p:grpSpPr>
          <p:sp>
            <p:nvSpPr>
              <p:cNvPr id="19" name="Rounded Rectangle 6">
                <a:extLst>
                  <a:ext uri="{FF2B5EF4-FFF2-40B4-BE49-F238E27FC236}">
                    <a16:creationId xmlns:a16="http://schemas.microsoft.com/office/drawing/2014/main" id="{6B20756B-6C5B-401D-BC99-3BDA4C11931E}"/>
                  </a:ext>
                </a:extLst>
              </p:cNvPr>
              <p:cNvSpPr/>
              <p:nvPr/>
            </p:nvSpPr>
            <p:spPr bwMode="auto">
              <a:xfrm>
                <a:off x="1433619" y="2306857"/>
                <a:ext cx="1368000" cy="2138566"/>
              </a:xfrm>
              <a:prstGeom prst="roundRect">
                <a:avLst>
                  <a:gd name="adj" fmla="val 4561"/>
                </a:avLst>
              </a:prstGeom>
              <a:solidFill>
                <a:srgbClr val="565656">
                  <a:lumMod val="20000"/>
                  <a:lumOff val="80000"/>
                </a:srgbClr>
              </a:solidFill>
              <a:ln w="19050" cap="flat" cmpd="sng" algn="ctr">
                <a:solidFill>
                  <a:srgbClr val="565656">
                    <a:lumMod val="40000"/>
                    <a:lumOff val="60000"/>
                  </a:srgb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solidFill>
                      <a:srgbClr val="565656"/>
                    </a:solidFill>
                    <a:effectLst/>
                    <a:uLnTx/>
                    <a:uFillTx/>
                    <a:latin typeface="Arial"/>
                    <a:cs typeface="Arial"/>
                  </a:rPr>
                  <a:t>Amélioration</a:t>
                </a:r>
                <a:r>
                  <a:rPr kumimoji="0" lang="en-US" sz="1400" b="0" i="0" u="none" strike="noStrike" kern="0" cap="none" spc="0" normalizeH="0" baseline="0" noProof="0" dirty="0">
                    <a:ln>
                      <a:noFill/>
                    </a:ln>
                    <a:solidFill>
                      <a:srgbClr val="565656"/>
                    </a:solidFill>
                    <a:effectLst/>
                    <a:uLnTx/>
                    <a:uFillTx/>
                    <a:latin typeface="Arial"/>
                    <a:cs typeface="Arial"/>
                  </a:rPr>
                  <a:t> </a:t>
                </a:r>
                <a:r>
                  <a:rPr kumimoji="0" lang="en-US" sz="1400" b="0" i="0" u="none" strike="noStrike" kern="0" cap="none" spc="0" normalizeH="0" baseline="0" noProof="0" dirty="0" err="1">
                    <a:ln>
                      <a:noFill/>
                    </a:ln>
                    <a:solidFill>
                      <a:srgbClr val="565656"/>
                    </a:solidFill>
                    <a:effectLst/>
                    <a:uLnTx/>
                    <a:uFillTx/>
                    <a:latin typeface="Arial"/>
                    <a:cs typeface="Arial"/>
                  </a:rPr>
                  <a:t>incessante</a:t>
                </a:r>
                <a:endParaRPr kumimoji="0" lang="en-US" sz="1400" b="0" i="0" u="none" strike="noStrike" kern="0" cap="none" spc="0" normalizeH="0" baseline="0" noProof="0" dirty="0">
                  <a:ln>
                    <a:noFill/>
                  </a:ln>
                  <a:solidFill>
                    <a:srgbClr val="565656"/>
                  </a:solidFill>
                  <a:effectLst/>
                  <a:uLnTx/>
                  <a:uFillTx/>
                  <a:latin typeface="Arial"/>
                  <a:cs typeface="Arial"/>
                </a:endParaRPr>
              </a:p>
              <a:p>
                <a:pPr marL="0" marR="0" lvl="0" indent="0" algn="ctr" defTabSz="914400" eaLnBrk="1" fontAlgn="auto" latinLnBrk="0" hangingPunct="1">
                  <a:lnSpc>
                    <a:spcPct val="100000"/>
                  </a:lnSpc>
                  <a:spcBef>
                    <a:spcPts val="0"/>
                  </a:spcBef>
                  <a:spcAft>
                    <a:spcPts val="0"/>
                  </a:spcAft>
                  <a:buClrTx/>
                  <a:buSzTx/>
                  <a:buFontTx/>
                  <a:buNone/>
                  <a:tabLst/>
                  <a:defRPr/>
                </a:pPr>
                <a:br>
                  <a:rPr kumimoji="0" lang="fr-FR" sz="1000" b="0" i="0" u="none" strike="noStrike" kern="0" cap="none" spc="0" normalizeH="0" baseline="0" noProof="0" dirty="0">
                    <a:ln>
                      <a:noFill/>
                    </a:ln>
                    <a:solidFill>
                      <a:srgbClr val="FFFFFF">
                        <a:lumMod val="50000"/>
                      </a:srgbClr>
                    </a:solidFill>
                    <a:effectLst/>
                    <a:uLnTx/>
                    <a:uFillTx/>
                    <a:latin typeface="Arial" pitchFamily="34" charset="0"/>
                    <a:cs typeface="Arial"/>
                  </a:rPr>
                </a:br>
                <a:r>
                  <a:rPr kumimoji="0" lang="fr-FR" sz="1100" b="0" i="0" u="none" strike="noStrike" kern="0" cap="none" spc="0" normalizeH="0" baseline="0" noProof="0" dirty="0">
                    <a:ln>
                      <a:noFill/>
                    </a:ln>
                    <a:solidFill>
                      <a:srgbClr val="FFFFFF">
                        <a:lumMod val="50000"/>
                      </a:srgbClr>
                    </a:solidFill>
                    <a:effectLst/>
                    <a:uLnTx/>
                    <a:uFillTx/>
                    <a:latin typeface="Arial" pitchFamily="34" charset="0"/>
                    <a:cs typeface="Arial"/>
                  </a:rPr>
                  <a:t>Être intransigeant</a:t>
                </a:r>
              </a:p>
              <a:p>
                <a:pPr marL="0" marR="0" lvl="0" indent="0" algn="ctr" defTabSz="977900" eaLnBrk="1" fontAlgn="base" latinLnBrk="0" hangingPunct="1">
                  <a:lnSpc>
                    <a:spcPct val="100000"/>
                  </a:lnSpc>
                  <a:spcBef>
                    <a:spcPct val="0"/>
                  </a:spcBef>
                  <a:spcAft>
                    <a:spcPct val="0"/>
                  </a:spcAft>
                  <a:buClrTx/>
                  <a:buSzTx/>
                  <a:buFontTx/>
                  <a:buNone/>
                  <a:tabLst/>
                  <a:defRPr/>
                </a:pPr>
                <a:r>
                  <a:rPr kumimoji="0" lang="fr-FR" sz="1100" b="0" i="0" u="none" strike="noStrike" kern="0" cap="none" spc="0" normalizeH="0" baseline="0" noProof="0" dirty="0">
                    <a:ln>
                      <a:noFill/>
                    </a:ln>
                    <a:solidFill>
                      <a:srgbClr val="FFFFFF">
                        <a:lumMod val="50000"/>
                      </a:srgbClr>
                    </a:solidFill>
                    <a:effectLst/>
                    <a:uLnTx/>
                    <a:uFillTx/>
                    <a:latin typeface="Arial" pitchFamily="34" charset="0"/>
                    <a:cs typeface="Arial"/>
                  </a:rPr>
                  <a:t>sur l’amélioration continue,</a:t>
                </a:r>
                <a:r>
                  <a:rPr kumimoji="0" lang="fr-FR" sz="1100" b="0" i="0" u="none" strike="noStrike" kern="0" cap="none" spc="0" normalizeH="0" noProof="0" dirty="0">
                    <a:ln>
                      <a:noFill/>
                    </a:ln>
                    <a:solidFill>
                      <a:srgbClr val="FFFFFF">
                        <a:lumMod val="50000"/>
                      </a:srgbClr>
                    </a:solidFill>
                    <a:effectLst/>
                    <a:uLnTx/>
                    <a:uFillTx/>
                    <a:latin typeface="Arial" pitchFamily="34" charset="0"/>
                    <a:cs typeface="Arial"/>
                  </a:rPr>
                  <a:t> prendre le temps de constater les problèmes, les corriger rapidement</a:t>
                </a:r>
                <a:r>
                  <a:rPr kumimoji="0" lang="fr-FR" sz="1100" b="0" i="0" u="none" strike="noStrike" kern="0" cap="none" spc="0" normalizeH="0" baseline="0" noProof="0" dirty="0">
                    <a:ln>
                      <a:noFill/>
                    </a:ln>
                    <a:solidFill>
                      <a:srgbClr val="FFFFFF">
                        <a:lumMod val="50000"/>
                      </a:srgbClr>
                    </a:solidFill>
                    <a:effectLst/>
                    <a:uLnTx/>
                    <a:uFillTx/>
                    <a:latin typeface="Arial" pitchFamily="34" charset="0"/>
                    <a:cs typeface="Arial"/>
                  </a:rPr>
                  <a:t>.</a:t>
                </a:r>
                <a:endParaRPr kumimoji="0" lang="en-US" b="0" i="0" u="none" strike="noStrike" kern="0" cap="none" spc="0" normalizeH="0" baseline="0" noProof="0" dirty="0">
                  <a:ln>
                    <a:noFill/>
                  </a:ln>
                  <a:solidFill>
                    <a:srgbClr val="565656"/>
                  </a:solidFill>
                  <a:effectLst/>
                  <a:uLnTx/>
                  <a:uFillTx/>
                  <a:latin typeface="Arial"/>
                  <a:cs typeface="Arial"/>
                </a:endParaRPr>
              </a:p>
            </p:txBody>
          </p:sp>
          <p:sp>
            <p:nvSpPr>
              <p:cNvPr id="20" name="Rounded Rectangle 6">
                <a:extLst>
                  <a:ext uri="{FF2B5EF4-FFF2-40B4-BE49-F238E27FC236}">
                    <a16:creationId xmlns:a16="http://schemas.microsoft.com/office/drawing/2014/main" id="{3E511742-5D0E-4083-A942-2D8CE161A517}"/>
                  </a:ext>
                </a:extLst>
              </p:cNvPr>
              <p:cNvSpPr/>
              <p:nvPr/>
            </p:nvSpPr>
            <p:spPr bwMode="auto">
              <a:xfrm flipV="1">
                <a:off x="1433619" y="2152127"/>
                <a:ext cx="1368000" cy="103153"/>
              </a:xfrm>
              <a:prstGeom prst="trapezoid">
                <a:avLst/>
              </a:prstGeom>
              <a:solidFill>
                <a:srgbClr val="FFFFFF">
                  <a:lumMod val="50000"/>
                </a:srgbClr>
              </a:solidFill>
              <a:ln w="19050" cap="flat" cmpd="sng" algn="ctr">
                <a:solidFill>
                  <a:srgbClr val="FFFFFF">
                    <a:lumMod val="50000"/>
                  </a:srgb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65656"/>
                  </a:solidFill>
                  <a:effectLst/>
                  <a:uLnTx/>
                  <a:uFillTx/>
                  <a:latin typeface="Arial"/>
                  <a:cs typeface="Arial"/>
                </a:endParaRPr>
              </a:p>
            </p:txBody>
          </p:sp>
          <p:sp>
            <p:nvSpPr>
              <p:cNvPr id="21" name="Rounded Rectangle 6">
                <a:extLst>
                  <a:ext uri="{FF2B5EF4-FFF2-40B4-BE49-F238E27FC236}">
                    <a16:creationId xmlns:a16="http://schemas.microsoft.com/office/drawing/2014/main" id="{991B5128-981C-43AB-9B93-ED83ADAF14D1}"/>
                  </a:ext>
                </a:extLst>
              </p:cNvPr>
              <p:cNvSpPr/>
              <p:nvPr/>
            </p:nvSpPr>
            <p:spPr bwMode="auto">
              <a:xfrm>
                <a:off x="1433619" y="4472855"/>
                <a:ext cx="1368000" cy="103153"/>
              </a:xfrm>
              <a:prstGeom prst="trapezoid">
                <a:avLst/>
              </a:prstGeom>
              <a:solidFill>
                <a:srgbClr val="FFFFFF">
                  <a:lumMod val="50000"/>
                </a:srgbClr>
              </a:solidFill>
              <a:ln w="19050" cap="flat" cmpd="sng" algn="ctr">
                <a:solidFill>
                  <a:srgbClr val="FFFFFF">
                    <a:lumMod val="50000"/>
                  </a:srgb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65656"/>
                  </a:solidFill>
                  <a:effectLst/>
                  <a:uLnTx/>
                  <a:uFillTx/>
                  <a:latin typeface="Arial"/>
                  <a:cs typeface="Arial"/>
                </a:endParaRPr>
              </a:p>
            </p:txBody>
          </p:sp>
        </p:grpSp>
      </p:grpSp>
    </p:spTree>
    <p:extLst>
      <p:ext uri="{BB962C8B-B14F-4D97-AF65-F5344CB8AC3E}">
        <p14:creationId xmlns:p14="http://schemas.microsoft.com/office/powerpoint/2010/main" val="22616202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16</a:t>
            </a:fld>
            <a:endParaRPr lang="fr-FR" dirty="0"/>
          </a:p>
        </p:txBody>
      </p:sp>
      <p:sp>
        <p:nvSpPr>
          <p:cNvPr id="5" name="Espace réservé du texte 4"/>
          <p:cNvSpPr>
            <a:spLocks noGrp="1"/>
          </p:cNvSpPr>
          <p:nvPr>
            <p:ph type="body" idx="1"/>
          </p:nvPr>
        </p:nvSpPr>
        <p:spPr/>
        <p:txBody>
          <a:bodyPr/>
          <a:lstStyle/>
          <a:p>
            <a:r>
              <a:rPr lang="fr-FR" dirty="0"/>
              <a:t>Les 10 principes</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au global</a:t>
            </a:r>
          </a:p>
        </p:txBody>
      </p:sp>
      <p:sp>
        <p:nvSpPr>
          <p:cNvPr id="8" name="Espace réservé du texte 7">
            <a:extLst>
              <a:ext uri="{FF2B5EF4-FFF2-40B4-BE49-F238E27FC236}">
                <a16:creationId xmlns:a16="http://schemas.microsoft.com/office/drawing/2014/main" id="{52B1F984-09E9-4D55-A6D9-ACAFCA6223DF}"/>
              </a:ext>
            </a:extLst>
          </p:cNvPr>
          <p:cNvSpPr>
            <a:spLocks noGrp="1"/>
          </p:cNvSpPr>
          <p:nvPr>
            <p:ph type="body" sz="quarter" idx="13"/>
          </p:nvPr>
        </p:nvSpPr>
        <p:spPr>
          <a:xfrm>
            <a:off x="719136" y="1487760"/>
            <a:ext cx="9333365" cy="4389120"/>
          </a:xfrm>
        </p:spPr>
        <p:txBody>
          <a:bodyPr/>
          <a:lstStyle/>
          <a:p>
            <a:r>
              <a:rPr lang="fr-FR" dirty="0"/>
              <a:t>#1 Adopter un point de vue économique</a:t>
            </a:r>
          </a:p>
          <a:p>
            <a:pPr lvl="1"/>
            <a:r>
              <a:rPr lang="en-US" dirty="0"/>
              <a:t>Se </a:t>
            </a:r>
            <a:r>
              <a:rPr lang="en-US" dirty="0" err="1"/>
              <a:t>focaliser</a:t>
            </a:r>
            <a:r>
              <a:rPr lang="en-US" dirty="0"/>
              <a:t> sur </a:t>
            </a:r>
            <a:r>
              <a:rPr lang="en-US" dirty="0" err="1"/>
              <a:t>ce</a:t>
            </a:r>
            <a:r>
              <a:rPr lang="en-US" dirty="0"/>
              <a:t> qui </a:t>
            </a:r>
            <a:r>
              <a:rPr lang="en-US" dirty="0" err="1"/>
              <a:t>apporte</a:t>
            </a:r>
            <a:r>
              <a:rPr lang="en-US" dirty="0"/>
              <a:t> la plus de </a:t>
            </a:r>
            <a:r>
              <a:rPr lang="en-US" dirty="0" err="1"/>
              <a:t>valeur</a:t>
            </a:r>
            <a:r>
              <a:rPr lang="en-US" dirty="0"/>
              <a:t> sans </a:t>
            </a:r>
            <a:r>
              <a:rPr lang="en-US" dirty="0" err="1"/>
              <a:t>regarder</a:t>
            </a:r>
            <a:r>
              <a:rPr lang="en-US" dirty="0"/>
              <a:t> </a:t>
            </a:r>
            <a:r>
              <a:rPr lang="en-US" dirty="0" err="1"/>
              <a:t>l’argent</a:t>
            </a:r>
            <a:r>
              <a:rPr lang="en-US" dirty="0"/>
              <a:t> déjà </a:t>
            </a:r>
            <a:r>
              <a:rPr lang="en-US" dirty="0" err="1"/>
              <a:t>dépensé</a:t>
            </a:r>
            <a:endParaRPr lang="en-US" dirty="0"/>
          </a:p>
          <a:p>
            <a:endParaRPr lang="fr-FR" dirty="0"/>
          </a:p>
          <a:p>
            <a:r>
              <a:rPr lang="fr-FR" dirty="0"/>
              <a:t>#2 Adopter une approche systémique</a:t>
            </a:r>
          </a:p>
        </p:txBody>
      </p:sp>
      <p:sp>
        <p:nvSpPr>
          <p:cNvPr id="11" name="TextBox 6">
            <a:extLst>
              <a:ext uri="{FF2B5EF4-FFF2-40B4-BE49-F238E27FC236}">
                <a16:creationId xmlns:a16="http://schemas.microsoft.com/office/drawing/2014/main" id="{A38EBCA5-CD51-4438-B465-073DF8B9320B}"/>
              </a:ext>
            </a:extLst>
          </p:cNvPr>
          <p:cNvSpPr txBox="1"/>
          <p:nvPr/>
        </p:nvSpPr>
        <p:spPr bwMode="auto">
          <a:xfrm>
            <a:off x="719137" y="3078415"/>
            <a:ext cx="5170119" cy="3289779"/>
          </a:xfrm>
          <a:prstGeom prst="rect">
            <a:avLst/>
          </a:prstGeom>
          <a:noFill/>
          <a:ln w="9525">
            <a:solidFill>
              <a:schemeClr val="tx2"/>
            </a:solidFill>
            <a:miter lim="800000"/>
            <a:headEnd/>
            <a:tailEnd/>
          </a:ln>
        </p:spPr>
        <p:txBody>
          <a:bodyPr vert="horz" wrap="square" lIns="91440" tIns="0" rIns="91440" bIns="45720" numCol="1" rtlCol="0" anchor="t" anchorCtr="0" compatLnSpc="1">
            <a:prstTxWarp prst="textNoShape">
              <a:avLst/>
            </a:prstTxWarp>
            <a:noAutofit/>
          </a:bodyPr>
          <a:lstStyle/>
          <a:p>
            <a:pPr>
              <a:lnSpc>
                <a:spcPct val="110000"/>
              </a:lnSpc>
              <a:spcBef>
                <a:spcPts val="800"/>
              </a:spcBef>
              <a:spcAft>
                <a:spcPts val="800"/>
              </a:spcAft>
            </a:pPr>
            <a:r>
              <a:rPr lang="en-US" sz="1600" i="1" dirty="0">
                <a:solidFill>
                  <a:schemeClr val="tx1">
                    <a:lumMod val="75000"/>
                    <a:lumOff val="25000"/>
                  </a:schemeClr>
                </a:solidFill>
                <a:latin typeface="Arial"/>
                <a:cs typeface="Arial"/>
              </a:rPr>
              <a:t>Un </a:t>
            </a:r>
            <a:r>
              <a:rPr lang="en-US" sz="1600" i="1" dirty="0" err="1">
                <a:solidFill>
                  <a:schemeClr val="tx1">
                    <a:lumMod val="75000"/>
                    <a:lumOff val="25000"/>
                  </a:schemeClr>
                </a:solidFill>
                <a:latin typeface="Arial"/>
                <a:cs typeface="Arial"/>
              </a:rPr>
              <a:t>système</a:t>
            </a:r>
            <a:r>
              <a:rPr lang="en-US" sz="1600" i="1" dirty="0">
                <a:solidFill>
                  <a:schemeClr val="tx1">
                    <a:lumMod val="75000"/>
                    <a:lumOff val="25000"/>
                  </a:schemeClr>
                </a:solidFill>
                <a:latin typeface="Arial"/>
                <a:cs typeface="Arial"/>
              </a:rPr>
              <a:t> </a:t>
            </a:r>
            <a:r>
              <a:rPr lang="en-US" sz="1600" i="1" dirty="0" err="1">
                <a:solidFill>
                  <a:schemeClr val="tx1">
                    <a:lumMod val="75000"/>
                    <a:lumOff val="25000"/>
                  </a:schemeClr>
                </a:solidFill>
                <a:latin typeface="Arial"/>
                <a:cs typeface="Arial"/>
              </a:rPr>
              <a:t>doit</a:t>
            </a:r>
            <a:r>
              <a:rPr lang="en-US" sz="1600" i="1" dirty="0">
                <a:solidFill>
                  <a:schemeClr val="tx1">
                    <a:lumMod val="75000"/>
                    <a:lumOff val="25000"/>
                  </a:schemeClr>
                </a:solidFill>
                <a:latin typeface="Arial"/>
                <a:cs typeface="Arial"/>
              </a:rPr>
              <a:t> </a:t>
            </a:r>
            <a:r>
              <a:rPr lang="en-US" sz="1600" i="1" dirty="0" err="1">
                <a:solidFill>
                  <a:schemeClr val="tx1">
                    <a:lumMod val="75000"/>
                    <a:lumOff val="25000"/>
                  </a:schemeClr>
                </a:solidFill>
                <a:latin typeface="Arial"/>
                <a:cs typeface="Arial"/>
              </a:rPr>
              <a:t>être</a:t>
            </a:r>
            <a:r>
              <a:rPr lang="en-US" sz="1600" i="1" dirty="0">
                <a:solidFill>
                  <a:schemeClr val="tx1">
                    <a:lumMod val="75000"/>
                    <a:lumOff val="25000"/>
                  </a:schemeClr>
                </a:solidFill>
                <a:latin typeface="Arial"/>
                <a:cs typeface="Arial"/>
              </a:rPr>
              <a:t> </a:t>
            </a:r>
            <a:r>
              <a:rPr lang="en-US" sz="1600" i="1" dirty="0" err="1">
                <a:solidFill>
                  <a:schemeClr val="tx1">
                    <a:lumMod val="75000"/>
                    <a:lumOff val="25000"/>
                  </a:schemeClr>
                </a:solidFill>
                <a:latin typeface="Arial"/>
                <a:cs typeface="Arial"/>
              </a:rPr>
              <a:t>managé</a:t>
            </a:r>
            <a:r>
              <a:rPr lang="en-US" sz="1600" i="1" dirty="0">
                <a:solidFill>
                  <a:schemeClr val="tx1">
                    <a:lumMod val="75000"/>
                    <a:lumOff val="25000"/>
                  </a:schemeClr>
                </a:solidFill>
                <a:latin typeface="Arial"/>
                <a:cs typeface="Arial"/>
              </a:rPr>
              <a:t>. Il ne se </a:t>
            </a:r>
            <a:r>
              <a:rPr lang="en-US" sz="1600" i="1" dirty="0" err="1">
                <a:solidFill>
                  <a:schemeClr val="tx1">
                    <a:lumMod val="75000"/>
                    <a:lumOff val="25000"/>
                  </a:schemeClr>
                </a:solidFill>
                <a:latin typeface="Arial"/>
                <a:cs typeface="Arial"/>
              </a:rPr>
              <a:t>gèrera</a:t>
            </a:r>
            <a:r>
              <a:rPr lang="en-US" sz="1600" i="1" dirty="0">
                <a:solidFill>
                  <a:schemeClr val="tx1">
                    <a:lumMod val="75000"/>
                    <a:lumOff val="25000"/>
                  </a:schemeClr>
                </a:solidFill>
                <a:latin typeface="Arial"/>
                <a:cs typeface="Arial"/>
              </a:rPr>
              <a:t> pas tout </a:t>
            </a:r>
            <a:r>
              <a:rPr lang="en-US" sz="1600" i="1" dirty="0" err="1">
                <a:solidFill>
                  <a:schemeClr val="tx1">
                    <a:lumMod val="75000"/>
                    <a:lumOff val="25000"/>
                  </a:schemeClr>
                </a:solidFill>
                <a:latin typeface="Arial"/>
                <a:cs typeface="Arial"/>
              </a:rPr>
              <a:t>seul</a:t>
            </a:r>
            <a:r>
              <a:rPr lang="en-US" sz="1600" i="1" dirty="0">
                <a:solidFill>
                  <a:schemeClr val="tx1">
                    <a:lumMod val="75000"/>
                    <a:lumOff val="25000"/>
                  </a:schemeClr>
                </a:solidFill>
                <a:latin typeface="Arial"/>
                <a:cs typeface="Arial"/>
              </a:rPr>
              <a:t>.</a:t>
            </a:r>
          </a:p>
          <a:p>
            <a:pPr>
              <a:lnSpc>
                <a:spcPct val="110000"/>
              </a:lnSpc>
              <a:spcBef>
                <a:spcPts val="800"/>
              </a:spcBef>
              <a:spcAft>
                <a:spcPts val="800"/>
              </a:spcAft>
            </a:pPr>
            <a:r>
              <a:rPr lang="en-US" sz="1600" i="1" dirty="0" err="1">
                <a:solidFill>
                  <a:schemeClr val="tx1">
                    <a:lumMod val="75000"/>
                    <a:lumOff val="25000"/>
                  </a:schemeClr>
                </a:solidFill>
                <a:latin typeface="Arial"/>
                <a:cs typeface="Arial"/>
              </a:rPr>
              <a:t>Laissés</a:t>
            </a:r>
            <a:r>
              <a:rPr lang="en-US" sz="1600" i="1" dirty="0">
                <a:solidFill>
                  <a:schemeClr val="tx1">
                    <a:lumMod val="75000"/>
                    <a:lumOff val="25000"/>
                  </a:schemeClr>
                </a:solidFill>
                <a:latin typeface="Arial"/>
                <a:cs typeface="Arial"/>
              </a:rPr>
              <a:t> à </a:t>
            </a:r>
            <a:r>
              <a:rPr lang="en-US" sz="1600" i="1" dirty="0" err="1">
                <a:solidFill>
                  <a:schemeClr val="tx1">
                    <a:lumMod val="75000"/>
                    <a:lumOff val="25000"/>
                  </a:schemeClr>
                </a:solidFill>
                <a:latin typeface="Arial"/>
                <a:cs typeface="Arial"/>
              </a:rPr>
              <a:t>eux-mêmes</a:t>
            </a:r>
            <a:r>
              <a:rPr lang="en-US" sz="1600" i="1" dirty="0">
                <a:solidFill>
                  <a:schemeClr val="tx1">
                    <a:lumMod val="75000"/>
                    <a:lumOff val="25000"/>
                  </a:schemeClr>
                </a:solidFill>
                <a:latin typeface="Arial"/>
                <a:cs typeface="Arial"/>
              </a:rPr>
              <a:t>, les </a:t>
            </a:r>
            <a:r>
              <a:rPr lang="en-US" sz="1600" i="1" dirty="0" err="1">
                <a:solidFill>
                  <a:schemeClr val="tx1">
                    <a:lumMod val="75000"/>
                    <a:lumOff val="25000"/>
                  </a:schemeClr>
                </a:solidFill>
                <a:latin typeface="Arial"/>
                <a:cs typeface="Arial"/>
              </a:rPr>
              <a:t>composants</a:t>
            </a:r>
            <a:r>
              <a:rPr lang="en-US" sz="1600" i="1" dirty="0">
                <a:solidFill>
                  <a:schemeClr val="tx1">
                    <a:lumMod val="75000"/>
                    <a:lumOff val="25000"/>
                  </a:schemeClr>
                </a:solidFill>
                <a:latin typeface="Arial"/>
                <a:cs typeface="Arial"/>
              </a:rPr>
              <a:t> </a:t>
            </a:r>
            <a:r>
              <a:rPr lang="en-US" sz="1600" i="1" dirty="0" err="1">
                <a:solidFill>
                  <a:schemeClr val="tx1">
                    <a:lumMod val="75000"/>
                    <a:lumOff val="25000"/>
                  </a:schemeClr>
                </a:solidFill>
                <a:latin typeface="Arial"/>
                <a:cs typeface="Arial"/>
              </a:rPr>
              <a:t>deviennent</a:t>
            </a:r>
            <a:r>
              <a:rPr lang="en-US" sz="1600" i="1" dirty="0">
                <a:solidFill>
                  <a:schemeClr val="tx1">
                    <a:lumMod val="75000"/>
                    <a:lumOff val="25000"/>
                  </a:schemeClr>
                </a:solidFill>
                <a:latin typeface="Arial"/>
                <a:cs typeface="Arial"/>
              </a:rPr>
              <a:t> </a:t>
            </a:r>
            <a:r>
              <a:rPr lang="en-US" sz="1600" i="1" dirty="0" err="1">
                <a:solidFill>
                  <a:schemeClr val="tx1">
                    <a:lumMod val="75000"/>
                    <a:lumOff val="25000"/>
                  </a:schemeClr>
                </a:solidFill>
                <a:latin typeface="Arial"/>
                <a:cs typeface="Arial"/>
              </a:rPr>
              <a:t>égoïstes</a:t>
            </a:r>
            <a:r>
              <a:rPr lang="en-US" sz="1600" i="1" dirty="0">
                <a:solidFill>
                  <a:schemeClr val="tx1">
                    <a:lumMod val="75000"/>
                    <a:lumOff val="25000"/>
                  </a:schemeClr>
                </a:solidFill>
                <a:latin typeface="Arial"/>
                <a:cs typeface="Arial"/>
              </a:rPr>
              <a:t>, des </a:t>
            </a:r>
            <a:r>
              <a:rPr lang="en-US" sz="1600" i="1" dirty="0" err="1">
                <a:solidFill>
                  <a:schemeClr val="tx1">
                    <a:lumMod val="75000"/>
                    <a:lumOff val="25000"/>
                  </a:schemeClr>
                </a:solidFill>
                <a:latin typeface="Arial"/>
                <a:cs typeface="Arial"/>
              </a:rPr>
              <a:t>centres</a:t>
            </a:r>
            <a:r>
              <a:rPr lang="en-US" sz="1600" i="1" dirty="0">
                <a:solidFill>
                  <a:schemeClr val="tx1">
                    <a:lumMod val="75000"/>
                    <a:lumOff val="25000"/>
                  </a:schemeClr>
                </a:solidFill>
                <a:latin typeface="Arial"/>
                <a:cs typeface="Arial"/>
              </a:rPr>
              <a:t> de profit </a:t>
            </a:r>
            <a:r>
              <a:rPr lang="en-US" sz="1600" i="1" dirty="0" err="1">
                <a:solidFill>
                  <a:schemeClr val="tx1">
                    <a:lumMod val="75000"/>
                    <a:lumOff val="25000"/>
                  </a:schemeClr>
                </a:solidFill>
                <a:latin typeface="Arial"/>
                <a:cs typeface="Arial"/>
              </a:rPr>
              <a:t>indépendants</a:t>
            </a:r>
            <a:r>
              <a:rPr lang="en-US" sz="1600" i="1" dirty="0">
                <a:solidFill>
                  <a:schemeClr val="tx1">
                    <a:lumMod val="75000"/>
                    <a:lumOff val="25000"/>
                  </a:schemeClr>
                </a:solidFill>
                <a:latin typeface="Arial"/>
                <a:cs typeface="Arial"/>
              </a:rPr>
              <a:t> qui </a:t>
            </a:r>
            <a:r>
              <a:rPr lang="en-US" sz="1600" i="1" dirty="0" err="1">
                <a:solidFill>
                  <a:schemeClr val="tx1">
                    <a:lumMod val="75000"/>
                    <a:lumOff val="25000"/>
                  </a:schemeClr>
                </a:solidFill>
                <a:latin typeface="Arial"/>
                <a:cs typeface="Arial"/>
              </a:rPr>
              <a:t>détruisent</a:t>
            </a:r>
            <a:r>
              <a:rPr lang="en-US" sz="1600" i="1" dirty="0">
                <a:solidFill>
                  <a:schemeClr val="tx1">
                    <a:lumMod val="75000"/>
                    <a:lumOff val="25000"/>
                  </a:schemeClr>
                </a:solidFill>
                <a:latin typeface="Arial"/>
                <a:cs typeface="Arial"/>
              </a:rPr>
              <a:t> le </a:t>
            </a:r>
            <a:r>
              <a:rPr lang="en-US" sz="1600" i="1" dirty="0" err="1">
                <a:solidFill>
                  <a:schemeClr val="tx1">
                    <a:lumMod val="75000"/>
                    <a:lumOff val="25000"/>
                  </a:schemeClr>
                </a:solidFill>
                <a:latin typeface="Arial"/>
                <a:cs typeface="Arial"/>
              </a:rPr>
              <a:t>système</a:t>
            </a:r>
            <a:r>
              <a:rPr lang="en-US" sz="1600" i="1" dirty="0">
                <a:solidFill>
                  <a:schemeClr val="tx1">
                    <a:lumMod val="75000"/>
                    <a:lumOff val="25000"/>
                  </a:schemeClr>
                </a:solidFill>
                <a:latin typeface="Arial"/>
                <a:cs typeface="Arial"/>
              </a:rPr>
              <a:t>… </a:t>
            </a:r>
          </a:p>
          <a:p>
            <a:pPr>
              <a:lnSpc>
                <a:spcPct val="110000"/>
              </a:lnSpc>
              <a:spcBef>
                <a:spcPts val="800"/>
              </a:spcBef>
              <a:spcAft>
                <a:spcPts val="800"/>
              </a:spcAft>
            </a:pPr>
            <a:r>
              <a:rPr lang="en-US" sz="1600" i="1" dirty="0">
                <a:solidFill>
                  <a:schemeClr val="tx1">
                    <a:lumMod val="75000"/>
                    <a:lumOff val="25000"/>
                  </a:schemeClr>
                </a:solidFill>
                <a:latin typeface="Arial"/>
                <a:cs typeface="Arial"/>
              </a:rPr>
              <a:t>Le secret </a:t>
            </a:r>
            <a:r>
              <a:rPr lang="en-US" sz="1600" i="1" dirty="0" err="1">
                <a:solidFill>
                  <a:schemeClr val="tx1">
                    <a:lumMod val="75000"/>
                    <a:lumOff val="25000"/>
                  </a:schemeClr>
                </a:solidFill>
                <a:latin typeface="Arial"/>
                <a:cs typeface="Arial"/>
              </a:rPr>
              <a:t>est</a:t>
            </a:r>
            <a:r>
              <a:rPr lang="en-US" sz="1600" i="1" dirty="0">
                <a:solidFill>
                  <a:schemeClr val="tx1">
                    <a:lumMod val="75000"/>
                    <a:lumOff val="25000"/>
                  </a:schemeClr>
                </a:solidFill>
                <a:latin typeface="Arial"/>
                <a:cs typeface="Arial"/>
              </a:rPr>
              <a:t> la </a:t>
            </a:r>
            <a:r>
              <a:rPr lang="en-US" sz="1600" i="1" dirty="0" err="1">
                <a:solidFill>
                  <a:schemeClr val="tx1">
                    <a:lumMod val="75000"/>
                    <a:lumOff val="25000"/>
                  </a:schemeClr>
                </a:solidFill>
                <a:latin typeface="Arial"/>
                <a:cs typeface="Arial"/>
              </a:rPr>
              <a:t>coopération</a:t>
            </a:r>
            <a:r>
              <a:rPr lang="en-US" sz="1600" i="1" dirty="0">
                <a:solidFill>
                  <a:schemeClr val="tx1">
                    <a:lumMod val="75000"/>
                    <a:lumOff val="25000"/>
                  </a:schemeClr>
                </a:solidFill>
                <a:latin typeface="Arial"/>
                <a:cs typeface="Arial"/>
              </a:rPr>
              <a:t> entre les </a:t>
            </a:r>
            <a:r>
              <a:rPr lang="en-US" sz="1600" i="1" dirty="0" err="1">
                <a:solidFill>
                  <a:schemeClr val="tx1">
                    <a:lumMod val="75000"/>
                    <a:lumOff val="25000"/>
                  </a:schemeClr>
                </a:solidFill>
                <a:latin typeface="Arial"/>
                <a:cs typeface="Arial"/>
              </a:rPr>
              <a:t>composants</a:t>
            </a:r>
            <a:r>
              <a:rPr lang="en-US" sz="1600" i="1" dirty="0">
                <a:solidFill>
                  <a:schemeClr val="tx1">
                    <a:lumMod val="75000"/>
                    <a:lumOff val="25000"/>
                  </a:schemeClr>
                </a:solidFill>
                <a:latin typeface="Arial"/>
                <a:cs typeface="Arial"/>
              </a:rPr>
              <a:t> au service de </a:t>
            </a:r>
            <a:r>
              <a:rPr lang="en-US" sz="1600" i="1" dirty="0" err="1">
                <a:solidFill>
                  <a:schemeClr val="tx1">
                    <a:lumMod val="75000"/>
                    <a:lumOff val="25000"/>
                  </a:schemeClr>
                </a:solidFill>
                <a:latin typeface="Arial"/>
                <a:cs typeface="Arial"/>
              </a:rPr>
              <a:t>l’organisation</a:t>
            </a:r>
            <a:r>
              <a:rPr lang="en-US" sz="1600" i="1" dirty="0">
                <a:solidFill>
                  <a:schemeClr val="tx1">
                    <a:lumMod val="75000"/>
                    <a:lumOff val="25000"/>
                  </a:schemeClr>
                </a:solidFill>
                <a:latin typeface="Arial"/>
                <a:cs typeface="Arial"/>
              </a:rPr>
              <a:t>.</a:t>
            </a:r>
          </a:p>
          <a:p>
            <a:pPr>
              <a:lnSpc>
                <a:spcPct val="110000"/>
              </a:lnSpc>
              <a:spcBef>
                <a:spcPts val="800"/>
              </a:spcBef>
              <a:spcAft>
                <a:spcPts val="800"/>
              </a:spcAft>
            </a:pPr>
            <a:r>
              <a:rPr lang="en-US" sz="1600" dirty="0">
                <a:solidFill>
                  <a:schemeClr val="accent2"/>
                </a:solidFill>
                <a:latin typeface="Arial"/>
                <a:cs typeface="Arial"/>
              </a:rPr>
              <a:t>                            </a:t>
            </a:r>
            <a:r>
              <a:rPr lang="en-US" sz="1600" i="1" dirty="0">
                <a:solidFill>
                  <a:schemeClr val="tx1">
                    <a:lumMod val="75000"/>
                    <a:lumOff val="25000"/>
                  </a:schemeClr>
                </a:solidFill>
                <a:latin typeface="Arial"/>
                <a:cs typeface="Arial"/>
              </a:rPr>
              <a:t>—W. Edwards Deming</a:t>
            </a:r>
          </a:p>
        </p:txBody>
      </p:sp>
      <p:pic>
        <p:nvPicPr>
          <p:cNvPr id="12" name="Picture 5">
            <a:extLst>
              <a:ext uri="{FF2B5EF4-FFF2-40B4-BE49-F238E27FC236}">
                <a16:creationId xmlns:a16="http://schemas.microsoft.com/office/drawing/2014/main" id="{AEF183DD-23C1-432A-90EE-30244E9D4E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45829" y="5147508"/>
            <a:ext cx="791543" cy="989428"/>
          </a:xfrm>
          <a:prstGeom prst="ellipse">
            <a:avLst/>
          </a:prstGeom>
          <a:effectLst/>
        </p:spPr>
      </p:pic>
      <p:pic>
        <p:nvPicPr>
          <p:cNvPr id="13" name="Image 12">
            <a:extLst>
              <a:ext uri="{FF2B5EF4-FFF2-40B4-BE49-F238E27FC236}">
                <a16:creationId xmlns:a16="http://schemas.microsoft.com/office/drawing/2014/main" id="{168DCE3A-B7FC-45D1-9B01-E11563075B2E}"/>
              </a:ext>
            </a:extLst>
          </p:cNvPr>
          <p:cNvPicPr>
            <a:picLocks noChangeAspect="1"/>
          </p:cNvPicPr>
          <p:nvPr/>
        </p:nvPicPr>
        <p:blipFill>
          <a:blip r:embed="rId3"/>
          <a:stretch>
            <a:fillRect/>
          </a:stretch>
        </p:blipFill>
        <p:spPr>
          <a:xfrm>
            <a:off x="6418497" y="3110545"/>
            <a:ext cx="4392240" cy="3257649"/>
          </a:xfrm>
          <a:prstGeom prst="rect">
            <a:avLst/>
          </a:prstGeom>
        </p:spPr>
      </p:pic>
    </p:spTree>
    <p:extLst>
      <p:ext uri="{BB962C8B-B14F-4D97-AF65-F5344CB8AC3E}">
        <p14:creationId xmlns:p14="http://schemas.microsoft.com/office/powerpoint/2010/main" val="29104596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17</a:t>
            </a:fld>
            <a:endParaRPr lang="fr-FR" dirty="0"/>
          </a:p>
        </p:txBody>
      </p:sp>
      <p:sp>
        <p:nvSpPr>
          <p:cNvPr id="5" name="Espace réservé du texte 4"/>
          <p:cNvSpPr>
            <a:spLocks noGrp="1"/>
          </p:cNvSpPr>
          <p:nvPr>
            <p:ph type="body" idx="1"/>
          </p:nvPr>
        </p:nvSpPr>
        <p:spPr/>
        <p:txBody>
          <a:bodyPr/>
          <a:lstStyle/>
          <a:p>
            <a:r>
              <a:rPr lang="fr-FR" dirty="0"/>
              <a:t>Les 10 principes</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au global</a:t>
            </a:r>
          </a:p>
        </p:txBody>
      </p:sp>
      <p:sp>
        <p:nvSpPr>
          <p:cNvPr id="8" name="Espace réservé du texte 7">
            <a:extLst>
              <a:ext uri="{FF2B5EF4-FFF2-40B4-BE49-F238E27FC236}">
                <a16:creationId xmlns:a16="http://schemas.microsoft.com/office/drawing/2014/main" id="{52B1F984-09E9-4D55-A6D9-ACAFCA6223DF}"/>
              </a:ext>
            </a:extLst>
          </p:cNvPr>
          <p:cNvSpPr>
            <a:spLocks noGrp="1"/>
          </p:cNvSpPr>
          <p:nvPr>
            <p:ph type="body" sz="quarter" idx="13"/>
          </p:nvPr>
        </p:nvSpPr>
        <p:spPr>
          <a:xfrm>
            <a:off x="719136" y="1487760"/>
            <a:ext cx="10606361" cy="4389120"/>
          </a:xfrm>
        </p:spPr>
        <p:txBody>
          <a:bodyPr/>
          <a:lstStyle/>
          <a:p>
            <a:r>
              <a:rPr lang="fr-FR" dirty="0"/>
              <a:t>#3 Assumer la variabilité, se préserver des options</a:t>
            </a:r>
          </a:p>
          <a:p>
            <a:pPr lvl="1"/>
            <a:r>
              <a:rPr lang="fr-FR" dirty="0"/>
              <a:t>C’est l’inverse de ce que l’on apprend depuis notre plus jeune âge (1 problème </a:t>
            </a:r>
            <a:r>
              <a:rPr lang="fr-FR" dirty="0">
                <a:sym typeface="Wingdings" panose="05000000000000000000" pitchFamily="2" charset="2"/>
              </a:rPr>
              <a:t> </a:t>
            </a:r>
            <a:r>
              <a:rPr lang="fr-FR" b="1" dirty="0">
                <a:sym typeface="Wingdings" panose="05000000000000000000" pitchFamily="2" charset="2"/>
              </a:rPr>
              <a:t>LA</a:t>
            </a:r>
            <a:r>
              <a:rPr lang="fr-FR" dirty="0">
                <a:sym typeface="Wingdings" panose="05000000000000000000" pitchFamily="2" charset="2"/>
              </a:rPr>
              <a:t> solution !</a:t>
            </a:r>
            <a:r>
              <a:rPr lang="fr-FR" dirty="0"/>
              <a:t>)</a:t>
            </a:r>
          </a:p>
          <a:p>
            <a:endParaRPr lang="fr-FR" dirty="0"/>
          </a:p>
        </p:txBody>
      </p:sp>
      <p:pic>
        <p:nvPicPr>
          <p:cNvPr id="16" name="Image 15">
            <a:extLst>
              <a:ext uri="{FF2B5EF4-FFF2-40B4-BE49-F238E27FC236}">
                <a16:creationId xmlns:a16="http://schemas.microsoft.com/office/drawing/2014/main" id="{B8963550-383E-4754-B8E4-6F51ECEE1CE5}"/>
              </a:ext>
            </a:extLst>
          </p:cNvPr>
          <p:cNvPicPr>
            <a:picLocks noChangeAspect="1"/>
          </p:cNvPicPr>
          <p:nvPr/>
        </p:nvPicPr>
        <p:blipFill>
          <a:blip r:embed="rId2"/>
          <a:stretch>
            <a:fillRect/>
          </a:stretch>
        </p:blipFill>
        <p:spPr>
          <a:xfrm>
            <a:off x="2567608" y="2466908"/>
            <a:ext cx="6398004" cy="3698943"/>
          </a:xfrm>
          <a:prstGeom prst="rect">
            <a:avLst/>
          </a:prstGeom>
        </p:spPr>
      </p:pic>
      <p:sp>
        <p:nvSpPr>
          <p:cNvPr id="9" name="Rectangle 8">
            <a:extLst>
              <a:ext uri="{FF2B5EF4-FFF2-40B4-BE49-F238E27FC236}">
                <a16:creationId xmlns:a16="http://schemas.microsoft.com/office/drawing/2014/main" id="{879FBF78-C3F3-40E6-8F88-6A0DA532BAEC}"/>
              </a:ext>
            </a:extLst>
          </p:cNvPr>
          <p:cNvSpPr/>
          <p:nvPr/>
        </p:nvSpPr>
        <p:spPr>
          <a:xfrm>
            <a:off x="9126236" y="413280"/>
            <a:ext cx="2928552" cy="1235026"/>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dirty="0" err="1">
                <a:sym typeface="Wingdings" panose="05000000000000000000" pitchFamily="2" charset="2"/>
              </a:rPr>
              <a:t>L’apprentissage</a:t>
            </a:r>
            <a:r>
              <a:rPr lang="en-US" sz="1600" dirty="0">
                <a:sym typeface="Wingdings" panose="05000000000000000000" pitchFamily="2" charset="2"/>
              </a:rPr>
              <a:t> par </a:t>
            </a:r>
            <a:r>
              <a:rPr lang="en-US" sz="1600" dirty="0" err="1">
                <a:sym typeface="Wingdings" panose="05000000000000000000" pitchFamily="2" charset="2"/>
              </a:rPr>
              <a:t>itérations</a:t>
            </a:r>
            <a:endParaRPr lang="en-US" sz="1600" dirty="0"/>
          </a:p>
          <a:p>
            <a:pPr algn="ctr"/>
            <a:r>
              <a:rPr lang="en-US" sz="1600" dirty="0">
                <a:solidFill>
                  <a:schemeClr val="accent1"/>
                </a:solidFill>
              </a:rPr>
              <a:t>- - -</a:t>
            </a:r>
          </a:p>
          <a:p>
            <a:pPr algn="ctr"/>
            <a:r>
              <a:rPr lang="en-US" sz="1600" dirty="0"/>
              <a:t>The "Marshmallow Challenge“</a:t>
            </a:r>
            <a:endParaRPr lang="en-US" sz="1600" dirty="0">
              <a:hlinkClick r:id="rId3"/>
            </a:endParaRPr>
          </a:p>
          <a:p>
            <a:pPr algn="ctr"/>
            <a:r>
              <a:rPr lang="en-US" sz="1600" dirty="0">
                <a:hlinkClick r:id="rId3"/>
              </a:rPr>
              <a:t>https://youtu.be/H0_yKBitO8M</a:t>
            </a:r>
            <a:endParaRPr lang="en-US" sz="1600" dirty="0"/>
          </a:p>
        </p:txBody>
      </p:sp>
      <p:pic>
        <p:nvPicPr>
          <p:cNvPr id="10" name="Picture 4" descr="RÃ©sultat de recherche d'images pour &quot;icone video&quot;">
            <a:extLst>
              <a:ext uri="{FF2B5EF4-FFF2-40B4-BE49-F238E27FC236}">
                <a16:creationId xmlns:a16="http://schemas.microsoft.com/office/drawing/2014/main" id="{C4917AA2-5C29-4AB9-BB20-C80AEAFF4C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23844" y="79550"/>
            <a:ext cx="723284" cy="5047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55638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18</a:t>
            </a:fld>
            <a:endParaRPr lang="fr-FR" dirty="0"/>
          </a:p>
        </p:txBody>
      </p:sp>
      <p:sp>
        <p:nvSpPr>
          <p:cNvPr id="5" name="Espace réservé du texte 4"/>
          <p:cNvSpPr>
            <a:spLocks noGrp="1"/>
          </p:cNvSpPr>
          <p:nvPr>
            <p:ph type="body" idx="1"/>
          </p:nvPr>
        </p:nvSpPr>
        <p:spPr/>
        <p:txBody>
          <a:bodyPr/>
          <a:lstStyle/>
          <a:p>
            <a:r>
              <a:rPr lang="fr-FR" dirty="0"/>
              <a:t>Les 10 principes</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au global</a:t>
            </a:r>
          </a:p>
        </p:txBody>
      </p:sp>
      <p:sp>
        <p:nvSpPr>
          <p:cNvPr id="8" name="Espace réservé du texte 7">
            <a:extLst>
              <a:ext uri="{FF2B5EF4-FFF2-40B4-BE49-F238E27FC236}">
                <a16:creationId xmlns:a16="http://schemas.microsoft.com/office/drawing/2014/main" id="{52B1F984-09E9-4D55-A6D9-ACAFCA6223DF}"/>
              </a:ext>
            </a:extLst>
          </p:cNvPr>
          <p:cNvSpPr>
            <a:spLocks noGrp="1"/>
          </p:cNvSpPr>
          <p:nvPr>
            <p:ph type="body" sz="quarter" idx="13"/>
          </p:nvPr>
        </p:nvSpPr>
        <p:spPr>
          <a:xfrm>
            <a:off x="719136" y="1487760"/>
            <a:ext cx="10606361" cy="4389120"/>
          </a:xfrm>
        </p:spPr>
        <p:txBody>
          <a:bodyPr/>
          <a:lstStyle/>
          <a:p>
            <a:r>
              <a:rPr lang="fr-FR" dirty="0"/>
              <a:t>#4 Construire de manière incrémentale et intégrer avec des cycles de feedback rapides</a:t>
            </a:r>
          </a:p>
          <a:p>
            <a:pPr lvl="1"/>
            <a:r>
              <a:rPr lang="fr-FR" dirty="0"/>
              <a:t>Pas de gros projets, obtenir du feedback utilisateur le plus souvent possible</a:t>
            </a:r>
          </a:p>
          <a:p>
            <a:pPr lvl="1"/>
            <a:endParaRPr lang="fr-FR" dirty="0"/>
          </a:p>
          <a:p>
            <a:pPr lvl="1"/>
            <a:endParaRPr lang="fr-FR" dirty="0"/>
          </a:p>
          <a:p>
            <a:pPr lvl="1"/>
            <a:endParaRPr lang="fr-FR" dirty="0"/>
          </a:p>
          <a:p>
            <a:pPr lvl="1"/>
            <a:endParaRPr lang="fr-FR" dirty="0"/>
          </a:p>
          <a:p>
            <a:pPr lvl="1"/>
            <a:endParaRPr lang="fr-FR" dirty="0"/>
          </a:p>
          <a:p>
            <a:r>
              <a:rPr lang="fr-FR" dirty="0"/>
              <a:t>#5 Se baser sur une évaluation objective d’un système qui fonctionne</a:t>
            </a:r>
          </a:p>
          <a:p>
            <a:endParaRPr lang="fr-FR" dirty="0"/>
          </a:p>
        </p:txBody>
      </p:sp>
      <p:pic>
        <p:nvPicPr>
          <p:cNvPr id="9" name="Image 8">
            <a:extLst>
              <a:ext uri="{FF2B5EF4-FFF2-40B4-BE49-F238E27FC236}">
                <a16:creationId xmlns:a16="http://schemas.microsoft.com/office/drawing/2014/main" id="{16323FC7-1391-46B8-9648-68A46CA5FAA3}"/>
              </a:ext>
            </a:extLst>
          </p:cNvPr>
          <p:cNvPicPr>
            <a:picLocks noChangeAspect="1"/>
          </p:cNvPicPr>
          <p:nvPr/>
        </p:nvPicPr>
        <p:blipFill>
          <a:blip r:embed="rId2"/>
          <a:stretch>
            <a:fillRect/>
          </a:stretch>
        </p:blipFill>
        <p:spPr>
          <a:xfrm>
            <a:off x="1821026" y="2252275"/>
            <a:ext cx="6030903" cy="1272736"/>
          </a:xfrm>
          <a:prstGeom prst="rect">
            <a:avLst/>
          </a:prstGeom>
        </p:spPr>
      </p:pic>
      <p:pic>
        <p:nvPicPr>
          <p:cNvPr id="10" name="Image 9">
            <a:extLst>
              <a:ext uri="{FF2B5EF4-FFF2-40B4-BE49-F238E27FC236}">
                <a16:creationId xmlns:a16="http://schemas.microsoft.com/office/drawing/2014/main" id="{04A6FF10-385B-4652-928E-7A690FC2D245}"/>
              </a:ext>
            </a:extLst>
          </p:cNvPr>
          <p:cNvPicPr>
            <a:picLocks noChangeAspect="1"/>
          </p:cNvPicPr>
          <p:nvPr/>
        </p:nvPicPr>
        <p:blipFill>
          <a:blip r:embed="rId3"/>
          <a:stretch>
            <a:fillRect/>
          </a:stretch>
        </p:blipFill>
        <p:spPr>
          <a:xfrm>
            <a:off x="1596562" y="4409016"/>
            <a:ext cx="9305984" cy="1698075"/>
          </a:xfrm>
          <a:prstGeom prst="rect">
            <a:avLst/>
          </a:prstGeom>
        </p:spPr>
      </p:pic>
    </p:spTree>
    <p:extLst>
      <p:ext uri="{BB962C8B-B14F-4D97-AF65-F5344CB8AC3E}">
        <p14:creationId xmlns:p14="http://schemas.microsoft.com/office/powerpoint/2010/main" val="28402333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19</a:t>
            </a:fld>
            <a:endParaRPr lang="fr-FR" dirty="0"/>
          </a:p>
        </p:txBody>
      </p:sp>
      <p:sp>
        <p:nvSpPr>
          <p:cNvPr id="5" name="Espace réservé du texte 4"/>
          <p:cNvSpPr>
            <a:spLocks noGrp="1"/>
          </p:cNvSpPr>
          <p:nvPr>
            <p:ph type="body" idx="1"/>
          </p:nvPr>
        </p:nvSpPr>
        <p:spPr/>
        <p:txBody>
          <a:bodyPr/>
          <a:lstStyle/>
          <a:p>
            <a:r>
              <a:rPr lang="fr-FR" dirty="0"/>
              <a:t>Les 10 principes</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au global</a:t>
            </a:r>
          </a:p>
        </p:txBody>
      </p:sp>
      <p:sp>
        <p:nvSpPr>
          <p:cNvPr id="8" name="Espace réservé du texte 7">
            <a:extLst>
              <a:ext uri="{FF2B5EF4-FFF2-40B4-BE49-F238E27FC236}">
                <a16:creationId xmlns:a16="http://schemas.microsoft.com/office/drawing/2014/main" id="{52B1F984-09E9-4D55-A6D9-ACAFCA6223DF}"/>
              </a:ext>
            </a:extLst>
          </p:cNvPr>
          <p:cNvSpPr>
            <a:spLocks noGrp="1"/>
          </p:cNvSpPr>
          <p:nvPr>
            <p:ph type="body" sz="quarter" idx="13"/>
          </p:nvPr>
        </p:nvSpPr>
        <p:spPr>
          <a:xfrm>
            <a:off x="719137" y="1487760"/>
            <a:ext cx="8790624" cy="4389120"/>
          </a:xfrm>
        </p:spPr>
        <p:txBody>
          <a:bodyPr/>
          <a:lstStyle/>
          <a:p>
            <a:r>
              <a:rPr lang="fr-FR" dirty="0"/>
              <a:t>#6 Visualiser et limiter le travail en cours, réduire la taille des lots et gérer les files d’attentes</a:t>
            </a:r>
          </a:p>
          <a:p>
            <a:pPr lvl="1"/>
            <a:r>
              <a:rPr lang="fr-FR" dirty="0"/>
              <a:t>Trouver la bonne taille de lot de travaux : ni trop petit, ni trop gros</a:t>
            </a:r>
          </a:p>
          <a:p>
            <a:pPr lvl="1"/>
            <a:endParaRPr lang="fr-FR" dirty="0"/>
          </a:p>
          <a:p>
            <a:r>
              <a:rPr lang="fr-FR" dirty="0"/>
              <a:t>#7 Appliquer une cadence et synchroniser la planification multi-domaine</a:t>
            </a:r>
          </a:p>
          <a:p>
            <a:endParaRPr lang="fr-FR" dirty="0"/>
          </a:p>
          <a:p>
            <a:endParaRPr lang="fr-FR" dirty="0"/>
          </a:p>
          <a:p>
            <a:endParaRPr lang="fr-FR" dirty="0"/>
          </a:p>
          <a:p>
            <a:endParaRPr lang="fr-FR" dirty="0"/>
          </a:p>
          <a:p>
            <a:pPr marL="0" indent="0">
              <a:buNone/>
            </a:pPr>
            <a:endParaRPr lang="fr-FR" dirty="0"/>
          </a:p>
          <a:p>
            <a:pPr marL="0" indent="0">
              <a:buNone/>
            </a:pPr>
            <a:endParaRPr lang="fr-FR" dirty="0"/>
          </a:p>
          <a:p>
            <a:r>
              <a:rPr lang="fr-FR" dirty="0"/>
              <a:t>#8 Déverrouiller la motivation intrinsèque des sachants</a:t>
            </a:r>
          </a:p>
          <a:p>
            <a:pPr lvl="1"/>
            <a:r>
              <a:rPr lang="fr-FR" dirty="0"/>
              <a:t>1949 : expérience des singes </a:t>
            </a:r>
            <a:r>
              <a:rPr lang="fr-FR" dirty="0" err="1"/>
              <a:t>Rhesus</a:t>
            </a:r>
            <a:r>
              <a:rPr lang="fr-FR" dirty="0"/>
              <a:t> de Harlow qui </a:t>
            </a:r>
            <a:r>
              <a:rPr lang="fr-FR" dirty="0" err="1"/>
              <a:t>résolvèrent</a:t>
            </a:r>
            <a:r>
              <a:rPr lang="fr-FR" dirty="0"/>
              <a:t> des puzzles d’eux-mêmes, mais qui firent des erreurs quand on les récompensaient</a:t>
            </a:r>
          </a:p>
          <a:p>
            <a:endParaRPr lang="fr-FR" dirty="0"/>
          </a:p>
        </p:txBody>
      </p:sp>
      <p:sp>
        <p:nvSpPr>
          <p:cNvPr id="13" name="Rectangle 12">
            <a:extLst>
              <a:ext uri="{FF2B5EF4-FFF2-40B4-BE49-F238E27FC236}">
                <a16:creationId xmlns:a16="http://schemas.microsoft.com/office/drawing/2014/main" id="{699D5F4A-6DE5-4554-BBFC-8C821B58AA47}"/>
              </a:ext>
            </a:extLst>
          </p:cNvPr>
          <p:cNvSpPr/>
          <p:nvPr/>
        </p:nvSpPr>
        <p:spPr bwMode="auto">
          <a:xfrm>
            <a:off x="4561118" y="3056708"/>
            <a:ext cx="375192" cy="385715"/>
          </a:xfrm>
          <a:prstGeom prst="rect">
            <a:avLst/>
          </a:prstGeom>
          <a:solidFill>
            <a:schemeClr val="bg1"/>
          </a:solidFill>
          <a:ln w="19050" cap="flat" cmpd="sng" algn="ctr">
            <a:solidFill>
              <a:schemeClr val="bg1">
                <a:alpha val="0"/>
              </a:schemeClr>
            </a:solidFill>
            <a:prstDash val="solid"/>
            <a:round/>
            <a:headEnd type="none" w="med" len="med"/>
            <a:tailEnd type="none" w="med" len="med"/>
          </a:ln>
          <a:effectLst>
            <a:outerShdw blurRad="50800" dist="38100" dir="2700000" sx="1000" sy="1000" algn="tl" rotWithShape="0">
              <a:prstClr val="black">
                <a:alpha val="40000"/>
              </a:prstClr>
            </a:outerShdw>
          </a:effectLst>
        </p:spPr>
        <p:txBody>
          <a:bodyPr vert="horz" wrap="square" lIns="121920" tIns="121920" rIns="121920" bIns="121920" numCol="1" rtlCol="0" anchor="t" anchorCtr="0" compatLnSpc="1">
            <a:prstTxWarp prst="textNoShape">
              <a:avLst/>
            </a:prstTxWarp>
            <a:noAutofit/>
          </a:bodyPr>
          <a:lstStyle/>
          <a:p>
            <a:pPr algn="l" eaLnBrk="0" hangingPunct="0">
              <a:spcBef>
                <a:spcPct val="20000"/>
              </a:spcBef>
            </a:pPr>
            <a:endParaRPr lang="en-US" sz="2933" i="1" dirty="0"/>
          </a:p>
        </p:txBody>
      </p:sp>
      <p:pic>
        <p:nvPicPr>
          <p:cNvPr id="7" name="Image 6">
            <a:extLst>
              <a:ext uri="{FF2B5EF4-FFF2-40B4-BE49-F238E27FC236}">
                <a16:creationId xmlns:a16="http://schemas.microsoft.com/office/drawing/2014/main" id="{07EA3182-E84C-4048-89BF-1B9302269D2C}"/>
              </a:ext>
            </a:extLst>
          </p:cNvPr>
          <p:cNvPicPr>
            <a:picLocks noChangeAspect="1"/>
          </p:cNvPicPr>
          <p:nvPr/>
        </p:nvPicPr>
        <p:blipFill>
          <a:blip r:embed="rId2"/>
          <a:stretch>
            <a:fillRect/>
          </a:stretch>
        </p:blipFill>
        <p:spPr>
          <a:xfrm>
            <a:off x="3088981" y="3244659"/>
            <a:ext cx="3694658" cy="1908288"/>
          </a:xfrm>
          <a:prstGeom prst="rect">
            <a:avLst/>
          </a:prstGeom>
        </p:spPr>
      </p:pic>
      <p:sp>
        <p:nvSpPr>
          <p:cNvPr id="14" name="Rectangle 13">
            <a:extLst>
              <a:ext uri="{FF2B5EF4-FFF2-40B4-BE49-F238E27FC236}">
                <a16:creationId xmlns:a16="http://schemas.microsoft.com/office/drawing/2014/main" id="{39162372-EDC7-4D08-B738-95D46B17C3F5}"/>
              </a:ext>
            </a:extLst>
          </p:cNvPr>
          <p:cNvSpPr/>
          <p:nvPr/>
        </p:nvSpPr>
        <p:spPr>
          <a:xfrm>
            <a:off x="9006056" y="3760318"/>
            <a:ext cx="2928552" cy="144016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dirty="0">
                <a:sym typeface="Wingdings" panose="05000000000000000000" pitchFamily="2" charset="2"/>
              </a:rPr>
              <a:t>Ce qui motive les </a:t>
            </a:r>
            <a:r>
              <a:rPr lang="en-US" sz="1600" dirty="0" err="1">
                <a:sym typeface="Wingdings" panose="05000000000000000000" pitchFamily="2" charset="2"/>
              </a:rPr>
              <a:t>individus</a:t>
            </a:r>
            <a:endParaRPr lang="en-US" sz="1600" dirty="0"/>
          </a:p>
          <a:p>
            <a:pPr algn="ctr"/>
            <a:r>
              <a:rPr lang="en-US" sz="1600" dirty="0">
                <a:solidFill>
                  <a:schemeClr val="accent1"/>
                </a:solidFill>
              </a:rPr>
              <a:t>- - -</a:t>
            </a:r>
          </a:p>
          <a:p>
            <a:pPr algn="ctr"/>
            <a:r>
              <a:rPr lang="fr-FR" sz="1600" dirty="0"/>
              <a:t>The </a:t>
            </a:r>
            <a:r>
              <a:rPr lang="fr-FR" sz="1600" dirty="0" err="1"/>
              <a:t>surprising</a:t>
            </a:r>
            <a:r>
              <a:rPr lang="fr-FR" sz="1600" dirty="0"/>
              <a:t> </a:t>
            </a:r>
            <a:r>
              <a:rPr lang="fr-FR" sz="1600" dirty="0" err="1"/>
              <a:t>truth</a:t>
            </a:r>
            <a:r>
              <a:rPr lang="fr-FR" sz="1600" dirty="0"/>
              <a:t> about </a:t>
            </a:r>
            <a:r>
              <a:rPr lang="fr-FR" sz="1600" dirty="0" err="1"/>
              <a:t>what</a:t>
            </a:r>
            <a:r>
              <a:rPr lang="fr-FR" sz="1600" dirty="0"/>
              <a:t> </a:t>
            </a:r>
            <a:r>
              <a:rPr lang="fr-FR" sz="1600" dirty="0" err="1"/>
              <a:t>motivates</a:t>
            </a:r>
            <a:r>
              <a:rPr lang="fr-FR" sz="1600" dirty="0"/>
              <a:t> us </a:t>
            </a:r>
            <a:r>
              <a:rPr lang="en-US" sz="1600" dirty="0">
                <a:hlinkClick r:id="rId3"/>
              </a:rPr>
              <a:t>https://youtu.be/u6XAPnuFjJc</a:t>
            </a:r>
            <a:endParaRPr lang="en-US" sz="1600" dirty="0"/>
          </a:p>
        </p:txBody>
      </p:sp>
      <p:pic>
        <p:nvPicPr>
          <p:cNvPr id="15" name="Picture 4" descr="RÃ©sultat de recherche d'images pour &quot;icone video&quot;">
            <a:extLst>
              <a:ext uri="{FF2B5EF4-FFF2-40B4-BE49-F238E27FC236}">
                <a16:creationId xmlns:a16="http://schemas.microsoft.com/office/drawing/2014/main" id="{5DD8C7C9-BAF0-4095-BCFF-1685B1A3CC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95104" y="3518028"/>
            <a:ext cx="723284" cy="504792"/>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3559A2A4-3929-4120-836F-9ECB8B853F50}"/>
              </a:ext>
            </a:extLst>
          </p:cNvPr>
          <p:cNvSpPr/>
          <p:nvPr/>
        </p:nvSpPr>
        <p:spPr>
          <a:xfrm>
            <a:off x="9155366" y="529210"/>
            <a:ext cx="2928552" cy="1235026"/>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dirty="0" err="1">
                <a:sym typeface="Wingdings" panose="05000000000000000000" pitchFamily="2" charset="2"/>
              </a:rPr>
              <a:t>Optimiser</a:t>
            </a:r>
            <a:r>
              <a:rPr lang="en-US" sz="1600" dirty="0">
                <a:sym typeface="Wingdings" panose="05000000000000000000" pitchFamily="2" charset="2"/>
              </a:rPr>
              <a:t> les </a:t>
            </a:r>
            <a:r>
              <a:rPr lang="en-US" sz="1600" dirty="0" err="1">
                <a:sym typeface="Wingdings" panose="05000000000000000000" pitchFamily="2" charset="2"/>
              </a:rPr>
              <a:t>coûts</a:t>
            </a:r>
            <a:r>
              <a:rPr lang="en-US" sz="1600" dirty="0">
                <a:sym typeface="Wingdings" panose="05000000000000000000" pitchFamily="2" charset="2"/>
              </a:rPr>
              <a:t> de transaction</a:t>
            </a:r>
            <a:endParaRPr lang="en-US" sz="1600" dirty="0"/>
          </a:p>
          <a:p>
            <a:pPr algn="ctr"/>
            <a:r>
              <a:rPr lang="en-US" sz="1600" dirty="0">
                <a:solidFill>
                  <a:schemeClr val="accent1"/>
                </a:solidFill>
              </a:rPr>
              <a:t>- - -</a:t>
            </a:r>
          </a:p>
          <a:p>
            <a:pPr algn="ctr"/>
            <a:r>
              <a:rPr lang="en-US" sz="1600" dirty="0"/>
              <a:t>Formula 1 Pit Stops </a:t>
            </a:r>
            <a:r>
              <a:rPr lang="en-US" sz="1600" dirty="0">
                <a:hlinkClick r:id="rId5"/>
              </a:rPr>
              <a:t>https://youtu.be/RRy_73ivcms</a:t>
            </a:r>
            <a:endParaRPr lang="en-US" sz="1600" dirty="0"/>
          </a:p>
        </p:txBody>
      </p:sp>
      <p:pic>
        <p:nvPicPr>
          <p:cNvPr id="17" name="Picture 4" descr="RÃ©sultat de recherche d'images pour &quot;icone video&quot;">
            <a:extLst>
              <a:ext uri="{FF2B5EF4-FFF2-40B4-BE49-F238E27FC236}">
                <a16:creationId xmlns:a16="http://schemas.microsoft.com/office/drawing/2014/main" id="{39C3ADE0-27CB-47F0-AC76-A54CC58E24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44414" y="286920"/>
            <a:ext cx="723284" cy="5047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95315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idx="1"/>
          </p:nvPr>
        </p:nvSpPr>
        <p:spPr/>
        <p:txBody>
          <a:bodyPr/>
          <a:lstStyle/>
          <a:p>
            <a:r>
              <a:rPr lang="fr-FR" sz="4000" dirty="0"/>
              <a:t>01</a:t>
            </a:r>
          </a:p>
        </p:txBody>
      </p:sp>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noProof="0" smtClean="0"/>
              <a:t>2</a:t>
            </a:fld>
            <a:endParaRPr lang="fr-FR" noProof="0"/>
          </a:p>
        </p:txBody>
      </p:sp>
      <p:sp>
        <p:nvSpPr>
          <p:cNvPr id="5" name="Espace réservé du texte 4"/>
          <p:cNvSpPr>
            <a:spLocks noGrp="1"/>
          </p:cNvSpPr>
          <p:nvPr>
            <p:ph type="body" sz="quarter" idx="13"/>
          </p:nvPr>
        </p:nvSpPr>
        <p:spPr/>
        <p:txBody>
          <a:bodyPr/>
          <a:lstStyle/>
          <a:p>
            <a:r>
              <a:rPr lang="fr-FR" dirty="0"/>
              <a:t>Introduction</a:t>
            </a:r>
          </a:p>
        </p:txBody>
      </p:sp>
      <p:sp>
        <p:nvSpPr>
          <p:cNvPr id="6" name="Espace réservé du texte 5"/>
          <p:cNvSpPr>
            <a:spLocks noGrp="1"/>
          </p:cNvSpPr>
          <p:nvPr>
            <p:ph type="body" idx="14"/>
          </p:nvPr>
        </p:nvSpPr>
        <p:spPr/>
        <p:txBody>
          <a:bodyPr/>
          <a:lstStyle/>
          <a:p>
            <a:r>
              <a:rPr lang="fr-FR" sz="4000" dirty="0"/>
              <a:t>02</a:t>
            </a:r>
          </a:p>
        </p:txBody>
      </p:sp>
      <p:sp>
        <p:nvSpPr>
          <p:cNvPr id="7" name="Espace réservé du texte 6"/>
          <p:cNvSpPr>
            <a:spLocks noGrp="1"/>
          </p:cNvSpPr>
          <p:nvPr>
            <p:ph type="body" sz="quarter" idx="15"/>
          </p:nvPr>
        </p:nvSpPr>
        <p:spPr/>
        <p:txBody>
          <a:bodyPr/>
          <a:lstStyle/>
          <a:p>
            <a:r>
              <a:rPr lang="fr-FR" dirty="0"/>
              <a:t>Pourquoi l’agilité à l’échelle ?</a:t>
            </a:r>
          </a:p>
        </p:txBody>
      </p:sp>
      <p:sp>
        <p:nvSpPr>
          <p:cNvPr id="8" name="Espace réservé du texte 7"/>
          <p:cNvSpPr>
            <a:spLocks noGrp="1"/>
          </p:cNvSpPr>
          <p:nvPr>
            <p:ph type="body" idx="16"/>
          </p:nvPr>
        </p:nvSpPr>
        <p:spPr/>
        <p:txBody>
          <a:bodyPr/>
          <a:lstStyle/>
          <a:p>
            <a:r>
              <a:rPr lang="fr-FR" sz="4000" dirty="0"/>
              <a:t>03</a:t>
            </a:r>
          </a:p>
        </p:txBody>
      </p:sp>
      <p:sp>
        <p:nvSpPr>
          <p:cNvPr id="9" name="Espace réservé du texte 8"/>
          <p:cNvSpPr>
            <a:spLocks noGrp="1"/>
          </p:cNvSpPr>
          <p:nvPr>
            <p:ph type="body" sz="quarter" idx="17"/>
          </p:nvPr>
        </p:nvSpPr>
        <p:spPr/>
        <p:txBody>
          <a:bodyPr/>
          <a:lstStyle/>
          <a:p>
            <a:r>
              <a:rPr lang="fr-FR" dirty="0"/>
              <a:t>Le </a:t>
            </a:r>
            <a:r>
              <a:rPr lang="fr-FR" dirty="0" err="1"/>
              <a:t>framework</a:t>
            </a:r>
            <a:r>
              <a:rPr lang="fr-FR" dirty="0"/>
              <a:t> </a:t>
            </a:r>
            <a:r>
              <a:rPr lang="fr-FR" dirty="0" err="1"/>
              <a:t>SAFe</a:t>
            </a:r>
            <a:r>
              <a:rPr lang="fr-FR" dirty="0"/>
              <a:t> au global : valeurs et principes</a:t>
            </a:r>
          </a:p>
        </p:txBody>
      </p:sp>
      <p:sp>
        <p:nvSpPr>
          <p:cNvPr id="10" name="Espace réservé du texte 9"/>
          <p:cNvSpPr>
            <a:spLocks noGrp="1"/>
          </p:cNvSpPr>
          <p:nvPr>
            <p:ph type="body" idx="18"/>
          </p:nvPr>
        </p:nvSpPr>
        <p:spPr/>
        <p:txBody>
          <a:bodyPr/>
          <a:lstStyle/>
          <a:p>
            <a:r>
              <a:rPr lang="fr-FR" sz="4000" dirty="0"/>
              <a:t>04</a:t>
            </a:r>
          </a:p>
        </p:txBody>
      </p:sp>
      <p:sp>
        <p:nvSpPr>
          <p:cNvPr id="11" name="Espace réservé du texte 10"/>
          <p:cNvSpPr>
            <a:spLocks noGrp="1"/>
          </p:cNvSpPr>
          <p:nvPr>
            <p:ph type="body" sz="quarter" idx="19"/>
          </p:nvPr>
        </p:nvSpPr>
        <p:spPr/>
        <p:txBody>
          <a:bodyPr/>
          <a:lstStyle/>
          <a:p>
            <a:r>
              <a:rPr lang="fr-FR" dirty="0"/>
              <a:t>Le </a:t>
            </a:r>
            <a:r>
              <a:rPr lang="fr-FR" dirty="0" err="1"/>
              <a:t>framework</a:t>
            </a:r>
            <a:r>
              <a:rPr lang="fr-FR" dirty="0"/>
              <a:t> </a:t>
            </a:r>
            <a:r>
              <a:rPr lang="fr-FR" dirty="0" err="1"/>
              <a:t>SAFe</a:t>
            </a:r>
            <a:r>
              <a:rPr lang="fr-FR" dirty="0"/>
              <a:t> en détail : rôles, artefacts, PI Planning et autres cérémonies</a:t>
            </a:r>
          </a:p>
        </p:txBody>
      </p:sp>
      <p:sp>
        <p:nvSpPr>
          <p:cNvPr id="16" name="Titre 15"/>
          <p:cNvSpPr>
            <a:spLocks noGrp="1"/>
          </p:cNvSpPr>
          <p:nvPr>
            <p:ph type="title"/>
          </p:nvPr>
        </p:nvSpPr>
        <p:spPr/>
        <p:txBody>
          <a:bodyPr/>
          <a:lstStyle/>
          <a:p>
            <a:r>
              <a:rPr lang="fr-FR" dirty="0"/>
              <a:t>Sommaire</a:t>
            </a:r>
          </a:p>
        </p:txBody>
      </p:sp>
    </p:spTree>
    <p:extLst>
      <p:ext uri="{BB962C8B-B14F-4D97-AF65-F5344CB8AC3E}">
        <p14:creationId xmlns:p14="http://schemas.microsoft.com/office/powerpoint/2010/main" val="1323132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20</a:t>
            </a:fld>
            <a:endParaRPr lang="fr-FR" dirty="0"/>
          </a:p>
        </p:txBody>
      </p:sp>
      <p:sp>
        <p:nvSpPr>
          <p:cNvPr id="5" name="Espace réservé du texte 4"/>
          <p:cNvSpPr>
            <a:spLocks noGrp="1"/>
          </p:cNvSpPr>
          <p:nvPr>
            <p:ph type="body" idx="1"/>
          </p:nvPr>
        </p:nvSpPr>
        <p:spPr/>
        <p:txBody>
          <a:bodyPr/>
          <a:lstStyle/>
          <a:p>
            <a:r>
              <a:rPr lang="fr-FR" dirty="0"/>
              <a:t>Les 10 principes</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au global</a:t>
            </a:r>
          </a:p>
        </p:txBody>
      </p:sp>
      <p:sp>
        <p:nvSpPr>
          <p:cNvPr id="8" name="Espace réservé du texte 7">
            <a:extLst>
              <a:ext uri="{FF2B5EF4-FFF2-40B4-BE49-F238E27FC236}">
                <a16:creationId xmlns:a16="http://schemas.microsoft.com/office/drawing/2014/main" id="{52B1F984-09E9-4D55-A6D9-ACAFCA6223DF}"/>
              </a:ext>
            </a:extLst>
          </p:cNvPr>
          <p:cNvSpPr>
            <a:spLocks noGrp="1"/>
          </p:cNvSpPr>
          <p:nvPr>
            <p:ph type="body" sz="quarter" idx="13"/>
          </p:nvPr>
        </p:nvSpPr>
        <p:spPr>
          <a:xfrm>
            <a:off x="719136" y="1487760"/>
            <a:ext cx="8320361" cy="4389120"/>
          </a:xfrm>
        </p:spPr>
        <p:txBody>
          <a:bodyPr/>
          <a:lstStyle/>
          <a:p>
            <a:r>
              <a:rPr lang="fr-FR" dirty="0"/>
              <a:t>#9 Décentraliser la prise de décision</a:t>
            </a:r>
          </a:p>
          <a:p>
            <a:pPr lvl="1"/>
            <a:r>
              <a:rPr lang="fr-FR" dirty="0"/>
              <a:t>Les décisions fréquentes, critiques dans le temps ou nécessitant des informations locales doivent être prises par les équipes</a:t>
            </a:r>
          </a:p>
          <a:p>
            <a:pPr lvl="1"/>
            <a:endParaRPr lang="fr-FR" dirty="0"/>
          </a:p>
          <a:p>
            <a:r>
              <a:rPr lang="fr-FR" dirty="0"/>
              <a:t>#10 S’organiser autour de la valeur</a:t>
            </a:r>
          </a:p>
          <a:p>
            <a:pPr lvl="1"/>
            <a:r>
              <a:rPr lang="fr-FR" dirty="0"/>
              <a:t>Les équipes doivent êtres conçues pour délivrer de la valeur et non pour travailler en silos</a:t>
            </a:r>
          </a:p>
        </p:txBody>
      </p:sp>
      <p:sp>
        <p:nvSpPr>
          <p:cNvPr id="11" name="Rectangle 10">
            <a:extLst>
              <a:ext uri="{FF2B5EF4-FFF2-40B4-BE49-F238E27FC236}">
                <a16:creationId xmlns:a16="http://schemas.microsoft.com/office/drawing/2014/main" id="{BB7C7135-74A2-4CEB-A7D5-5F5C8F7F3E25}"/>
              </a:ext>
            </a:extLst>
          </p:cNvPr>
          <p:cNvSpPr/>
          <p:nvPr/>
        </p:nvSpPr>
        <p:spPr>
          <a:xfrm>
            <a:off x="9134212" y="628185"/>
            <a:ext cx="2928552" cy="144016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dirty="0" err="1"/>
              <a:t>Décentraliser</a:t>
            </a:r>
            <a:r>
              <a:rPr lang="en-US" sz="1400" dirty="0"/>
              <a:t> la </a:t>
            </a:r>
            <a:r>
              <a:rPr lang="en-US" sz="1400" dirty="0" err="1"/>
              <a:t>prise</a:t>
            </a:r>
            <a:r>
              <a:rPr lang="en-US" sz="1400" dirty="0"/>
              <a:t> de </a:t>
            </a:r>
            <a:r>
              <a:rPr lang="en-US" sz="1400" dirty="0" err="1"/>
              <a:t>décision</a:t>
            </a:r>
            <a:endParaRPr lang="en-US" sz="1400" dirty="0"/>
          </a:p>
          <a:p>
            <a:pPr algn="ctr"/>
            <a:r>
              <a:rPr lang="en-US" sz="1400" dirty="0">
                <a:solidFill>
                  <a:schemeClr val="accent1"/>
                </a:solidFill>
              </a:rPr>
              <a:t>- - -</a:t>
            </a:r>
          </a:p>
          <a:p>
            <a:pPr algn="ctr"/>
            <a:r>
              <a:rPr lang="en-US" sz="1400" dirty="0"/>
              <a:t>Decentralizing decision making in nuclear submarine command</a:t>
            </a:r>
            <a:r>
              <a:rPr lang="fr-FR" sz="1400" dirty="0"/>
              <a:t> </a:t>
            </a:r>
            <a:r>
              <a:rPr lang="en-US" sz="1400" dirty="0">
                <a:hlinkClick r:id="rId2"/>
              </a:rPr>
              <a:t>https://youtu.be/OqmdLcyES_Q</a:t>
            </a:r>
            <a:endParaRPr lang="en-US" sz="1400" dirty="0"/>
          </a:p>
        </p:txBody>
      </p:sp>
      <p:pic>
        <p:nvPicPr>
          <p:cNvPr id="12" name="Picture 4" descr="RÃ©sultat de recherche d'images pour &quot;icone video&quot;">
            <a:extLst>
              <a:ext uri="{FF2B5EF4-FFF2-40B4-BE49-F238E27FC236}">
                <a16:creationId xmlns:a16="http://schemas.microsoft.com/office/drawing/2014/main" id="{417AEDAF-F52F-44D9-80B9-AF684AF5E1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23260" y="385895"/>
            <a:ext cx="723284" cy="504792"/>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8">
            <a:extLst>
              <a:ext uri="{FF2B5EF4-FFF2-40B4-BE49-F238E27FC236}">
                <a16:creationId xmlns:a16="http://schemas.microsoft.com/office/drawing/2014/main" id="{E3607D81-5632-444C-8D2D-25A6FDAA2F80}"/>
              </a:ext>
            </a:extLst>
          </p:cNvPr>
          <p:cNvPicPr>
            <a:picLocks noChangeAspect="1"/>
          </p:cNvPicPr>
          <p:nvPr/>
        </p:nvPicPr>
        <p:blipFill>
          <a:blip r:embed="rId4"/>
          <a:stretch>
            <a:fillRect/>
          </a:stretch>
        </p:blipFill>
        <p:spPr>
          <a:xfrm>
            <a:off x="3574143" y="3700317"/>
            <a:ext cx="4261069" cy="2406774"/>
          </a:xfrm>
          <a:prstGeom prst="rect">
            <a:avLst/>
          </a:prstGeom>
        </p:spPr>
      </p:pic>
    </p:spTree>
    <p:extLst>
      <p:ext uri="{BB962C8B-B14F-4D97-AF65-F5344CB8AC3E}">
        <p14:creationId xmlns:p14="http://schemas.microsoft.com/office/powerpoint/2010/main" val="25936875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21</a:t>
            </a:fld>
            <a:endParaRPr lang="fr-FR" dirty="0"/>
          </a:p>
        </p:txBody>
      </p:sp>
      <p:sp>
        <p:nvSpPr>
          <p:cNvPr id="5" name="Espace réservé du texte 4"/>
          <p:cNvSpPr>
            <a:spLocks noGrp="1"/>
          </p:cNvSpPr>
          <p:nvPr>
            <p:ph type="body" idx="1"/>
          </p:nvPr>
        </p:nvSpPr>
        <p:spPr/>
        <p:txBody>
          <a:bodyPr/>
          <a:lstStyle/>
          <a:p>
            <a:r>
              <a:rPr lang="fr-FR" dirty="0"/>
              <a:t>La Big Picture</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au global</a:t>
            </a:r>
          </a:p>
        </p:txBody>
      </p:sp>
      <p:sp>
        <p:nvSpPr>
          <p:cNvPr id="7" name="Espace réservé du texte 6">
            <a:extLst>
              <a:ext uri="{FF2B5EF4-FFF2-40B4-BE49-F238E27FC236}">
                <a16:creationId xmlns:a16="http://schemas.microsoft.com/office/drawing/2014/main" id="{F7460B39-0051-432C-8587-28B99120ABB5}"/>
              </a:ext>
            </a:extLst>
          </p:cNvPr>
          <p:cNvSpPr>
            <a:spLocks noGrp="1"/>
          </p:cNvSpPr>
          <p:nvPr>
            <p:ph type="body" sz="quarter" idx="13"/>
          </p:nvPr>
        </p:nvSpPr>
        <p:spPr>
          <a:xfrm>
            <a:off x="719136" y="1584725"/>
            <a:ext cx="4398148" cy="4389120"/>
          </a:xfrm>
        </p:spPr>
        <p:txBody>
          <a:bodyPr/>
          <a:lstStyle/>
          <a:p>
            <a:r>
              <a:rPr lang="fr-FR" b="1" dirty="0">
                <a:solidFill>
                  <a:schemeClr val="accent1"/>
                </a:solidFill>
              </a:rPr>
              <a:t>Accessible librement</a:t>
            </a:r>
            <a:r>
              <a:rPr lang="fr-FR" dirty="0"/>
              <a:t> sur : </a:t>
            </a:r>
            <a:r>
              <a:rPr lang="fr-FR" dirty="0">
                <a:hlinkClick r:id="rId2"/>
              </a:rPr>
              <a:t>https://www.scaledagileframework.com/</a:t>
            </a:r>
            <a:endParaRPr lang="fr-FR" dirty="0"/>
          </a:p>
          <a:p>
            <a:endParaRPr lang="fr-FR" dirty="0"/>
          </a:p>
          <a:p>
            <a:r>
              <a:rPr lang="fr-FR" dirty="0"/>
              <a:t>Chaque élément est cliquable et renvoie sur </a:t>
            </a:r>
            <a:r>
              <a:rPr lang="fr-FR" b="1" dirty="0">
                <a:solidFill>
                  <a:schemeClr val="accent1"/>
                </a:solidFill>
              </a:rPr>
              <a:t>un article bien détaillé</a:t>
            </a:r>
            <a:r>
              <a:rPr lang="fr-FR" dirty="0"/>
              <a:t> de 2 à 3 pages</a:t>
            </a:r>
          </a:p>
          <a:p>
            <a:endParaRPr lang="fr-FR" dirty="0"/>
          </a:p>
          <a:p>
            <a:r>
              <a:rPr lang="fr-FR" dirty="0"/>
              <a:t>Informations très pertinentes, un site particulièrement efficace </a:t>
            </a:r>
          </a:p>
          <a:p>
            <a:endParaRPr lang="fr-FR" dirty="0"/>
          </a:p>
          <a:p>
            <a:r>
              <a:rPr lang="fr-FR" dirty="0"/>
              <a:t>Un </a:t>
            </a:r>
            <a:r>
              <a:rPr lang="fr-FR" b="1" dirty="0">
                <a:solidFill>
                  <a:schemeClr val="accent1"/>
                </a:solidFill>
              </a:rPr>
              <a:t>glossaire </a:t>
            </a:r>
            <a:r>
              <a:rPr lang="fr-FR" dirty="0"/>
              <a:t>et une recherche sont aussi présents</a:t>
            </a:r>
          </a:p>
          <a:p>
            <a:pPr marL="0" indent="0">
              <a:buNone/>
            </a:pPr>
            <a:endParaRPr lang="fr-FR" dirty="0"/>
          </a:p>
        </p:txBody>
      </p:sp>
      <p:pic>
        <p:nvPicPr>
          <p:cNvPr id="8" name="Image 7">
            <a:extLst>
              <a:ext uri="{FF2B5EF4-FFF2-40B4-BE49-F238E27FC236}">
                <a16:creationId xmlns:a16="http://schemas.microsoft.com/office/drawing/2014/main" id="{154D400A-B2FC-499F-9A6F-8B79009CDF86}"/>
              </a:ext>
            </a:extLst>
          </p:cNvPr>
          <p:cNvPicPr>
            <a:picLocks noChangeAspect="1"/>
          </p:cNvPicPr>
          <p:nvPr/>
        </p:nvPicPr>
        <p:blipFill>
          <a:blip r:embed="rId3"/>
          <a:stretch>
            <a:fillRect/>
          </a:stretch>
        </p:blipFill>
        <p:spPr>
          <a:xfrm>
            <a:off x="5403475" y="966480"/>
            <a:ext cx="6686894" cy="5702593"/>
          </a:xfrm>
          <a:prstGeom prst="rect">
            <a:avLst/>
          </a:prstGeom>
        </p:spPr>
      </p:pic>
    </p:spTree>
    <p:extLst>
      <p:ext uri="{BB962C8B-B14F-4D97-AF65-F5344CB8AC3E}">
        <p14:creationId xmlns:p14="http://schemas.microsoft.com/office/powerpoint/2010/main" val="26149263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DAF23-3952-4BE0-A904-35EE3DCB179D}"/>
              </a:ext>
            </a:extLst>
          </p:cNvPr>
          <p:cNvSpPr>
            <a:spLocks noGrp="1"/>
          </p:cNvSpPr>
          <p:nvPr>
            <p:ph type="title"/>
          </p:nvPr>
        </p:nvSpPr>
        <p:spPr/>
        <p:txBody>
          <a:bodyPr/>
          <a:lstStyle/>
          <a:p>
            <a:r>
              <a:rPr lang="fr-FR" dirty="0"/>
              <a:t>04</a:t>
            </a:r>
          </a:p>
        </p:txBody>
      </p:sp>
      <p:sp>
        <p:nvSpPr>
          <p:cNvPr id="3" name="Espace réservé du texte 2">
            <a:extLst>
              <a:ext uri="{FF2B5EF4-FFF2-40B4-BE49-F238E27FC236}">
                <a16:creationId xmlns:a16="http://schemas.microsoft.com/office/drawing/2014/main" id="{31DFA70B-34D4-4D7E-8D44-380743E2A699}"/>
              </a:ext>
            </a:extLst>
          </p:cNvPr>
          <p:cNvSpPr>
            <a:spLocks noGrp="1"/>
          </p:cNvSpPr>
          <p:nvPr>
            <p:ph type="body" idx="1"/>
          </p:nvPr>
        </p:nvSpPr>
        <p:spPr/>
        <p:txBody>
          <a:bodyPr/>
          <a:lstStyle/>
          <a:p>
            <a:r>
              <a:rPr lang="fr-FR" dirty="0"/>
              <a:t>Le </a:t>
            </a:r>
            <a:r>
              <a:rPr lang="fr-FR" dirty="0" err="1"/>
              <a:t>framework</a:t>
            </a:r>
            <a:r>
              <a:rPr lang="fr-FR" dirty="0"/>
              <a:t> </a:t>
            </a:r>
            <a:r>
              <a:rPr lang="fr-FR" dirty="0" err="1"/>
              <a:t>SAFe</a:t>
            </a:r>
            <a:r>
              <a:rPr lang="fr-FR" dirty="0"/>
              <a:t> en détail</a:t>
            </a:r>
          </a:p>
        </p:txBody>
      </p:sp>
      <p:sp>
        <p:nvSpPr>
          <p:cNvPr id="5" name="Espace réservé du pied de page 4">
            <a:extLst>
              <a:ext uri="{FF2B5EF4-FFF2-40B4-BE49-F238E27FC236}">
                <a16:creationId xmlns:a16="http://schemas.microsoft.com/office/drawing/2014/main" id="{4E1CBC23-8D70-4C88-A770-98AE06365994}"/>
              </a:ext>
            </a:extLst>
          </p:cNvPr>
          <p:cNvSpPr>
            <a:spLocks noGrp="1"/>
          </p:cNvSpPr>
          <p:nvPr>
            <p:ph type="ftr" sz="quarter" idx="11"/>
          </p:nvPr>
        </p:nvSpPr>
        <p:spPr/>
        <p:txBody>
          <a:bodyPr/>
          <a:lstStyle/>
          <a:p>
            <a:r>
              <a:rPr lang="fr-FR"/>
              <a:t>Initiation à la méthode SAFe</a:t>
            </a:r>
            <a:endParaRPr lang="fr-FR" dirty="0"/>
          </a:p>
        </p:txBody>
      </p:sp>
      <p:sp>
        <p:nvSpPr>
          <p:cNvPr id="6" name="Espace réservé du numéro de diapositive 5">
            <a:extLst>
              <a:ext uri="{FF2B5EF4-FFF2-40B4-BE49-F238E27FC236}">
                <a16:creationId xmlns:a16="http://schemas.microsoft.com/office/drawing/2014/main" id="{69FC4F4B-DC3B-4D1B-AF91-A0BBB7F340D9}"/>
              </a:ext>
            </a:extLst>
          </p:cNvPr>
          <p:cNvSpPr>
            <a:spLocks noGrp="1"/>
          </p:cNvSpPr>
          <p:nvPr>
            <p:ph type="sldNum" sz="quarter" idx="12"/>
          </p:nvPr>
        </p:nvSpPr>
        <p:spPr/>
        <p:txBody>
          <a:bodyPr/>
          <a:lstStyle/>
          <a:p>
            <a:pPr lvl="0"/>
            <a:fld id="{975A587B-5814-4D9B-9598-FE9CB954CB01}" type="slidenum">
              <a:rPr lang="fr-FR" smtClean="0"/>
              <a:pPr lvl="0"/>
              <a:t>22</a:t>
            </a:fld>
            <a:endParaRPr lang="fr-FR" dirty="0"/>
          </a:p>
        </p:txBody>
      </p:sp>
    </p:spTree>
    <p:extLst>
      <p:ext uri="{BB962C8B-B14F-4D97-AF65-F5344CB8AC3E}">
        <p14:creationId xmlns:p14="http://schemas.microsoft.com/office/powerpoint/2010/main" val="1973585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23</a:t>
            </a:fld>
            <a:endParaRPr lang="fr-FR" dirty="0"/>
          </a:p>
        </p:txBody>
      </p:sp>
      <p:sp>
        <p:nvSpPr>
          <p:cNvPr id="5" name="Espace réservé du texte 4"/>
          <p:cNvSpPr>
            <a:spLocks noGrp="1"/>
          </p:cNvSpPr>
          <p:nvPr>
            <p:ph type="body" idx="1"/>
          </p:nvPr>
        </p:nvSpPr>
        <p:spPr/>
        <p:txBody>
          <a:bodyPr/>
          <a:lstStyle/>
          <a:p>
            <a:r>
              <a:rPr lang="fr-FR" dirty="0"/>
              <a:t>Focus sur la configuration « Essentiel </a:t>
            </a:r>
            <a:r>
              <a:rPr lang="fr-FR" dirty="0" err="1"/>
              <a:t>SAFe</a:t>
            </a:r>
            <a:r>
              <a:rPr lang="fr-FR" dirty="0"/>
              <a:t> »</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pic>
        <p:nvPicPr>
          <p:cNvPr id="11" name="Image 10">
            <a:extLst>
              <a:ext uri="{FF2B5EF4-FFF2-40B4-BE49-F238E27FC236}">
                <a16:creationId xmlns:a16="http://schemas.microsoft.com/office/drawing/2014/main" id="{056E0720-9A5E-4903-A118-46AF878334EC}"/>
              </a:ext>
            </a:extLst>
          </p:cNvPr>
          <p:cNvPicPr>
            <a:picLocks noChangeAspect="1"/>
          </p:cNvPicPr>
          <p:nvPr/>
        </p:nvPicPr>
        <p:blipFill>
          <a:blip r:embed="rId2"/>
          <a:stretch>
            <a:fillRect/>
          </a:stretch>
        </p:blipFill>
        <p:spPr>
          <a:xfrm>
            <a:off x="4208193" y="1403826"/>
            <a:ext cx="8062387" cy="5454174"/>
          </a:xfrm>
          <a:prstGeom prst="rect">
            <a:avLst/>
          </a:prstGeom>
        </p:spPr>
      </p:pic>
      <p:sp>
        <p:nvSpPr>
          <p:cNvPr id="12" name="Rectangle 11">
            <a:extLst>
              <a:ext uri="{FF2B5EF4-FFF2-40B4-BE49-F238E27FC236}">
                <a16:creationId xmlns:a16="http://schemas.microsoft.com/office/drawing/2014/main" id="{893FC555-D6DE-41FE-A18D-9E5BA8CE888F}"/>
              </a:ext>
            </a:extLst>
          </p:cNvPr>
          <p:cNvSpPr/>
          <p:nvPr/>
        </p:nvSpPr>
        <p:spPr>
          <a:xfrm>
            <a:off x="4345497" y="4060272"/>
            <a:ext cx="7846502" cy="2592198"/>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a:solidFill>
                <a:schemeClr val="bg1"/>
              </a:solidFill>
            </a:endParaRPr>
          </a:p>
        </p:txBody>
      </p:sp>
      <p:sp>
        <p:nvSpPr>
          <p:cNvPr id="13" name="Flèche : droite 12">
            <a:extLst>
              <a:ext uri="{FF2B5EF4-FFF2-40B4-BE49-F238E27FC236}">
                <a16:creationId xmlns:a16="http://schemas.microsoft.com/office/drawing/2014/main" id="{857AB3CA-DB25-42AD-880C-158C30802D3C}"/>
              </a:ext>
            </a:extLst>
          </p:cNvPr>
          <p:cNvSpPr/>
          <p:nvPr/>
        </p:nvSpPr>
        <p:spPr>
          <a:xfrm>
            <a:off x="210815" y="4918651"/>
            <a:ext cx="4075959" cy="955499"/>
          </a:xfrm>
          <a:prstGeom prst="rightArrow">
            <a:avLst/>
          </a:prstGeom>
          <a:no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600" dirty="0">
                <a:solidFill>
                  <a:schemeClr val="tx1"/>
                </a:solidFill>
              </a:rPr>
              <a:t>Essential </a:t>
            </a:r>
            <a:r>
              <a:rPr lang="fr-FR" sz="1600" dirty="0" err="1">
                <a:solidFill>
                  <a:schemeClr val="tx1"/>
                </a:solidFill>
              </a:rPr>
              <a:t>SAFe</a:t>
            </a:r>
            <a:r>
              <a:rPr lang="fr-FR" sz="1600" dirty="0">
                <a:solidFill>
                  <a:schemeClr val="tx1"/>
                </a:solidFill>
              </a:rPr>
              <a:t> (Equipes de développement et vision programme)</a:t>
            </a:r>
          </a:p>
        </p:txBody>
      </p:sp>
      <p:sp>
        <p:nvSpPr>
          <p:cNvPr id="15" name="Flèche : droite 14">
            <a:extLst>
              <a:ext uri="{FF2B5EF4-FFF2-40B4-BE49-F238E27FC236}">
                <a16:creationId xmlns:a16="http://schemas.microsoft.com/office/drawing/2014/main" id="{F347DF5A-A655-4CEB-AD8B-D009F7074195}"/>
              </a:ext>
            </a:extLst>
          </p:cNvPr>
          <p:cNvSpPr/>
          <p:nvPr/>
        </p:nvSpPr>
        <p:spPr>
          <a:xfrm>
            <a:off x="210815" y="3266960"/>
            <a:ext cx="4075959" cy="955499"/>
          </a:xfrm>
          <a:prstGeom prst="rightArrow">
            <a:avLst/>
          </a:prstGeom>
          <a:no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600" dirty="0">
                <a:solidFill>
                  <a:schemeClr val="tx1"/>
                </a:solidFill>
              </a:rPr>
              <a:t>Large Solution (synchronisation de plusieurs trains)</a:t>
            </a:r>
          </a:p>
        </p:txBody>
      </p:sp>
      <p:sp>
        <p:nvSpPr>
          <p:cNvPr id="16" name="Flèche : droite 15">
            <a:extLst>
              <a:ext uri="{FF2B5EF4-FFF2-40B4-BE49-F238E27FC236}">
                <a16:creationId xmlns:a16="http://schemas.microsoft.com/office/drawing/2014/main" id="{43D0A686-C616-4710-9FB8-70E2F9BDCC56}"/>
              </a:ext>
            </a:extLst>
          </p:cNvPr>
          <p:cNvSpPr/>
          <p:nvPr/>
        </p:nvSpPr>
        <p:spPr>
          <a:xfrm>
            <a:off x="210815" y="2248755"/>
            <a:ext cx="4075959" cy="955499"/>
          </a:xfrm>
          <a:prstGeom prst="rightArrow">
            <a:avLst/>
          </a:prstGeom>
          <a:no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600" dirty="0">
                <a:solidFill>
                  <a:schemeClr val="tx1"/>
                </a:solidFill>
              </a:rPr>
              <a:t>Portfolio (vision stratégique de l’entreprise)</a:t>
            </a:r>
          </a:p>
        </p:txBody>
      </p:sp>
    </p:spTree>
    <p:extLst>
      <p:ext uri="{BB962C8B-B14F-4D97-AF65-F5344CB8AC3E}">
        <p14:creationId xmlns:p14="http://schemas.microsoft.com/office/powerpoint/2010/main" val="7651155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24</a:t>
            </a:fld>
            <a:endParaRPr lang="fr-FR" dirty="0"/>
          </a:p>
        </p:txBody>
      </p:sp>
      <p:sp>
        <p:nvSpPr>
          <p:cNvPr id="5" name="Espace réservé du texte 4"/>
          <p:cNvSpPr>
            <a:spLocks noGrp="1"/>
          </p:cNvSpPr>
          <p:nvPr>
            <p:ph type="body" idx="1"/>
          </p:nvPr>
        </p:nvSpPr>
        <p:spPr/>
        <p:txBody>
          <a:bodyPr/>
          <a:lstStyle/>
          <a:p>
            <a:r>
              <a:rPr lang="fr-FR" dirty="0"/>
              <a:t>Focus sur la configuration « Essentiel </a:t>
            </a:r>
            <a:r>
              <a:rPr lang="fr-FR" dirty="0" err="1"/>
              <a:t>SAFe</a:t>
            </a:r>
            <a:r>
              <a:rPr lang="fr-FR" dirty="0"/>
              <a:t> »</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sp>
        <p:nvSpPr>
          <p:cNvPr id="8" name="Espace réservé du texte 7">
            <a:extLst>
              <a:ext uri="{FF2B5EF4-FFF2-40B4-BE49-F238E27FC236}">
                <a16:creationId xmlns:a16="http://schemas.microsoft.com/office/drawing/2014/main" id="{0A1148F1-4D21-461F-A1D3-0ACB30FCFCC9}"/>
              </a:ext>
            </a:extLst>
          </p:cNvPr>
          <p:cNvSpPr>
            <a:spLocks noGrp="1"/>
          </p:cNvSpPr>
          <p:nvPr>
            <p:ph type="body" sz="quarter" idx="13"/>
          </p:nvPr>
        </p:nvSpPr>
        <p:spPr/>
        <p:txBody>
          <a:bodyPr/>
          <a:lstStyle/>
          <a:p>
            <a:endParaRPr lang="fr-FR" dirty="0"/>
          </a:p>
        </p:txBody>
      </p:sp>
      <p:pic>
        <p:nvPicPr>
          <p:cNvPr id="10" name="Image 9">
            <a:extLst>
              <a:ext uri="{FF2B5EF4-FFF2-40B4-BE49-F238E27FC236}">
                <a16:creationId xmlns:a16="http://schemas.microsoft.com/office/drawing/2014/main" id="{15C64D6A-376B-4A27-8746-F40E5FBF79F2}"/>
              </a:ext>
            </a:extLst>
          </p:cNvPr>
          <p:cNvPicPr>
            <a:picLocks noChangeAspect="1"/>
          </p:cNvPicPr>
          <p:nvPr/>
        </p:nvPicPr>
        <p:blipFill>
          <a:blip r:embed="rId2"/>
          <a:stretch>
            <a:fillRect/>
          </a:stretch>
        </p:blipFill>
        <p:spPr>
          <a:xfrm>
            <a:off x="205608" y="1544323"/>
            <a:ext cx="11705523" cy="4792980"/>
          </a:xfrm>
          <a:prstGeom prst="rect">
            <a:avLst/>
          </a:prstGeom>
        </p:spPr>
      </p:pic>
      <p:sp>
        <p:nvSpPr>
          <p:cNvPr id="17" name="Ellipse 16">
            <a:extLst>
              <a:ext uri="{FF2B5EF4-FFF2-40B4-BE49-F238E27FC236}">
                <a16:creationId xmlns:a16="http://schemas.microsoft.com/office/drawing/2014/main" id="{B80E440D-43C6-4A51-8DE1-9D5F55D024E6}"/>
              </a:ext>
            </a:extLst>
          </p:cNvPr>
          <p:cNvSpPr/>
          <p:nvPr/>
        </p:nvSpPr>
        <p:spPr>
          <a:xfrm>
            <a:off x="1971413" y="4081474"/>
            <a:ext cx="1325460" cy="1318589"/>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a:solidFill>
                <a:schemeClr val="bg1"/>
              </a:solidFill>
            </a:endParaRPr>
          </a:p>
        </p:txBody>
      </p:sp>
      <p:sp>
        <p:nvSpPr>
          <p:cNvPr id="18" name="Ellipse 17">
            <a:extLst>
              <a:ext uri="{FF2B5EF4-FFF2-40B4-BE49-F238E27FC236}">
                <a16:creationId xmlns:a16="http://schemas.microsoft.com/office/drawing/2014/main" id="{767081CD-0CA0-427B-AC87-6C0B7A7B93E7}"/>
              </a:ext>
            </a:extLst>
          </p:cNvPr>
          <p:cNvSpPr/>
          <p:nvPr/>
        </p:nvSpPr>
        <p:spPr>
          <a:xfrm>
            <a:off x="5043182" y="2121365"/>
            <a:ext cx="1266737" cy="1233182"/>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a:solidFill>
                <a:schemeClr val="bg1"/>
              </a:solidFill>
            </a:endParaRPr>
          </a:p>
        </p:txBody>
      </p:sp>
      <p:sp>
        <p:nvSpPr>
          <p:cNvPr id="19" name="Ellipse 18">
            <a:extLst>
              <a:ext uri="{FF2B5EF4-FFF2-40B4-BE49-F238E27FC236}">
                <a16:creationId xmlns:a16="http://schemas.microsoft.com/office/drawing/2014/main" id="{F88A3D51-CFAA-4873-84F4-08A4C435683B}"/>
              </a:ext>
            </a:extLst>
          </p:cNvPr>
          <p:cNvSpPr/>
          <p:nvPr/>
        </p:nvSpPr>
        <p:spPr>
          <a:xfrm>
            <a:off x="5043181" y="3429000"/>
            <a:ext cx="1266737" cy="1233182"/>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a:solidFill>
                <a:schemeClr val="bg1"/>
              </a:solidFill>
            </a:endParaRPr>
          </a:p>
        </p:txBody>
      </p:sp>
      <p:sp>
        <p:nvSpPr>
          <p:cNvPr id="20" name="Ellipse 19">
            <a:extLst>
              <a:ext uri="{FF2B5EF4-FFF2-40B4-BE49-F238E27FC236}">
                <a16:creationId xmlns:a16="http://schemas.microsoft.com/office/drawing/2014/main" id="{B1087206-7D71-4A1A-A273-D554CED42D8E}"/>
              </a:ext>
            </a:extLst>
          </p:cNvPr>
          <p:cNvSpPr/>
          <p:nvPr/>
        </p:nvSpPr>
        <p:spPr>
          <a:xfrm>
            <a:off x="2341927" y="4783472"/>
            <a:ext cx="577441" cy="616591"/>
          </a:xfrm>
          <a:prstGeom prst="ellipse">
            <a:avLst/>
          </a:prstGeom>
          <a:no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a:solidFill>
                <a:schemeClr val="bg1"/>
              </a:solidFill>
            </a:endParaRPr>
          </a:p>
        </p:txBody>
      </p:sp>
      <p:sp>
        <p:nvSpPr>
          <p:cNvPr id="21" name="Ellipse 20">
            <a:extLst>
              <a:ext uri="{FF2B5EF4-FFF2-40B4-BE49-F238E27FC236}">
                <a16:creationId xmlns:a16="http://schemas.microsoft.com/office/drawing/2014/main" id="{09A00D2F-8747-4D5F-BF50-C8E0903902D3}"/>
              </a:ext>
            </a:extLst>
          </p:cNvPr>
          <p:cNvSpPr/>
          <p:nvPr/>
        </p:nvSpPr>
        <p:spPr>
          <a:xfrm>
            <a:off x="2341926" y="3354546"/>
            <a:ext cx="577441" cy="584993"/>
          </a:xfrm>
          <a:prstGeom prst="ellipse">
            <a:avLst/>
          </a:prstGeom>
          <a:no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a:solidFill>
                <a:schemeClr val="bg1"/>
              </a:solidFill>
            </a:endParaRPr>
          </a:p>
        </p:txBody>
      </p:sp>
      <p:sp>
        <p:nvSpPr>
          <p:cNvPr id="22" name="Ellipse 21">
            <a:extLst>
              <a:ext uri="{FF2B5EF4-FFF2-40B4-BE49-F238E27FC236}">
                <a16:creationId xmlns:a16="http://schemas.microsoft.com/office/drawing/2014/main" id="{91F488C7-2557-4C26-8699-26DEDA7934EB}"/>
              </a:ext>
            </a:extLst>
          </p:cNvPr>
          <p:cNvSpPr/>
          <p:nvPr/>
        </p:nvSpPr>
        <p:spPr>
          <a:xfrm>
            <a:off x="2712441" y="4316658"/>
            <a:ext cx="577441" cy="616590"/>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a:solidFill>
                <a:schemeClr val="bg1"/>
              </a:solidFill>
            </a:endParaRPr>
          </a:p>
        </p:txBody>
      </p:sp>
      <p:sp>
        <p:nvSpPr>
          <p:cNvPr id="23" name="Ellipse 22">
            <a:extLst>
              <a:ext uri="{FF2B5EF4-FFF2-40B4-BE49-F238E27FC236}">
                <a16:creationId xmlns:a16="http://schemas.microsoft.com/office/drawing/2014/main" id="{730E3627-EBB0-4E9A-AC3B-29CE2129A9C1}"/>
              </a:ext>
            </a:extLst>
          </p:cNvPr>
          <p:cNvSpPr/>
          <p:nvPr/>
        </p:nvSpPr>
        <p:spPr>
          <a:xfrm>
            <a:off x="1983230" y="4316658"/>
            <a:ext cx="577441" cy="616590"/>
          </a:xfrm>
          <a:prstGeom prst="ellipse">
            <a:avLst/>
          </a:prstGeom>
          <a:no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a:solidFill>
                <a:schemeClr val="bg1"/>
              </a:solidFill>
            </a:endParaRPr>
          </a:p>
        </p:txBody>
      </p:sp>
      <p:sp>
        <p:nvSpPr>
          <p:cNvPr id="24" name="Ellipse 23">
            <a:extLst>
              <a:ext uri="{FF2B5EF4-FFF2-40B4-BE49-F238E27FC236}">
                <a16:creationId xmlns:a16="http://schemas.microsoft.com/office/drawing/2014/main" id="{43D4B492-65E1-40FA-A802-7A3D4DA47B21}"/>
              </a:ext>
            </a:extLst>
          </p:cNvPr>
          <p:cNvSpPr/>
          <p:nvPr/>
        </p:nvSpPr>
        <p:spPr>
          <a:xfrm>
            <a:off x="2630646" y="2843049"/>
            <a:ext cx="577441" cy="616590"/>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a:solidFill>
                <a:schemeClr val="bg1"/>
              </a:solidFill>
            </a:endParaRPr>
          </a:p>
        </p:txBody>
      </p:sp>
      <p:sp>
        <p:nvSpPr>
          <p:cNvPr id="25" name="Ellipse 24">
            <a:extLst>
              <a:ext uri="{FF2B5EF4-FFF2-40B4-BE49-F238E27FC236}">
                <a16:creationId xmlns:a16="http://schemas.microsoft.com/office/drawing/2014/main" id="{39A95869-DC9C-4583-92DF-E8DDB9E4F8B0}"/>
              </a:ext>
            </a:extLst>
          </p:cNvPr>
          <p:cNvSpPr/>
          <p:nvPr/>
        </p:nvSpPr>
        <p:spPr>
          <a:xfrm>
            <a:off x="1971411" y="2843049"/>
            <a:ext cx="659236" cy="616590"/>
          </a:xfrm>
          <a:prstGeom prst="ellipse">
            <a:avLst/>
          </a:prstGeom>
          <a:no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a:solidFill>
                <a:schemeClr val="bg1"/>
              </a:solidFill>
            </a:endParaRPr>
          </a:p>
        </p:txBody>
      </p:sp>
      <p:sp>
        <p:nvSpPr>
          <p:cNvPr id="26" name="Ellipse 25">
            <a:extLst>
              <a:ext uri="{FF2B5EF4-FFF2-40B4-BE49-F238E27FC236}">
                <a16:creationId xmlns:a16="http://schemas.microsoft.com/office/drawing/2014/main" id="{3F7D743F-98F3-42DA-9F5C-3327F26DDAC0}"/>
              </a:ext>
            </a:extLst>
          </p:cNvPr>
          <p:cNvSpPr/>
          <p:nvPr/>
        </p:nvSpPr>
        <p:spPr>
          <a:xfrm>
            <a:off x="1964422" y="2620951"/>
            <a:ext cx="1325460" cy="1318589"/>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a:solidFill>
                <a:schemeClr val="bg1"/>
              </a:solidFill>
            </a:endParaRPr>
          </a:p>
        </p:txBody>
      </p:sp>
    </p:spTree>
    <p:extLst>
      <p:ext uri="{BB962C8B-B14F-4D97-AF65-F5344CB8AC3E}">
        <p14:creationId xmlns:p14="http://schemas.microsoft.com/office/powerpoint/2010/main" val="17327171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25</a:t>
            </a:fld>
            <a:endParaRPr lang="fr-FR" dirty="0"/>
          </a:p>
        </p:txBody>
      </p:sp>
      <p:sp>
        <p:nvSpPr>
          <p:cNvPr id="5" name="Espace réservé du texte 4"/>
          <p:cNvSpPr>
            <a:spLocks noGrp="1"/>
          </p:cNvSpPr>
          <p:nvPr>
            <p:ph type="body" idx="1"/>
          </p:nvPr>
        </p:nvSpPr>
        <p:spPr/>
        <p:txBody>
          <a:bodyPr/>
          <a:lstStyle/>
          <a:p>
            <a:r>
              <a:rPr lang="fr-FR" dirty="0"/>
              <a:t>Les rôles dans la Dev Team</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sp>
        <p:nvSpPr>
          <p:cNvPr id="7" name="Espace réservé du texte 6">
            <a:extLst>
              <a:ext uri="{FF2B5EF4-FFF2-40B4-BE49-F238E27FC236}">
                <a16:creationId xmlns:a16="http://schemas.microsoft.com/office/drawing/2014/main" id="{F7460B39-0051-432C-8587-28B99120ABB5}"/>
              </a:ext>
            </a:extLst>
          </p:cNvPr>
          <p:cNvSpPr>
            <a:spLocks noGrp="1"/>
          </p:cNvSpPr>
          <p:nvPr>
            <p:ph type="body" sz="quarter" idx="13"/>
          </p:nvPr>
        </p:nvSpPr>
        <p:spPr>
          <a:xfrm>
            <a:off x="719136" y="1584725"/>
            <a:ext cx="11000284" cy="4389120"/>
          </a:xfrm>
        </p:spPr>
        <p:txBody>
          <a:bodyPr/>
          <a:lstStyle/>
          <a:p>
            <a:r>
              <a:rPr lang="fr-FR" dirty="0"/>
              <a:t>Une </a:t>
            </a:r>
            <a:r>
              <a:rPr lang="fr-FR" b="1" dirty="0">
                <a:solidFill>
                  <a:schemeClr val="accent1"/>
                </a:solidFill>
              </a:rPr>
              <a:t>équipe Scrum </a:t>
            </a:r>
            <a:r>
              <a:rPr lang="fr-FR" dirty="0"/>
              <a:t>est formée de </a:t>
            </a:r>
            <a:r>
              <a:rPr lang="fr-FR" b="1" dirty="0">
                <a:solidFill>
                  <a:schemeClr val="accent1"/>
                </a:solidFill>
              </a:rPr>
              <a:t>5 à 11 personnes</a:t>
            </a:r>
          </a:p>
          <a:p>
            <a:pPr lvl="1">
              <a:lnSpc>
                <a:spcPct val="300000"/>
              </a:lnSpc>
            </a:pPr>
            <a:r>
              <a:rPr lang="fr-FR" sz="2000" dirty="0"/>
              <a:t>1 </a:t>
            </a:r>
            <a:r>
              <a:rPr lang="fr-FR" sz="2000" b="1" dirty="0">
                <a:solidFill>
                  <a:schemeClr val="accent1"/>
                </a:solidFill>
              </a:rPr>
              <a:t>Product Owner </a:t>
            </a:r>
            <a:r>
              <a:rPr lang="fr-FR" sz="2000" dirty="0"/>
              <a:t>(PO)</a:t>
            </a:r>
          </a:p>
          <a:p>
            <a:pPr lvl="1">
              <a:lnSpc>
                <a:spcPct val="300000"/>
              </a:lnSpc>
            </a:pPr>
            <a:r>
              <a:rPr lang="fr-FR" sz="2000" dirty="0"/>
              <a:t>1 </a:t>
            </a:r>
            <a:r>
              <a:rPr lang="fr-FR" sz="2000" b="1" dirty="0">
                <a:solidFill>
                  <a:schemeClr val="accent1"/>
                </a:solidFill>
              </a:rPr>
              <a:t>Scrum Master </a:t>
            </a:r>
            <a:r>
              <a:rPr lang="fr-FR" sz="2000" dirty="0"/>
              <a:t>(SM)</a:t>
            </a:r>
          </a:p>
          <a:p>
            <a:pPr lvl="1">
              <a:lnSpc>
                <a:spcPct val="300000"/>
              </a:lnSpc>
            </a:pPr>
            <a:r>
              <a:rPr lang="fr-FR" sz="2000" dirty="0"/>
              <a:t>Des </a:t>
            </a:r>
            <a:r>
              <a:rPr lang="fr-FR" sz="2000" b="1" dirty="0">
                <a:solidFill>
                  <a:schemeClr val="accent1"/>
                </a:solidFill>
              </a:rPr>
              <a:t>« équipiers »</a:t>
            </a:r>
            <a:r>
              <a:rPr lang="fr-FR" sz="2000" dirty="0"/>
              <a:t> (Dev Team)</a:t>
            </a:r>
            <a:endParaRPr lang="fr-FR" dirty="0"/>
          </a:p>
        </p:txBody>
      </p:sp>
      <p:grpSp>
        <p:nvGrpSpPr>
          <p:cNvPr id="2" name="Groupe 1">
            <a:extLst>
              <a:ext uri="{FF2B5EF4-FFF2-40B4-BE49-F238E27FC236}">
                <a16:creationId xmlns:a16="http://schemas.microsoft.com/office/drawing/2014/main" id="{A9058839-2ABA-4380-88A9-C96D5D733C02}"/>
              </a:ext>
            </a:extLst>
          </p:cNvPr>
          <p:cNvGrpSpPr/>
          <p:nvPr/>
        </p:nvGrpSpPr>
        <p:grpSpPr>
          <a:xfrm>
            <a:off x="3175109" y="1773694"/>
            <a:ext cx="4657555" cy="3477467"/>
            <a:chOff x="3594558" y="1795808"/>
            <a:chExt cx="4657555" cy="3477467"/>
          </a:xfrm>
        </p:grpSpPr>
        <p:graphicFrame>
          <p:nvGraphicFramePr>
            <p:cNvPr id="19" name="Espace réservé du contenu 8">
              <a:extLst>
                <a:ext uri="{FF2B5EF4-FFF2-40B4-BE49-F238E27FC236}">
                  <a16:creationId xmlns:a16="http://schemas.microsoft.com/office/drawing/2014/main" id="{FF023A04-446F-4AB7-A9AD-6D3431E90E9F}"/>
                </a:ext>
              </a:extLst>
            </p:cNvPr>
            <p:cNvGraphicFramePr>
              <a:graphicFrameLocks/>
            </p:cNvGraphicFramePr>
            <p:nvPr>
              <p:extLst>
                <p:ext uri="{D42A27DB-BD31-4B8C-83A1-F6EECF244321}">
                  <p14:modId xmlns:p14="http://schemas.microsoft.com/office/powerpoint/2010/main" val="4088842794"/>
                </p:ext>
              </p:extLst>
            </p:nvPr>
          </p:nvGraphicFramePr>
          <p:xfrm>
            <a:off x="3594558" y="1795808"/>
            <a:ext cx="4657555" cy="34774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0" name="Picture 17">
              <a:extLst>
                <a:ext uri="{FF2B5EF4-FFF2-40B4-BE49-F238E27FC236}">
                  <a16:creationId xmlns:a16="http://schemas.microsoft.com/office/drawing/2014/main" id="{1EB9A97B-458A-4F48-A9E6-89D0C546B28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09671" y="3207334"/>
              <a:ext cx="492782" cy="761572"/>
            </a:xfrm>
            <a:prstGeom prst="rect">
              <a:avLst/>
            </a:prstGeom>
          </p:spPr>
        </p:pic>
        <p:pic>
          <p:nvPicPr>
            <p:cNvPr id="21" name="Picture 18">
              <a:extLst>
                <a:ext uri="{FF2B5EF4-FFF2-40B4-BE49-F238E27FC236}">
                  <a16:creationId xmlns:a16="http://schemas.microsoft.com/office/drawing/2014/main" id="{E4906845-53F9-465F-A85C-B1959FE0B64F}"/>
                </a:ext>
              </a:extLst>
            </p:cNvPr>
            <p:cNvPicPr>
              <a:picLocks noChangeAspect="1" noChangeArrowheads="1"/>
            </p:cNvPicPr>
            <p:nvPr>
              <p:custDataLst>
                <p:tags r:id="rId1"/>
              </p:custDataLst>
            </p:nvPr>
          </p:nvPicPr>
          <p:blipFill>
            <a:blip r:embed="rId9">
              <a:extLst>
                <a:ext uri="{28A0092B-C50C-407E-A947-70E740481C1C}">
                  <a14:useLocalDpi xmlns:a14="http://schemas.microsoft.com/office/drawing/2010/main" val="0"/>
                </a:ext>
              </a:extLst>
            </a:blip>
            <a:stretch>
              <a:fillRect/>
            </a:stretch>
          </p:blipFill>
          <p:spPr bwMode="auto">
            <a:xfrm>
              <a:off x="5778673" y="2111623"/>
              <a:ext cx="569674" cy="813820"/>
            </a:xfrm>
            <a:prstGeom prst="rect">
              <a:avLst/>
            </a:prstGeom>
            <a:noFill/>
          </p:spPr>
        </p:pic>
        <p:pic>
          <p:nvPicPr>
            <p:cNvPr id="22" name="Picture 19" descr="Agile-Team.png">
              <a:extLst>
                <a:ext uri="{FF2B5EF4-FFF2-40B4-BE49-F238E27FC236}">
                  <a16:creationId xmlns:a16="http://schemas.microsoft.com/office/drawing/2014/main" id="{17C05163-7F37-4433-8EA5-06F61E97A49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973669" y="3846769"/>
              <a:ext cx="1475755" cy="868091"/>
            </a:xfrm>
            <a:prstGeom prst="rect">
              <a:avLst/>
            </a:prstGeom>
          </p:spPr>
        </p:pic>
      </p:grpSp>
      <p:sp>
        <p:nvSpPr>
          <p:cNvPr id="23" name="Rectangle 22">
            <a:extLst>
              <a:ext uri="{FF2B5EF4-FFF2-40B4-BE49-F238E27FC236}">
                <a16:creationId xmlns:a16="http://schemas.microsoft.com/office/drawing/2014/main" id="{2A6DB73E-CF13-4E7F-A16D-3A0A29014447}"/>
              </a:ext>
            </a:extLst>
          </p:cNvPr>
          <p:cNvSpPr/>
          <p:nvPr/>
        </p:nvSpPr>
        <p:spPr>
          <a:xfrm>
            <a:off x="7527750" y="3049855"/>
            <a:ext cx="5231904" cy="748923"/>
          </a:xfrm>
          <a:prstGeom prst="rect">
            <a:avLst/>
          </a:prstGeom>
        </p:spPr>
        <p:txBody>
          <a:bodyPr wrap="square">
            <a:spAutoFit/>
          </a:bodyPr>
          <a:lstStyle/>
          <a:p>
            <a:pPr marL="282575" indent="-282575">
              <a:spcBef>
                <a:spcPts val="200"/>
              </a:spcBef>
              <a:spcAft>
                <a:spcPts val="200"/>
              </a:spcAft>
              <a:buClr>
                <a:schemeClr val="tx1">
                  <a:lumMod val="50000"/>
                  <a:lumOff val="50000"/>
                </a:schemeClr>
              </a:buClr>
              <a:buSzPct val="100000"/>
              <a:buFont typeface="Webdings" pitchFamily="18" charset="2"/>
              <a:buChar char="4"/>
            </a:pPr>
            <a:r>
              <a:rPr lang="en-US" sz="1200" dirty="0" err="1">
                <a:latin typeface="Arial"/>
                <a:cs typeface="Arial"/>
              </a:rPr>
              <a:t>Coache</a:t>
            </a:r>
            <a:r>
              <a:rPr lang="en-US" sz="1200" dirty="0">
                <a:latin typeface="Arial"/>
                <a:cs typeface="Arial"/>
              </a:rPr>
              <a:t> </a:t>
            </a:r>
            <a:r>
              <a:rPr lang="en-US" sz="1200" dirty="0" err="1">
                <a:latin typeface="Arial"/>
                <a:cs typeface="Arial"/>
              </a:rPr>
              <a:t>l’équipe</a:t>
            </a:r>
            <a:r>
              <a:rPr lang="en-US" sz="1200" dirty="0">
                <a:latin typeface="Arial"/>
                <a:cs typeface="Arial"/>
              </a:rPr>
              <a:t> Agile et </a:t>
            </a:r>
            <a:r>
              <a:rPr lang="en-US" sz="1200" dirty="0" err="1">
                <a:latin typeface="Arial"/>
                <a:cs typeface="Arial"/>
              </a:rPr>
              <a:t>facilite</a:t>
            </a:r>
            <a:r>
              <a:rPr lang="en-US" sz="1200" dirty="0">
                <a:latin typeface="Arial"/>
                <a:cs typeface="Arial"/>
              </a:rPr>
              <a:t> la tenue des meetings</a:t>
            </a:r>
          </a:p>
          <a:p>
            <a:pPr marL="282575" indent="-282575">
              <a:spcBef>
                <a:spcPts val="200"/>
              </a:spcBef>
              <a:spcAft>
                <a:spcPts val="200"/>
              </a:spcAft>
              <a:buClr>
                <a:schemeClr val="tx1">
                  <a:lumMod val="50000"/>
                  <a:lumOff val="50000"/>
                </a:schemeClr>
              </a:buClr>
              <a:buSzPct val="100000"/>
              <a:buFont typeface="Webdings" pitchFamily="18" charset="2"/>
              <a:buChar char="4"/>
            </a:pPr>
            <a:r>
              <a:rPr lang="en-US" sz="1200" dirty="0" err="1">
                <a:latin typeface="Arial"/>
                <a:cs typeface="Arial"/>
              </a:rPr>
              <a:t>Supprime</a:t>
            </a:r>
            <a:r>
              <a:rPr lang="en-US" sz="1200" dirty="0">
                <a:latin typeface="Arial"/>
                <a:cs typeface="Arial"/>
              </a:rPr>
              <a:t> les obstacles et </a:t>
            </a:r>
            <a:r>
              <a:rPr lang="en-US" sz="1200" dirty="0" err="1">
                <a:latin typeface="Arial"/>
                <a:cs typeface="Arial"/>
              </a:rPr>
              <a:t>protège</a:t>
            </a:r>
            <a:r>
              <a:rPr lang="en-US" sz="1200" dirty="0">
                <a:latin typeface="Arial"/>
                <a:cs typeface="Arial"/>
              </a:rPr>
              <a:t> </a:t>
            </a:r>
            <a:r>
              <a:rPr lang="en-US" sz="1200" dirty="0" err="1">
                <a:latin typeface="Arial"/>
                <a:cs typeface="Arial"/>
              </a:rPr>
              <a:t>l’équipe</a:t>
            </a:r>
            <a:r>
              <a:rPr lang="en-US" sz="1200" dirty="0">
                <a:latin typeface="Arial"/>
                <a:cs typeface="Arial"/>
              </a:rPr>
              <a:t> des perturbations</a:t>
            </a:r>
          </a:p>
          <a:p>
            <a:pPr marL="282575" indent="-282575">
              <a:spcBef>
                <a:spcPts val="200"/>
              </a:spcBef>
              <a:spcAft>
                <a:spcPts val="200"/>
              </a:spcAft>
              <a:buClr>
                <a:schemeClr val="tx1">
                  <a:lumMod val="50000"/>
                  <a:lumOff val="50000"/>
                </a:schemeClr>
              </a:buClr>
              <a:buSzPct val="100000"/>
              <a:buFont typeface="Webdings" pitchFamily="18" charset="2"/>
              <a:buChar char="4"/>
            </a:pPr>
            <a:r>
              <a:rPr lang="en-US" sz="1200" dirty="0">
                <a:latin typeface="Arial"/>
                <a:cs typeface="Arial"/>
              </a:rPr>
              <a:t>Est </a:t>
            </a:r>
            <a:r>
              <a:rPr lang="en-US" sz="1200" dirty="0" err="1">
                <a:latin typeface="Arial"/>
                <a:cs typeface="Arial"/>
              </a:rPr>
              <a:t>présent</a:t>
            </a:r>
            <a:r>
              <a:rPr lang="en-US" sz="1200" dirty="0">
                <a:latin typeface="Arial"/>
                <a:cs typeface="Arial"/>
              </a:rPr>
              <a:t> aux “Scrum de Scrum”</a:t>
            </a:r>
          </a:p>
        </p:txBody>
      </p:sp>
      <p:sp>
        <p:nvSpPr>
          <p:cNvPr id="24" name="Rectangle 23">
            <a:extLst>
              <a:ext uri="{FF2B5EF4-FFF2-40B4-BE49-F238E27FC236}">
                <a16:creationId xmlns:a16="http://schemas.microsoft.com/office/drawing/2014/main" id="{8A669A66-0C69-448A-9F71-1FAECE0635B0}"/>
              </a:ext>
            </a:extLst>
          </p:cNvPr>
          <p:cNvSpPr/>
          <p:nvPr/>
        </p:nvSpPr>
        <p:spPr>
          <a:xfrm>
            <a:off x="7562115" y="4118571"/>
            <a:ext cx="5197540" cy="748923"/>
          </a:xfrm>
          <a:prstGeom prst="rect">
            <a:avLst/>
          </a:prstGeom>
        </p:spPr>
        <p:txBody>
          <a:bodyPr wrap="square">
            <a:spAutoFit/>
          </a:bodyPr>
          <a:lstStyle/>
          <a:p>
            <a:pPr marL="282575" indent="-282575">
              <a:spcBef>
                <a:spcPts val="200"/>
              </a:spcBef>
              <a:spcAft>
                <a:spcPts val="200"/>
              </a:spcAft>
              <a:buClr>
                <a:schemeClr val="tx1">
                  <a:lumMod val="50000"/>
                  <a:lumOff val="50000"/>
                </a:schemeClr>
              </a:buClr>
              <a:buSzPct val="100000"/>
              <a:buFont typeface="Webdings" pitchFamily="18" charset="2"/>
              <a:buChar char="4"/>
            </a:pPr>
            <a:r>
              <a:rPr lang="en-US" sz="1200" dirty="0" err="1">
                <a:latin typeface="Arial"/>
                <a:cs typeface="Arial"/>
              </a:rPr>
              <a:t>Raffine</a:t>
            </a:r>
            <a:r>
              <a:rPr lang="en-US" sz="1200" dirty="0">
                <a:latin typeface="Arial"/>
                <a:cs typeface="Arial"/>
              </a:rPr>
              <a:t>/</a:t>
            </a:r>
            <a:r>
              <a:rPr lang="en-US" sz="1200" dirty="0" err="1">
                <a:latin typeface="Arial"/>
                <a:cs typeface="Arial"/>
              </a:rPr>
              <a:t>Développe</a:t>
            </a:r>
            <a:r>
              <a:rPr lang="en-US" sz="1200" dirty="0">
                <a:latin typeface="Arial"/>
                <a:cs typeface="Arial"/>
              </a:rPr>
              <a:t>/Teste/Livre les US</a:t>
            </a:r>
          </a:p>
          <a:p>
            <a:pPr marL="282575" indent="-282575">
              <a:spcBef>
                <a:spcPts val="200"/>
              </a:spcBef>
              <a:spcAft>
                <a:spcPts val="200"/>
              </a:spcAft>
              <a:buClr>
                <a:schemeClr val="tx1">
                  <a:lumMod val="50000"/>
                  <a:lumOff val="50000"/>
                </a:schemeClr>
              </a:buClr>
              <a:buSzPct val="100000"/>
              <a:buFont typeface="Webdings" pitchFamily="18" charset="2"/>
              <a:buChar char="4"/>
            </a:pPr>
            <a:r>
              <a:rPr lang="en-US" sz="1200" dirty="0" err="1">
                <a:latin typeface="Arial"/>
                <a:cs typeface="Arial"/>
              </a:rPr>
              <a:t>Identifie</a:t>
            </a:r>
            <a:r>
              <a:rPr lang="en-US" sz="1200" dirty="0">
                <a:latin typeface="Arial"/>
                <a:cs typeface="Arial"/>
              </a:rPr>
              <a:t> et </a:t>
            </a:r>
            <a:r>
              <a:rPr lang="en-US" sz="1200" dirty="0" err="1">
                <a:latin typeface="Arial"/>
                <a:cs typeface="Arial"/>
              </a:rPr>
              <a:t>s’engage</a:t>
            </a:r>
            <a:r>
              <a:rPr lang="en-US" sz="1200" dirty="0">
                <a:latin typeface="Arial"/>
                <a:cs typeface="Arial"/>
              </a:rPr>
              <a:t> sur les PI Objectives et les </a:t>
            </a:r>
            <a:r>
              <a:rPr lang="en-US" sz="1200" dirty="0" err="1">
                <a:latin typeface="Arial"/>
                <a:cs typeface="Arial"/>
              </a:rPr>
              <a:t>itérations</a:t>
            </a:r>
            <a:endParaRPr lang="en-US" sz="1200" dirty="0">
              <a:latin typeface="Arial"/>
              <a:cs typeface="Arial"/>
            </a:endParaRPr>
          </a:p>
          <a:p>
            <a:pPr marL="282575" indent="-282575">
              <a:spcBef>
                <a:spcPts val="200"/>
              </a:spcBef>
              <a:spcAft>
                <a:spcPts val="200"/>
              </a:spcAft>
              <a:buClr>
                <a:schemeClr val="tx1">
                  <a:lumMod val="50000"/>
                  <a:lumOff val="50000"/>
                </a:schemeClr>
              </a:buClr>
              <a:buSzPct val="100000"/>
              <a:buFont typeface="Webdings" pitchFamily="18" charset="2"/>
              <a:buChar char="4"/>
            </a:pPr>
            <a:r>
              <a:rPr lang="en-US" sz="1200" dirty="0">
                <a:latin typeface="Arial"/>
                <a:cs typeface="Arial"/>
              </a:rPr>
              <a:t>3-9 </a:t>
            </a:r>
            <a:r>
              <a:rPr lang="en-US" sz="1200" dirty="0" err="1">
                <a:latin typeface="Arial"/>
                <a:cs typeface="Arial"/>
              </a:rPr>
              <a:t>membres</a:t>
            </a:r>
            <a:endParaRPr lang="en-US" sz="1200" dirty="0">
              <a:latin typeface="Arial"/>
              <a:cs typeface="Arial"/>
            </a:endParaRPr>
          </a:p>
        </p:txBody>
      </p:sp>
      <p:cxnSp>
        <p:nvCxnSpPr>
          <p:cNvPr id="25" name="Connecteur droit 24">
            <a:extLst>
              <a:ext uri="{FF2B5EF4-FFF2-40B4-BE49-F238E27FC236}">
                <a16:creationId xmlns:a16="http://schemas.microsoft.com/office/drawing/2014/main" id="{48DEAFE3-90D2-4640-8645-15CED84FCA4E}"/>
              </a:ext>
            </a:extLst>
          </p:cNvPr>
          <p:cNvCxnSpPr/>
          <p:nvPr/>
        </p:nvCxnSpPr>
        <p:spPr>
          <a:xfrm>
            <a:off x="7720809" y="3976946"/>
            <a:ext cx="5038845"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6" name="Connecteur droit 25">
            <a:extLst>
              <a:ext uri="{FF2B5EF4-FFF2-40B4-BE49-F238E27FC236}">
                <a16:creationId xmlns:a16="http://schemas.microsoft.com/office/drawing/2014/main" id="{92F6FBC8-DD17-463D-B6F4-AE4E1FB5EEBC}"/>
              </a:ext>
            </a:extLst>
          </p:cNvPr>
          <p:cNvCxnSpPr/>
          <p:nvPr/>
        </p:nvCxnSpPr>
        <p:spPr>
          <a:xfrm>
            <a:off x="7666665" y="2913032"/>
            <a:ext cx="5038845"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270299E6-0002-45C1-B03E-A343DAD6406F}"/>
              </a:ext>
            </a:extLst>
          </p:cNvPr>
          <p:cNvSpPr/>
          <p:nvPr/>
        </p:nvSpPr>
        <p:spPr>
          <a:xfrm>
            <a:off x="7540353" y="1874887"/>
            <a:ext cx="5219301" cy="748923"/>
          </a:xfrm>
          <a:prstGeom prst="rect">
            <a:avLst/>
          </a:prstGeom>
        </p:spPr>
        <p:txBody>
          <a:bodyPr wrap="square">
            <a:spAutoFit/>
          </a:bodyPr>
          <a:lstStyle/>
          <a:p>
            <a:pPr marL="282575" indent="-282575">
              <a:spcBef>
                <a:spcPts val="200"/>
              </a:spcBef>
              <a:spcAft>
                <a:spcPts val="200"/>
              </a:spcAft>
              <a:buClr>
                <a:schemeClr val="tx1">
                  <a:lumMod val="50000"/>
                  <a:lumOff val="50000"/>
                </a:schemeClr>
              </a:buClr>
              <a:buSzPct val="100000"/>
              <a:buFont typeface="Webdings" pitchFamily="18" charset="2"/>
              <a:buChar char="4"/>
            </a:pPr>
            <a:r>
              <a:rPr lang="en-US" sz="1200" dirty="0" err="1">
                <a:latin typeface="Arial"/>
                <a:cs typeface="Arial"/>
              </a:rPr>
              <a:t>Définit</a:t>
            </a:r>
            <a:r>
              <a:rPr lang="en-US" sz="1200" dirty="0">
                <a:latin typeface="Arial"/>
                <a:cs typeface="Arial"/>
              </a:rPr>
              <a:t> et </a:t>
            </a:r>
            <a:r>
              <a:rPr lang="en-US" sz="1200" dirty="0" err="1">
                <a:latin typeface="Arial"/>
                <a:cs typeface="Arial"/>
              </a:rPr>
              <a:t>accepte</a:t>
            </a:r>
            <a:r>
              <a:rPr lang="en-US" sz="1200" dirty="0">
                <a:latin typeface="Arial"/>
                <a:cs typeface="Arial"/>
              </a:rPr>
              <a:t> les stories</a:t>
            </a:r>
          </a:p>
          <a:p>
            <a:pPr marL="282575" indent="-282575">
              <a:spcBef>
                <a:spcPts val="200"/>
              </a:spcBef>
              <a:spcAft>
                <a:spcPts val="200"/>
              </a:spcAft>
              <a:buClr>
                <a:schemeClr val="tx1">
                  <a:lumMod val="50000"/>
                  <a:lumOff val="50000"/>
                </a:schemeClr>
              </a:buClr>
              <a:buSzPct val="100000"/>
              <a:buFont typeface="Webdings" pitchFamily="18" charset="2"/>
              <a:buChar char="4"/>
            </a:pPr>
            <a:r>
              <a:rPr lang="en-US" sz="1200" dirty="0" err="1">
                <a:latin typeface="Arial"/>
                <a:cs typeface="Arial"/>
              </a:rPr>
              <a:t>Représente</a:t>
            </a:r>
            <a:r>
              <a:rPr lang="en-US" sz="1200" dirty="0">
                <a:latin typeface="Arial"/>
                <a:cs typeface="Arial"/>
              </a:rPr>
              <a:t> le client</a:t>
            </a:r>
          </a:p>
          <a:p>
            <a:pPr marL="282575" indent="-282575">
              <a:spcBef>
                <a:spcPts val="200"/>
              </a:spcBef>
              <a:spcAft>
                <a:spcPts val="200"/>
              </a:spcAft>
              <a:buClr>
                <a:schemeClr val="tx1">
                  <a:lumMod val="50000"/>
                  <a:lumOff val="50000"/>
                </a:schemeClr>
              </a:buClr>
              <a:buSzPct val="100000"/>
              <a:buFont typeface="Webdings" pitchFamily="18" charset="2"/>
              <a:buChar char="4"/>
            </a:pPr>
            <a:r>
              <a:rPr lang="en-US" sz="1200" dirty="0" err="1">
                <a:latin typeface="Arial"/>
                <a:cs typeface="Arial"/>
              </a:rPr>
              <a:t>Travaille</a:t>
            </a:r>
            <a:r>
              <a:rPr lang="en-US" sz="1200" dirty="0">
                <a:latin typeface="Arial"/>
                <a:cs typeface="Arial"/>
              </a:rPr>
              <a:t> avec le Product Management pour </a:t>
            </a:r>
            <a:r>
              <a:rPr lang="en-US" sz="1200" dirty="0" err="1">
                <a:latin typeface="Arial"/>
                <a:cs typeface="Arial"/>
              </a:rPr>
              <a:t>préparer</a:t>
            </a:r>
            <a:r>
              <a:rPr lang="en-US" sz="1200" dirty="0">
                <a:latin typeface="Arial"/>
                <a:cs typeface="Arial"/>
              </a:rPr>
              <a:t> les PIs</a:t>
            </a:r>
          </a:p>
        </p:txBody>
      </p:sp>
    </p:spTree>
    <p:extLst>
      <p:ext uri="{BB962C8B-B14F-4D97-AF65-F5344CB8AC3E}">
        <p14:creationId xmlns:p14="http://schemas.microsoft.com/office/powerpoint/2010/main" val="14363603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26</a:t>
            </a:fld>
            <a:endParaRPr lang="fr-FR" dirty="0"/>
          </a:p>
        </p:txBody>
      </p:sp>
      <p:sp>
        <p:nvSpPr>
          <p:cNvPr id="5" name="Espace réservé du texte 4"/>
          <p:cNvSpPr>
            <a:spLocks noGrp="1"/>
          </p:cNvSpPr>
          <p:nvPr>
            <p:ph type="body" idx="1"/>
          </p:nvPr>
        </p:nvSpPr>
        <p:spPr/>
        <p:txBody>
          <a:bodyPr/>
          <a:lstStyle/>
          <a:p>
            <a:r>
              <a:rPr lang="fr-FR" dirty="0"/>
              <a:t>Les rôles dans la Program Team</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sp>
        <p:nvSpPr>
          <p:cNvPr id="41" name="Content Placeholder 2">
            <a:extLst>
              <a:ext uri="{FF2B5EF4-FFF2-40B4-BE49-F238E27FC236}">
                <a16:creationId xmlns:a16="http://schemas.microsoft.com/office/drawing/2014/main" id="{4D732C4D-392A-453A-ACA9-150DB50B885D}"/>
              </a:ext>
            </a:extLst>
          </p:cNvPr>
          <p:cNvSpPr txBox="1">
            <a:spLocks/>
          </p:cNvSpPr>
          <p:nvPr>
            <p:custDataLst>
              <p:tags r:id="rId1"/>
            </p:custDataLst>
          </p:nvPr>
        </p:nvSpPr>
        <p:spPr bwMode="auto">
          <a:xfrm>
            <a:off x="1769068" y="1678581"/>
            <a:ext cx="10310297" cy="524928"/>
          </a:xfrm>
          <a:prstGeom prst="rect">
            <a:avLst/>
          </a:prstGeom>
          <a:noFill/>
          <a:ln w="9525">
            <a:noFill/>
            <a:miter lim="800000"/>
            <a:headEnd/>
            <a:tailEnd/>
          </a:ln>
        </p:spPr>
        <p:txBody>
          <a:bodyPr vert="horz" wrap="square" lIns="68580" tIns="34290" rIns="68580" bIns="34290" numCol="1" anchor="t" anchorCtr="0" compatLnSpc="1">
            <a:prstTxWarp prst="textNoShape">
              <a:avLst/>
            </a:prstTxWarp>
            <a:noAutofit/>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rgbClr val="3C3C3C"/>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22000"/>
              <a:buFont typeface="Arial"/>
              <a:buChar char="•"/>
              <a:defRPr sz="2200">
                <a:solidFill>
                  <a:srgbClr val="3C3C3C"/>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Wingdings" charset="2"/>
              <a:buChar char="§"/>
              <a:defRPr lang="en-US" altLang="en-US" sz="2000" dirty="0" smtClean="0">
                <a:solidFill>
                  <a:srgbClr val="3C3C3C"/>
                </a:solidFill>
                <a:latin typeface="+mn-lt"/>
                <a:cs typeface="+mn-cs"/>
              </a:defRPr>
            </a:lvl3pPr>
            <a:lvl4pPr marL="1428750" indent="-285750" algn="l" rtl="0" eaLnBrk="1" fontAlgn="base" hangingPunct="1">
              <a:spcBef>
                <a:spcPts val="300"/>
              </a:spcBef>
              <a:spcAft>
                <a:spcPts val="300"/>
              </a:spcAft>
              <a:buClr>
                <a:schemeClr val="tx1">
                  <a:lumMod val="75000"/>
                  <a:lumOff val="25000"/>
                </a:schemeClr>
              </a:buClr>
              <a:buSzPct val="110000"/>
              <a:buFont typeface="Courier New"/>
              <a:buChar char="o"/>
              <a:defRPr sz="1800" baseline="0">
                <a:solidFill>
                  <a:srgbClr val="3C3C3C"/>
                </a:solidFill>
                <a:latin typeface="+mn-lt"/>
                <a:cs typeface="+mn-cs"/>
              </a:defRPr>
            </a:lvl4pPr>
            <a:lvl5pPr marL="1662113" indent="-227013" algn="l" rtl="0" eaLnBrk="1" fontAlgn="base" hangingPunct="1">
              <a:spcBef>
                <a:spcPts val="300"/>
              </a:spcBef>
              <a:spcAft>
                <a:spcPts val="300"/>
              </a:spcAft>
              <a:buClr>
                <a:schemeClr val="tx1">
                  <a:lumMod val="75000"/>
                  <a:lumOff val="25000"/>
                </a:schemeClr>
              </a:buClr>
              <a:buSzPct val="110000"/>
              <a:buFont typeface="Arial Black" pitchFamily="34" charset="0"/>
              <a:buChar char="–"/>
              <a:defRPr sz="1600">
                <a:solidFill>
                  <a:srgbClr val="3C3C3C"/>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0" indent="0">
              <a:spcBef>
                <a:spcPts val="900"/>
              </a:spcBef>
              <a:spcAft>
                <a:spcPts val="300"/>
              </a:spcAft>
              <a:buNone/>
            </a:pPr>
            <a:r>
              <a:rPr lang="en-US" sz="2000" b="1" dirty="0">
                <a:solidFill>
                  <a:schemeClr val="accent1"/>
                </a:solidFill>
                <a:latin typeface="Arial"/>
                <a:cs typeface="Arial"/>
              </a:rPr>
              <a:t>Le RTE (Release Train Engineer)</a:t>
            </a:r>
            <a:r>
              <a:rPr lang="en-US" sz="2000" dirty="0">
                <a:solidFill>
                  <a:schemeClr val="accent2"/>
                </a:solidFill>
                <a:latin typeface="Arial"/>
                <a:cs typeface="Arial"/>
              </a:rPr>
              <a:t> </a:t>
            </a:r>
            <a:r>
              <a:rPr lang="en-US" sz="2000" dirty="0" err="1">
                <a:latin typeface="Arial"/>
                <a:cs typeface="Arial"/>
              </a:rPr>
              <a:t>est</a:t>
            </a:r>
            <a:r>
              <a:rPr lang="en-US" sz="2000" dirty="0">
                <a:latin typeface="Arial"/>
                <a:cs typeface="Arial"/>
              </a:rPr>
              <a:t> le Scrum Master </a:t>
            </a:r>
            <a:r>
              <a:rPr lang="en-US" sz="2000" dirty="0" err="1">
                <a:latin typeface="Arial"/>
                <a:cs typeface="Arial"/>
              </a:rPr>
              <a:t>en</a:t>
            </a:r>
            <a:r>
              <a:rPr lang="en-US" sz="2000" dirty="0">
                <a:latin typeface="Arial"/>
                <a:cs typeface="Arial"/>
              </a:rPr>
              <a:t> Chef du Train (ART).</a:t>
            </a:r>
          </a:p>
          <a:p>
            <a:pPr marL="0" indent="0">
              <a:spcBef>
                <a:spcPts val="900"/>
              </a:spcBef>
              <a:spcAft>
                <a:spcPts val="300"/>
              </a:spcAft>
              <a:buNone/>
            </a:pPr>
            <a:endParaRPr lang="en-US" sz="2000" dirty="0">
              <a:latin typeface="Arial"/>
              <a:cs typeface="Arial"/>
            </a:endParaRPr>
          </a:p>
        </p:txBody>
      </p:sp>
      <p:pic>
        <p:nvPicPr>
          <p:cNvPr id="42" name="Picture 11">
            <a:extLst>
              <a:ext uri="{FF2B5EF4-FFF2-40B4-BE49-F238E27FC236}">
                <a16:creationId xmlns:a16="http://schemas.microsoft.com/office/drawing/2014/main" id="{EA7C0957-5713-41E9-8B5F-7ED152C961F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8309" y="5218908"/>
            <a:ext cx="828675" cy="600075"/>
          </a:xfrm>
          <a:prstGeom prst="rect">
            <a:avLst/>
          </a:prstGeom>
        </p:spPr>
      </p:pic>
      <p:pic>
        <p:nvPicPr>
          <p:cNvPr id="43" name="Picture 12">
            <a:extLst>
              <a:ext uri="{FF2B5EF4-FFF2-40B4-BE49-F238E27FC236}">
                <a16:creationId xmlns:a16="http://schemas.microsoft.com/office/drawing/2014/main" id="{0478C9B6-FE7F-407D-8280-3DD2A1255D5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7409" y="2356963"/>
            <a:ext cx="518128" cy="725379"/>
          </a:xfrm>
          <a:prstGeom prst="rect">
            <a:avLst/>
          </a:prstGeom>
        </p:spPr>
      </p:pic>
      <p:pic>
        <p:nvPicPr>
          <p:cNvPr id="44" name="Picture 13" descr="Program-System-Architect-NoLabel.png">
            <a:extLst>
              <a:ext uri="{FF2B5EF4-FFF2-40B4-BE49-F238E27FC236}">
                <a16:creationId xmlns:a16="http://schemas.microsoft.com/office/drawing/2014/main" id="{CFA4C295-C215-4B0C-993D-FF200555B8F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5365" y="3191216"/>
            <a:ext cx="499048" cy="784762"/>
          </a:xfrm>
          <a:prstGeom prst="rect">
            <a:avLst/>
          </a:prstGeom>
        </p:spPr>
      </p:pic>
      <p:pic>
        <p:nvPicPr>
          <p:cNvPr id="45" name="Picture 14" descr="Program-RTE-NoLabel.png">
            <a:extLst>
              <a:ext uri="{FF2B5EF4-FFF2-40B4-BE49-F238E27FC236}">
                <a16:creationId xmlns:a16="http://schemas.microsoft.com/office/drawing/2014/main" id="{09DD3834-154E-4FFE-BA44-BE03AC5B637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67409" y="1375031"/>
            <a:ext cx="510476" cy="784762"/>
          </a:xfrm>
          <a:prstGeom prst="rect">
            <a:avLst/>
          </a:prstGeom>
        </p:spPr>
      </p:pic>
      <p:pic>
        <p:nvPicPr>
          <p:cNvPr id="46" name="Picture 15">
            <a:extLst>
              <a:ext uri="{FF2B5EF4-FFF2-40B4-BE49-F238E27FC236}">
                <a16:creationId xmlns:a16="http://schemas.microsoft.com/office/drawing/2014/main" id="{48630336-473A-417C-B1F1-2A576199067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flipH="1">
            <a:off x="519554" y="4163649"/>
            <a:ext cx="876191" cy="952381"/>
          </a:xfrm>
          <a:prstGeom prst="rect">
            <a:avLst/>
          </a:prstGeom>
        </p:spPr>
      </p:pic>
      <p:sp>
        <p:nvSpPr>
          <p:cNvPr id="47" name="Rectangle 46">
            <a:extLst>
              <a:ext uri="{FF2B5EF4-FFF2-40B4-BE49-F238E27FC236}">
                <a16:creationId xmlns:a16="http://schemas.microsoft.com/office/drawing/2014/main" id="{142FD300-5C57-4AD0-BF4B-918059E2AAF5}"/>
              </a:ext>
            </a:extLst>
          </p:cNvPr>
          <p:cNvSpPr/>
          <p:nvPr/>
        </p:nvSpPr>
        <p:spPr>
          <a:xfrm>
            <a:off x="1813621" y="5259843"/>
            <a:ext cx="10253877" cy="707886"/>
          </a:xfrm>
          <a:prstGeom prst="rect">
            <a:avLst/>
          </a:prstGeom>
        </p:spPr>
        <p:txBody>
          <a:bodyPr wrap="square">
            <a:spAutoFit/>
          </a:bodyPr>
          <a:lstStyle/>
          <a:p>
            <a:pPr fontAlgn="base">
              <a:spcBef>
                <a:spcPts val="900"/>
              </a:spcBef>
              <a:spcAft>
                <a:spcPts val="300"/>
              </a:spcAft>
              <a:buClr>
                <a:schemeClr val="tx1">
                  <a:lumMod val="50000"/>
                  <a:lumOff val="50000"/>
                </a:schemeClr>
              </a:buClr>
              <a:buSzPct val="100000"/>
            </a:pPr>
            <a:r>
              <a:rPr lang="en-US" sz="2000" b="1" dirty="0">
                <a:solidFill>
                  <a:schemeClr val="accent1"/>
                </a:solidFill>
                <a:latin typeface="Arial"/>
                <a:cs typeface="Arial"/>
              </a:rPr>
              <a:t>Les Business Owners </a:t>
            </a:r>
            <a:r>
              <a:rPr lang="en-US" sz="2000" dirty="0" err="1">
                <a:solidFill>
                  <a:srgbClr val="3C3C3C"/>
                </a:solidFill>
                <a:latin typeface="Arial"/>
                <a:cs typeface="Arial"/>
              </a:rPr>
              <a:t>sont</a:t>
            </a:r>
            <a:r>
              <a:rPr lang="en-US" sz="2000" dirty="0">
                <a:solidFill>
                  <a:srgbClr val="3C3C3C"/>
                </a:solidFill>
                <a:latin typeface="Arial"/>
                <a:cs typeface="Arial"/>
              </a:rPr>
              <a:t> les parties </a:t>
            </a:r>
            <a:r>
              <a:rPr lang="en-US" sz="2000" dirty="0" err="1">
                <a:solidFill>
                  <a:srgbClr val="3C3C3C"/>
                </a:solidFill>
                <a:latin typeface="Arial"/>
                <a:cs typeface="Arial"/>
              </a:rPr>
              <a:t>prenantes</a:t>
            </a:r>
            <a:r>
              <a:rPr lang="en-US" sz="2000" dirty="0">
                <a:solidFill>
                  <a:srgbClr val="3C3C3C"/>
                </a:solidFill>
                <a:latin typeface="Arial"/>
                <a:cs typeface="Arial"/>
              </a:rPr>
              <a:t> du Train </a:t>
            </a:r>
            <a:r>
              <a:rPr lang="en-US" sz="2000" dirty="0" err="1">
                <a:solidFill>
                  <a:srgbClr val="3C3C3C"/>
                </a:solidFill>
                <a:latin typeface="Arial"/>
                <a:cs typeface="Arial"/>
              </a:rPr>
              <a:t>ayant</a:t>
            </a:r>
            <a:r>
              <a:rPr lang="en-US" sz="2000" dirty="0">
                <a:solidFill>
                  <a:srgbClr val="3C3C3C"/>
                </a:solidFill>
                <a:latin typeface="Arial"/>
                <a:cs typeface="Arial"/>
              </a:rPr>
              <a:t> la vision Business et ROI de la Solution.</a:t>
            </a:r>
          </a:p>
        </p:txBody>
      </p:sp>
      <p:sp>
        <p:nvSpPr>
          <p:cNvPr id="48" name="Content Placeholder 2">
            <a:extLst>
              <a:ext uri="{FF2B5EF4-FFF2-40B4-BE49-F238E27FC236}">
                <a16:creationId xmlns:a16="http://schemas.microsoft.com/office/drawing/2014/main" id="{14379B58-8F88-4E4E-ACE7-C1AE1E01317C}"/>
              </a:ext>
            </a:extLst>
          </p:cNvPr>
          <p:cNvSpPr txBox="1">
            <a:spLocks/>
          </p:cNvSpPr>
          <p:nvPr>
            <p:custDataLst>
              <p:tags r:id="rId2"/>
            </p:custDataLst>
          </p:nvPr>
        </p:nvSpPr>
        <p:spPr bwMode="auto">
          <a:xfrm>
            <a:off x="1796854" y="2362262"/>
            <a:ext cx="10282511" cy="375555"/>
          </a:xfrm>
          <a:prstGeom prst="rect">
            <a:avLst/>
          </a:prstGeom>
          <a:noFill/>
          <a:ln w="9525">
            <a:noFill/>
            <a:miter lim="800000"/>
            <a:headEnd/>
            <a:tailEnd/>
          </a:ln>
        </p:spPr>
        <p:txBody>
          <a:bodyPr vert="horz" wrap="square" lIns="68580" tIns="34290" rIns="68580" bIns="34290" numCol="1" anchor="t" anchorCtr="0" compatLnSpc="1">
            <a:prstTxWarp prst="textNoShape">
              <a:avLst/>
            </a:prstTxWarp>
            <a:noAutofit/>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rgbClr val="3C3C3C"/>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22000"/>
              <a:buFont typeface="Arial"/>
              <a:buChar char="•"/>
              <a:defRPr sz="2200">
                <a:solidFill>
                  <a:srgbClr val="3C3C3C"/>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Wingdings" charset="2"/>
              <a:buChar char="§"/>
              <a:defRPr lang="en-US" altLang="en-US" sz="2000" dirty="0" smtClean="0">
                <a:solidFill>
                  <a:srgbClr val="3C3C3C"/>
                </a:solidFill>
                <a:latin typeface="+mn-lt"/>
                <a:cs typeface="+mn-cs"/>
              </a:defRPr>
            </a:lvl3pPr>
            <a:lvl4pPr marL="1428750" indent="-285750" algn="l" rtl="0" eaLnBrk="1" fontAlgn="base" hangingPunct="1">
              <a:spcBef>
                <a:spcPts val="300"/>
              </a:spcBef>
              <a:spcAft>
                <a:spcPts val="300"/>
              </a:spcAft>
              <a:buClr>
                <a:schemeClr val="tx1">
                  <a:lumMod val="75000"/>
                  <a:lumOff val="25000"/>
                </a:schemeClr>
              </a:buClr>
              <a:buSzPct val="110000"/>
              <a:buFont typeface="Courier New"/>
              <a:buChar char="o"/>
              <a:defRPr sz="1800" baseline="0">
                <a:solidFill>
                  <a:srgbClr val="3C3C3C"/>
                </a:solidFill>
                <a:latin typeface="+mn-lt"/>
                <a:cs typeface="+mn-cs"/>
              </a:defRPr>
            </a:lvl4pPr>
            <a:lvl5pPr marL="1662113" indent="-227013" algn="l" rtl="0" eaLnBrk="1" fontAlgn="base" hangingPunct="1">
              <a:spcBef>
                <a:spcPts val="300"/>
              </a:spcBef>
              <a:spcAft>
                <a:spcPts val="300"/>
              </a:spcAft>
              <a:buClr>
                <a:schemeClr val="tx1">
                  <a:lumMod val="75000"/>
                  <a:lumOff val="25000"/>
                </a:schemeClr>
              </a:buClr>
              <a:buSzPct val="110000"/>
              <a:buFont typeface="Arial Black" pitchFamily="34" charset="0"/>
              <a:buChar char="–"/>
              <a:defRPr sz="1600">
                <a:solidFill>
                  <a:srgbClr val="3C3C3C"/>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0" indent="0">
              <a:spcBef>
                <a:spcPts val="900"/>
              </a:spcBef>
              <a:spcAft>
                <a:spcPts val="300"/>
              </a:spcAft>
              <a:buNone/>
            </a:pPr>
            <a:r>
              <a:rPr lang="en-US" sz="2000" b="1" dirty="0">
                <a:solidFill>
                  <a:schemeClr val="accent1"/>
                </a:solidFill>
                <a:latin typeface="Arial"/>
                <a:cs typeface="Arial"/>
              </a:rPr>
              <a:t>Le PM (Product Management) </a:t>
            </a:r>
            <a:r>
              <a:rPr lang="en-US" sz="2000" dirty="0" err="1">
                <a:latin typeface="Arial"/>
                <a:cs typeface="Arial"/>
              </a:rPr>
              <a:t>est</a:t>
            </a:r>
            <a:r>
              <a:rPr lang="en-US" sz="2000" dirty="0">
                <a:latin typeface="Arial"/>
                <a:cs typeface="Arial"/>
              </a:rPr>
              <a:t> </a:t>
            </a:r>
            <a:r>
              <a:rPr lang="en-US" sz="2000" dirty="0" err="1">
                <a:latin typeface="Arial"/>
                <a:cs typeface="Arial"/>
              </a:rPr>
              <a:t>propriétaire</a:t>
            </a:r>
            <a:r>
              <a:rPr lang="en-US" sz="2000" b="1" dirty="0">
                <a:latin typeface="Arial"/>
                <a:cs typeface="Arial"/>
              </a:rPr>
              <a:t>, </a:t>
            </a:r>
            <a:r>
              <a:rPr lang="en-US" sz="2000" dirty="0" err="1">
                <a:latin typeface="Arial"/>
                <a:cs typeface="Arial"/>
              </a:rPr>
              <a:t>définit</a:t>
            </a:r>
            <a:r>
              <a:rPr lang="en-US" sz="2000" dirty="0">
                <a:latin typeface="Arial"/>
                <a:cs typeface="Arial"/>
              </a:rPr>
              <a:t>, et </a:t>
            </a:r>
            <a:r>
              <a:rPr lang="en-US" sz="2000" dirty="0" err="1">
                <a:latin typeface="Arial"/>
                <a:cs typeface="Arial"/>
              </a:rPr>
              <a:t>priorise</a:t>
            </a:r>
            <a:r>
              <a:rPr lang="en-US" sz="2000" dirty="0">
                <a:latin typeface="Arial"/>
                <a:cs typeface="Arial"/>
              </a:rPr>
              <a:t> la Backlog </a:t>
            </a:r>
            <a:r>
              <a:rPr lang="en-US" sz="2000" dirty="0" err="1">
                <a:latin typeface="Arial"/>
                <a:cs typeface="Arial"/>
              </a:rPr>
              <a:t>Programme</a:t>
            </a:r>
            <a:r>
              <a:rPr lang="en-US" sz="2000" dirty="0">
                <a:latin typeface="Arial"/>
                <a:cs typeface="Arial"/>
              </a:rPr>
              <a:t> (Program Backlog).</a:t>
            </a:r>
          </a:p>
          <a:p>
            <a:pPr marL="0" indent="0">
              <a:spcBef>
                <a:spcPts val="900"/>
              </a:spcBef>
              <a:spcAft>
                <a:spcPts val="300"/>
              </a:spcAft>
              <a:buNone/>
            </a:pPr>
            <a:endParaRPr lang="en-US" sz="2000" dirty="0">
              <a:latin typeface="Arial"/>
              <a:cs typeface="Arial"/>
            </a:endParaRPr>
          </a:p>
        </p:txBody>
      </p:sp>
      <p:sp>
        <p:nvSpPr>
          <p:cNvPr id="49" name="Content Placeholder 2">
            <a:extLst>
              <a:ext uri="{FF2B5EF4-FFF2-40B4-BE49-F238E27FC236}">
                <a16:creationId xmlns:a16="http://schemas.microsoft.com/office/drawing/2014/main" id="{E879438D-7FC2-4C8F-BA69-E2C9CDCE3C3E}"/>
              </a:ext>
            </a:extLst>
          </p:cNvPr>
          <p:cNvSpPr txBox="1">
            <a:spLocks/>
          </p:cNvSpPr>
          <p:nvPr>
            <p:custDataLst>
              <p:tags r:id="rId3"/>
            </p:custDataLst>
          </p:nvPr>
        </p:nvSpPr>
        <p:spPr bwMode="auto">
          <a:xfrm>
            <a:off x="1810066" y="3301788"/>
            <a:ext cx="10269299" cy="526971"/>
          </a:xfrm>
          <a:prstGeom prst="rect">
            <a:avLst/>
          </a:prstGeom>
          <a:noFill/>
          <a:ln w="9525">
            <a:noFill/>
            <a:miter lim="800000"/>
            <a:headEnd/>
            <a:tailEnd/>
          </a:ln>
        </p:spPr>
        <p:txBody>
          <a:bodyPr vert="horz" wrap="square" lIns="68580" tIns="34290" rIns="68580" bIns="34290" numCol="1" anchor="t" anchorCtr="0" compatLnSpc="1">
            <a:prstTxWarp prst="textNoShape">
              <a:avLst/>
            </a:prstTxWarp>
            <a:noAutofit/>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rgbClr val="3C3C3C"/>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22000"/>
              <a:buFont typeface="Arial"/>
              <a:buChar char="•"/>
              <a:defRPr sz="2200">
                <a:solidFill>
                  <a:srgbClr val="3C3C3C"/>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Wingdings" charset="2"/>
              <a:buChar char="§"/>
              <a:defRPr lang="en-US" altLang="en-US" sz="2000" dirty="0" smtClean="0">
                <a:solidFill>
                  <a:srgbClr val="3C3C3C"/>
                </a:solidFill>
                <a:latin typeface="+mn-lt"/>
                <a:cs typeface="+mn-cs"/>
              </a:defRPr>
            </a:lvl3pPr>
            <a:lvl4pPr marL="1428750" indent="-285750" algn="l" rtl="0" eaLnBrk="1" fontAlgn="base" hangingPunct="1">
              <a:spcBef>
                <a:spcPts val="300"/>
              </a:spcBef>
              <a:spcAft>
                <a:spcPts val="300"/>
              </a:spcAft>
              <a:buClr>
                <a:schemeClr val="tx1">
                  <a:lumMod val="75000"/>
                  <a:lumOff val="25000"/>
                </a:schemeClr>
              </a:buClr>
              <a:buSzPct val="110000"/>
              <a:buFont typeface="Courier New"/>
              <a:buChar char="o"/>
              <a:defRPr sz="1800" baseline="0">
                <a:solidFill>
                  <a:srgbClr val="3C3C3C"/>
                </a:solidFill>
                <a:latin typeface="+mn-lt"/>
                <a:cs typeface="+mn-cs"/>
              </a:defRPr>
            </a:lvl4pPr>
            <a:lvl5pPr marL="1662113" indent="-227013" algn="l" rtl="0" eaLnBrk="1" fontAlgn="base" hangingPunct="1">
              <a:spcBef>
                <a:spcPts val="300"/>
              </a:spcBef>
              <a:spcAft>
                <a:spcPts val="300"/>
              </a:spcAft>
              <a:buClr>
                <a:schemeClr val="tx1">
                  <a:lumMod val="75000"/>
                  <a:lumOff val="25000"/>
                </a:schemeClr>
              </a:buClr>
              <a:buSzPct val="110000"/>
              <a:buFont typeface="Arial Black" pitchFamily="34" charset="0"/>
              <a:buChar char="–"/>
              <a:defRPr sz="1600">
                <a:solidFill>
                  <a:srgbClr val="3C3C3C"/>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0" indent="0">
              <a:buNone/>
            </a:pPr>
            <a:r>
              <a:rPr lang="en-US" sz="2000" b="1" dirty="0">
                <a:solidFill>
                  <a:schemeClr val="accent1"/>
                </a:solidFill>
                <a:latin typeface="Arial"/>
                <a:cs typeface="Arial"/>
              </a:rPr>
              <a:t>Le System Architect/Engineer </a:t>
            </a:r>
            <a:r>
              <a:rPr lang="en-US" sz="2000" dirty="0" err="1">
                <a:latin typeface="Arial"/>
                <a:cs typeface="Arial"/>
              </a:rPr>
              <a:t>donne</a:t>
            </a:r>
            <a:r>
              <a:rPr lang="en-US" sz="2000" dirty="0">
                <a:latin typeface="Arial"/>
                <a:cs typeface="Arial"/>
              </a:rPr>
              <a:t> les </a:t>
            </a:r>
            <a:r>
              <a:rPr lang="en-US" sz="2000" dirty="0" err="1">
                <a:latin typeface="Arial"/>
                <a:cs typeface="Arial"/>
              </a:rPr>
              <a:t>consignes</a:t>
            </a:r>
            <a:r>
              <a:rPr lang="en-US" sz="2000" dirty="0">
                <a:latin typeface="Arial"/>
                <a:cs typeface="Arial"/>
              </a:rPr>
              <a:t> sur </a:t>
            </a:r>
            <a:r>
              <a:rPr lang="en-US" sz="2000" dirty="0" err="1">
                <a:latin typeface="Arial"/>
                <a:cs typeface="Arial"/>
              </a:rPr>
              <a:t>l’architecture</a:t>
            </a:r>
            <a:r>
              <a:rPr lang="en-US" sz="2000" dirty="0">
                <a:latin typeface="Arial"/>
                <a:cs typeface="Arial"/>
              </a:rPr>
              <a:t> et </a:t>
            </a:r>
            <a:r>
              <a:rPr lang="en-US" sz="2000" dirty="0" err="1">
                <a:latin typeface="Arial"/>
                <a:cs typeface="Arial"/>
              </a:rPr>
              <a:t>donne</a:t>
            </a:r>
            <a:r>
              <a:rPr lang="en-US" sz="2000" dirty="0">
                <a:latin typeface="Arial"/>
                <a:cs typeface="Arial"/>
              </a:rPr>
              <a:t> des </a:t>
            </a:r>
            <a:r>
              <a:rPr lang="en-US" sz="2000" dirty="0" err="1">
                <a:latin typeface="Arial"/>
                <a:cs typeface="Arial"/>
              </a:rPr>
              <a:t>conseils</a:t>
            </a:r>
            <a:r>
              <a:rPr lang="en-US" sz="2000" dirty="0">
                <a:latin typeface="Arial"/>
                <a:cs typeface="Arial"/>
              </a:rPr>
              <a:t> techniques aux </a:t>
            </a:r>
            <a:r>
              <a:rPr lang="en-US" sz="2000" dirty="0" err="1">
                <a:latin typeface="Arial"/>
                <a:cs typeface="Arial"/>
              </a:rPr>
              <a:t>équipes</a:t>
            </a:r>
            <a:endParaRPr lang="en-US" sz="2000" dirty="0">
              <a:latin typeface="Arial"/>
              <a:cs typeface="Arial"/>
            </a:endParaRPr>
          </a:p>
          <a:p>
            <a:pPr marL="0" indent="0">
              <a:spcBef>
                <a:spcPts val="900"/>
              </a:spcBef>
              <a:spcAft>
                <a:spcPts val="300"/>
              </a:spcAft>
              <a:buNone/>
            </a:pPr>
            <a:endParaRPr lang="en-US" sz="2000" dirty="0">
              <a:latin typeface="Arial"/>
              <a:cs typeface="Arial"/>
            </a:endParaRPr>
          </a:p>
        </p:txBody>
      </p:sp>
      <p:sp>
        <p:nvSpPr>
          <p:cNvPr id="50" name="Content Placeholder 2">
            <a:extLst>
              <a:ext uri="{FF2B5EF4-FFF2-40B4-BE49-F238E27FC236}">
                <a16:creationId xmlns:a16="http://schemas.microsoft.com/office/drawing/2014/main" id="{FDA34856-F0F4-4BC6-B1D9-FC517EC15707}"/>
              </a:ext>
            </a:extLst>
          </p:cNvPr>
          <p:cNvSpPr txBox="1">
            <a:spLocks/>
          </p:cNvSpPr>
          <p:nvPr>
            <p:custDataLst>
              <p:tags r:id="rId4"/>
            </p:custDataLst>
          </p:nvPr>
        </p:nvSpPr>
        <p:spPr bwMode="auto">
          <a:xfrm>
            <a:off x="1810065" y="4183367"/>
            <a:ext cx="10381935" cy="526971"/>
          </a:xfrm>
          <a:prstGeom prst="rect">
            <a:avLst/>
          </a:prstGeom>
          <a:noFill/>
          <a:ln w="9525">
            <a:noFill/>
            <a:miter lim="800000"/>
            <a:headEnd/>
            <a:tailEnd/>
          </a:ln>
        </p:spPr>
        <p:txBody>
          <a:bodyPr vert="horz" wrap="square" lIns="68580" tIns="34290" rIns="68580" bIns="34290" numCol="1" anchor="t" anchorCtr="0" compatLnSpc="1">
            <a:prstTxWarp prst="textNoShape">
              <a:avLst/>
            </a:prstTxWarp>
            <a:noAutofit/>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rgbClr val="3C3C3C"/>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22000"/>
              <a:buFont typeface="Arial"/>
              <a:buChar char="•"/>
              <a:defRPr sz="2200">
                <a:solidFill>
                  <a:srgbClr val="3C3C3C"/>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Wingdings" charset="2"/>
              <a:buChar char="§"/>
              <a:defRPr lang="en-US" altLang="en-US" sz="2000" dirty="0" smtClean="0">
                <a:solidFill>
                  <a:srgbClr val="3C3C3C"/>
                </a:solidFill>
                <a:latin typeface="+mn-lt"/>
                <a:cs typeface="+mn-cs"/>
              </a:defRPr>
            </a:lvl3pPr>
            <a:lvl4pPr marL="1428750" indent="-285750" algn="l" rtl="0" eaLnBrk="1" fontAlgn="base" hangingPunct="1">
              <a:spcBef>
                <a:spcPts val="300"/>
              </a:spcBef>
              <a:spcAft>
                <a:spcPts val="300"/>
              </a:spcAft>
              <a:buClr>
                <a:schemeClr val="tx1">
                  <a:lumMod val="75000"/>
                  <a:lumOff val="25000"/>
                </a:schemeClr>
              </a:buClr>
              <a:buSzPct val="110000"/>
              <a:buFont typeface="Courier New"/>
              <a:buChar char="o"/>
              <a:defRPr sz="1800" baseline="0">
                <a:solidFill>
                  <a:srgbClr val="3C3C3C"/>
                </a:solidFill>
                <a:latin typeface="+mn-lt"/>
                <a:cs typeface="+mn-cs"/>
              </a:defRPr>
            </a:lvl4pPr>
            <a:lvl5pPr marL="1662113" indent="-227013" algn="l" rtl="0" eaLnBrk="1" fontAlgn="base" hangingPunct="1">
              <a:spcBef>
                <a:spcPts val="300"/>
              </a:spcBef>
              <a:spcAft>
                <a:spcPts val="300"/>
              </a:spcAft>
              <a:buClr>
                <a:schemeClr val="tx1">
                  <a:lumMod val="75000"/>
                  <a:lumOff val="25000"/>
                </a:schemeClr>
              </a:buClr>
              <a:buSzPct val="110000"/>
              <a:buFont typeface="Arial Black" pitchFamily="34" charset="0"/>
              <a:buChar char="–"/>
              <a:defRPr sz="1600">
                <a:solidFill>
                  <a:srgbClr val="3C3C3C"/>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0" indent="0">
              <a:buNone/>
            </a:pPr>
            <a:r>
              <a:rPr lang="en-US" sz="2000" b="1" dirty="0">
                <a:solidFill>
                  <a:schemeClr val="accent1"/>
                </a:solidFill>
                <a:latin typeface="Arial"/>
                <a:cs typeface="Arial"/>
              </a:rPr>
              <a:t>La System Team </a:t>
            </a:r>
            <a:r>
              <a:rPr lang="en-US" sz="2000" dirty="0" err="1">
                <a:latin typeface="Arial"/>
                <a:cs typeface="Arial"/>
              </a:rPr>
              <a:t>fournit</a:t>
            </a:r>
            <a:r>
              <a:rPr lang="en-US" sz="2000" dirty="0">
                <a:latin typeface="Arial"/>
                <a:cs typeface="Arial"/>
              </a:rPr>
              <a:t> les </a:t>
            </a:r>
            <a:r>
              <a:rPr lang="en-US" sz="2000" dirty="0" err="1">
                <a:latin typeface="Arial"/>
                <a:cs typeface="Arial"/>
              </a:rPr>
              <a:t>méthodes</a:t>
            </a:r>
            <a:r>
              <a:rPr lang="en-US" sz="2000" dirty="0">
                <a:latin typeface="Arial"/>
                <a:cs typeface="Arial"/>
              </a:rPr>
              <a:t> et </a:t>
            </a:r>
            <a:r>
              <a:rPr lang="en-US" sz="2000" dirty="0" err="1">
                <a:latin typeface="Arial"/>
                <a:cs typeface="Arial"/>
              </a:rPr>
              <a:t>outils</a:t>
            </a:r>
            <a:r>
              <a:rPr lang="en-US" sz="2000" dirty="0">
                <a:latin typeface="Arial"/>
                <a:cs typeface="Arial"/>
              </a:rPr>
              <a:t> pour </a:t>
            </a:r>
            <a:r>
              <a:rPr lang="en-US" sz="2000" dirty="0" err="1">
                <a:latin typeface="Arial"/>
                <a:cs typeface="Arial"/>
              </a:rPr>
              <a:t>intégrer</a:t>
            </a:r>
            <a:r>
              <a:rPr lang="en-US" sz="2000" dirty="0">
                <a:latin typeface="Arial"/>
                <a:cs typeface="Arial"/>
              </a:rPr>
              <a:t> et </a:t>
            </a:r>
            <a:r>
              <a:rPr lang="en-US" sz="2000" dirty="0" err="1">
                <a:latin typeface="Arial"/>
                <a:cs typeface="Arial"/>
              </a:rPr>
              <a:t>évaluer</a:t>
            </a:r>
            <a:r>
              <a:rPr lang="en-US" sz="2000" dirty="0">
                <a:latin typeface="Arial"/>
                <a:cs typeface="Arial"/>
              </a:rPr>
              <a:t> les increments de </a:t>
            </a:r>
            <a:r>
              <a:rPr lang="en-US" sz="2000" dirty="0" err="1">
                <a:latin typeface="Arial"/>
                <a:cs typeface="Arial"/>
              </a:rPr>
              <a:t>produits</a:t>
            </a:r>
            <a:r>
              <a:rPr lang="en-US" sz="2000" dirty="0">
                <a:latin typeface="Arial"/>
                <a:cs typeface="Arial"/>
              </a:rPr>
              <a:t> au plus </a:t>
            </a:r>
            <a:r>
              <a:rPr lang="en-US" sz="2000" dirty="0" err="1">
                <a:latin typeface="Arial"/>
                <a:cs typeface="Arial"/>
              </a:rPr>
              <a:t>tôt</a:t>
            </a:r>
            <a:r>
              <a:rPr lang="en-US" sz="2000" dirty="0">
                <a:latin typeface="Arial"/>
                <a:cs typeface="Arial"/>
              </a:rPr>
              <a:t> et le plus </a:t>
            </a:r>
            <a:r>
              <a:rPr lang="en-US" sz="2000" dirty="0" err="1">
                <a:latin typeface="Arial"/>
                <a:cs typeface="Arial"/>
              </a:rPr>
              <a:t>souvent</a:t>
            </a:r>
            <a:r>
              <a:rPr lang="en-US" sz="2000" dirty="0">
                <a:latin typeface="Arial"/>
                <a:cs typeface="Arial"/>
              </a:rPr>
              <a:t> (</a:t>
            </a:r>
            <a:r>
              <a:rPr lang="en-US" sz="2000" dirty="0" err="1">
                <a:latin typeface="Arial"/>
                <a:cs typeface="Arial"/>
              </a:rPr>
              <a:t>Plateforme</a:t>
            </a:r>
            <a:r>
              <a:rPr lang="en-US" sz="2000" dirty="0">
                <a:latin typeface="Arial"/>
                <a:cs typeface="Arial"/>
              </a:rPr>
              <a:t>, </a:t>
            </a:r>
            <a:r>
              <a:rPr lang="en-US" sz="2000" dirty="0" err="1">
                <a:latin typeface="Arial"/>
                <a:cs typeface="Arial"/>
              </a:rPr>
              <a:t>Environnements</a:t>
            </a:r>
            <a:r>
              <a:rPr lang="en-US" sz="2000" dirty="0">
                <a:latin typeface="Arial"/>
                <a:cs typeface="Arial"/>
              </a:rPr>
              <a:t>, Infra, Testing,…).</a:t>
            </a:r>
          </a:p>
          <a:p>
            <a:pPr marL="0" indent="0">
              <a:buNone/>
            </a:pPr>
            <a:endParaRPr lang="en-US" sz="2000" dirty="0">
              <a:latin typeface="Arial"/>
              <a:cs typeface="Arial"/>
            </a:endParaRPr>
          </a:p>
        </p:txBody>
      </p:sp>
      <p:cxnSp>
        <p:nvCxnSpPr>
          <p:cNvPr id="51" name="Connecteur droit 50">
            <a:extLst>
              <a:ext uri="{FF2B5EF4-FFF2-40B4-BE49-F238E27FC236}">
                <a16:creationId xmlns:a16="http://schemas.microsoft.com/office/drawing/2014/main" id="{0805D82D-2217-4972-8641-275F34FE967C}"/>
              </a:ext>
            </a:extLst>
          </p:cNvPr>
          <p:cNvCxnSpPr/>
          <p:nvPr/>
        </p:nvCxnSpPr>
        <p:spPr>
          <a:xfrm>
            <a:off x="263353" y="2263668"/>
            <a:ext cx="11816012"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2" name="Connecteur droit 51">
            <a:extLst>
              <a:ext uri="{FF2B5EF4-FFF2-40B4-BE49-F238E27FC236}">
                <a16:creationId xmlns:a16="http://schemas.microsoft.com/office/drawing/2014/main" id="{01822D63-5B22-4400-A571-806E2B5C0285}"/>
              </a:ext>
            </a:extLst>
          </p:cNvPr>
          <p:cNvCxnSpPr/>
          <p:nvPr/>
        </p:nvCxnSpPr>
        <p:spPr>
          <a:xfrm>
            <a:off x="263353" y="3154350"/>
            <a:ext cx="11816012"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3" name="Connecteur droit 52">
            <a:extLst>
              <a:ext uri="{FF2B5EF4-FFF2-40B4-BE49-F238E27FC236}">
                <a16:creationId xmlns:a16="http://schemas.microsoft.com/office/drawing/2014/main" id="{FC7A3CDD-670F-401D-A05A-44DE6EC879C7}"/>
              </a:ext>
            </a:extLst>
          </p:cNvPr>
          <p:cNvCxnSpPr/>
          <p:nvPr/>
        </p:nvCxnSpPr>
        <p:spPr>
          <a:xfrm>
            <a:off x="263353" y="4048092"/>
            <a:ext cx="11816012"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4" name="Connecteur droit 53">
            <a:extLst>
              <a:ext uri="{FF2B5EF4-FFF2-40B4-BE49-F238E27FC236}">
                <a16:creationId xmlns:a16="http://schemas.microsoft.com/office/drawing/2014/main" id="{201486E4-DFCD-4D3D-9E3C-84B74E148AD5}"/>
              </a:ext>
            </a:extLst>
          </p:cNvPr>
          <p:cNvCxnSpPr/>
          <p:nvPr/>
        </p:nvCxnSpPr>
        <p:spPr>
          <a:xfrm>
            <a:off x="263353" y="5116030"/>
            <a:ext cx="11816012"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5" name="Connecteur droit 54">
            <a:extLst>
              <a:ext uri="{FF2B5EF4-FFF2-40B4-BE49-F238E27FC236}">
                <a16:creationId xmlns:a16="http://schemas.microsoft.com/office/drawing/2014/main" id="{8285CBBC-338F-46F8-81C5-6498A154C7BD}"/>
              </a:ext>
            </a:extLst>
          </p:cNvPr>
          <p:cNvCxnSpPr/>
          <p:nvPr/>
        </p:nvCxnSpPr>
        <p:spPr>
          <a:xfrm>
            <a:off x="251486" y="5962662"/>
            <a:ext cx="11816012"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8086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27</a:t>
            </a:fld>
            <a:endParaRPr lang="fr-FR" dirty="0"/>
          </a:p>
        </p:txBody>
      </p:sp>
      <p:sp>
        <p:nvSpPr>
          <p:cNvPr id="5" name="Espace réservé du texte 4"/>
          <p:cNvSpPr>
            <a:spLocks noGrp="1"/>
          </p:cNvSpPr>
          <p:nvPr>
            <p:ph type="body" idx="1"/>
          </p:nvPr>
        </p:nvSpPr>
        <p:spPr/>
        <p:txBody>
          <a:bodyPr/>
          <a:lstStyle/>
          <a:p>
            <a:r>
              <a:rPr lang="fr-FR" dirty="0"/>
              <a:t>Les artefacts</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pic>
        <p:nvPicPr>
          <p:cNvPr id="21" name="Image 20">
            <a:extLst>
              <a:ext uri="{FF2B5EF4-FFF2-40B4-BE49-F238E27FC236}">
                <a16:creationId xmlns:a16="http://schemas.microsoft.com/office/drawing/2014/main" id="{9D75F1D7-80CA-49E0-B346-447C0DD46C87}"/>
              </a:ext>
            </a:extLst>
          </p:cNvPr>
          <p:cNvPicPr>
            <a:picLocks noChangeAspect="1"/>
          </p:cNvPicPr>
          <p:nvPr/>
        </p:nvPicPr>
        <p:blipFill>
          <a:blip r:embed="rId2"/>
          <a:stretch>
            <a:fillRect/>
          </a:stretch>
        </p:blipFill>
        <p:spPr>
          <a:xfrm>
            <a:off x="5447928" y="2168277"/>
            <a:ext cx="6744072" cy="4689723"/>
          </a:xfrm>
          <a:prstGeom prst="rect">
            <a:avLst/>
          </a:prstGeom>
        </p:spPr>
      </p:pic>
      <p:sp>
        <p:nvSpPr>
          <p:cNvPr id="24" name="Espace réservé du texte 6">
            <a:extLst>
              <a:ext uri="{FF2B5EF4-FFF2-40B4-BE49-F238E27FC236}">
                <a16:creationId xmlns:a16="http://schemas.microsoft.com/office/drawing/2014/main" id="{0345B6E3-708F-433B-84B7-075FE1F9A84E}"/>
              </a:ext>
            </a:extLst>
          </p:cNvPr>
          <p:cNvSpPr>
            <a:spLocks noGrp="1"/>
          </p:cNvSpPr>
          <p:nvPr>
            <p:ph type="body" sz="quarter" idx="13"/>
          </p:nvPr>
        </p:nvSpPr>
        <p:spPr>
          <a:xfrm>
            <a:off x="143708" y="2874722"/>
            <a:ext cx="5631760" cy="3629689"/>
          </a:xfrm>
        </p:spPr>
        <p:txBody>
          <a:bodyPr/>
          <a:lstStyle/>
          <a:p>
            <a:endParaRPr lang="en-US" dirty="0"/>
          </a:p>
          <a:p>
            <a:r>
              <a:rPr lang="en-US" sz="1800" dirty="0"/>
              <a:t>La </a:t>
            </a:r>
            <a:r>
              <a:rPr lang="en-US" sz="1800" b="1" dirty="0">
                <a:solidFill>
                  <a:schemeClr val="accent1"/>
                </a:solidFill>
              </a:rPr>
              <a:t>Team Backlog </a:t>
            </a:r>
            <a:r>
              <a:rPr lang="en-US" sz="1800" dirty="0" err="1"/>
              <a:t>contient</a:t>
            </a:r>
            <a:r>
              <a:rPr lang="en-US" sz="1800" dirty="0"/>
              <a:t> les </a:t>
            </a:r>
            <a:r>
              <a:rPr lang="en-US" sz="1800" b="1" dirty="0">
                <a:solidFill>
                  <a:schemeClr val="accent1"/>
                </a:solidFill>
              </a:rPr>
              <a:t>User Stories</a:t>
            </a:r>
            <a:r>
              <a:rPr lang="en-US" sz="1800" dirty="0"/>
              <a:t> issues :</a:t>
            </a:r>
          </a:p>
          <a:p>
            <a:pPr lvl="1"/>
            <a:r>
              <a:rPr lang="en-US" sz="1600" dirty="0"/>
              <a:t>du decoupage des Features</a:t>
            </a:r>
          </a:p>
          <a:p>
            <a:pPr lvl="1"/>
            <a:r>
              <a:rPr lang="en-US" sz="1600" dirty="0"/>
              <a:t>des </a:t>
            </a:r>
            <a:r>
              <a:rPr lang="en-US" sz="1600" dirty="0" err="1"/>
              <a:t>activités</a:t>
            </a:r>
            <a:r>
              <a:rPr lang="en-US" sz="1600" dirty="0"/>
              <a:t> de </a:t>
            </a:r>
            <a:r>
              <a:rPr lang="en-US" sz="1600" dirty="0" err="1"/>
              <a:t>l’équipe</a:t>
            </a:r>
            <a:r>
              <a:rPr lang="en-US" sz="1600" dirty="0"/>
              <a:t> </a:t>
            </a:r>
            <a:r>
              <a:rPr lang="en-US" sz="1600" dirty="0" err="1"/>
              <a:t>elle-même</a:t>
            </a:r>
            <a:endParaRPr lang="en-US" sz="1600" dirty="0"/>
          </a:p>
          <a:p>
            <a:pPr lvl="1"/>
            <a:r>
              <a:rPr lang="en-US" sz="1600" dirty="0"/>
              <a:t>des </a:t>
            </a:r>
            <a:r>
              <a:rPr lang="en-US" sz="1600" dirty="0" err="1"/>
              <a:t>activités</a:t>
            </a:r>
            <a:r>
              <a:rPr lang="en-US" sz="1600" dirty="0"/>
              <a:t> </a:t>
            </a:r>
            <a:r>
              <a:rPr lang="en-US" sz="1600" dirty="0" err="1"/>
              <a:t>impactées</a:t>
            </a:r>
            <a:r>
              <a:rPr lang="en-US" sz="1600" dirty="0"/>
              <a:t> par </a:t>
            </a:r>
            <a:r>
              <a:rPr lang="en-US" sz="1600" dirty="0" err="1"/>
              <a:t>l’extérieur</a:t>
            </a:r>
            <a:endParaRPr lang="en-US" sz="1600" dirty="0"/>
          </a:p>
          <a:p>
            <a:r>
              <a:rPr lang="en-US" sz="1600" dirty="0"/>
              <a:t>Les </a:t>
            </a:r>
            <a:r>
              <a:rPr lang="en-US" sz="1600" b="1" dirty="0">
                <a:solidFill>
                  <a:schemeClr val="accent1"/>
                </a:solidFill>
              </a:rPr>
              <a:t>NFRs (Non Functional Requirements)</a:t>
            </a:r>
            <a:r>
              <a:rPr lang="en-US" sz="1600" dirty="0"/>
              <a:t> </a:t>
            </a:r>
            <a:r>
              <a:rPr lang="en-US" sz="1600" dirty="0" err="1"/>
              <a:t>sont</a:t>
            </a:r>
            <a:r>
              <a:rPr lang="en-US" sz="1600" dirty="0"/>
              <a:t> les </a:t>
            </a:r>
            <a:r>
              <a:rPr lang="en-US" sz="1600" dirty="0" err="1"/>
              <a:t>contraintes</a:t>
            </a:r>
            <a:r>
              <a:rPr lang="en-US" sz="1600" dirty="0"/>
              <a:t>/exigences non </a:t>
            </a:r>
            <a:r>
              <a:rPr lang="en-US" sz="1600" dirty="0" err="1"/>
              <a:t>fonctionnelles</a:t>
            </a:r>
            <a:r>
              <a:rPr lang="en-US" sz="1600" dirty="0"/>
              <a:t> du type :</a:t>
            </a:r>
          </a:p>
          <a:p>
            <a:pPr lvl="1"/>
            <a:r>
              <a:rPr lang="en-US" sz="1600" dirty="0" err="1"/>
              <a:t>Sécurité</a:t>
            </a:r>
            <a:r>
              <a:rPr lang="en-US" sz="1600" dirty="0"/>
              <a:t>, Performance, </a:t>
            </a:r>
          </a:p>
          <a:p>
            <a:pPr lvl="1"/>
            <a:r>
              <a:rPr lang="en-US" sz="1600" dirty="0" err="1"/>
              <a:t>Scalabilité</a:t>
            </a:r>
            <a:r>
              <a:rPr lang="en-US" sz="1600" dirty="0"/>
              <a:t>, </a:t>
            </a:r>
            <a:r>
              <a:rPr lang="en-US" sz="1600" dirty="0" err="1"/>
              <a:t>Maintenabilité</a:t>
            </a:r>
            <a:r>
              <a:rPr lang="en-US" sz="1600" dirty="0"/>
              <a:t>, </a:t>
            </a:r>
          </a:p>
          <a:p>
            <a:pPr lvl="1"/>
            <a:r>
              <a:rPr lang="en-US" sz="1600" dirty="0" err="1"/>
              <a:t>Utilisabilité</a:t>
            </a:r>
            <a:r>
              <a:rPr lang="en-US" sz="1600" dirty="0"/>
              <a:t>, </a:t>
            </a:r>
            <a:r>
              <a:rPr lang="en-US" sz="1600" dirty="0" err="1"/>
              <a:t>Fiabilité</a:t>
            </a:r>
            <a:r>
              <a:rPr lang="en-US" sz="1600" dirty="0"/>
              <a:t>…</a:t>
            </a:r>
          </a:p>
        </p:txBody>
      </p:sp>
      <p:sp>
        <p:nvSpPr>
          <p:cNvPr id="27" name="Espace réservé du texte 6">
            <a:extLst>
              <a:ext uri="{FF2B5EF4-FFF2-40B4-BE49-F238E27FC236}">
                <a16:creationId xmlns:a16="http://schemas.microsoft.com/office/drawing/2014/main" id="{9A07D346-A9CC-429A-9642-40453700E4C3}"/>
              </a:ext>
            </a:extLst>
          </p:cNvPr>
          <p:cNvSpPr txBox="1">
            <a:spLocks/>
          </p:cNvSpPr>
          <p:nvPr/>
        </p:nvSpPr>
        <p:spPr>
          <a:xfrm>
            <a:off x="143708" y="1321874"/>
            <a:ext cx="8262873" cy="1751503"/>
          </a:xfrm>
          <a:prstGeom prst="rect">
            <a:avLst/>
          </a:prstGeom>
        </p:spPr>
        <p:txBody>
          <a:bodyPr vert="horz" lIns="0" tIns="0" rIns="0" bIns="0" rtlCol="0">
            <a:noAutofit/>
          </a:bodyPr>
          <a:lstStyle>
            <a:lvl1pPr marL="355600" indent="-355600" algn="l" defTabSz="914400" rtl="0" eaLnBrk="1" latinLnBrk="0" hangingPunct="1">
              <a:lnSpc>
                <a:spcPct val="100000"/>
              </a:lnSpc>
              <a:spcBef>
                <a:spcPts val="600"/>
              </a:spcBef>
              <a:buClr>
                <a:schemeClr val="tx2"/>
              </a:buClr>
              <a:buSzPct val="60000"/>
              <a:buFontTx/>
              <a:buBlip>
                <a:blip r:embed="rId3"/>
              </a:buBlip>
              <a:defRPr sz="1800" b="1" kern="1200">
                <a:solidFill>
                  <a:schemeClr val="tx1"/>
                </a:solidFill>
                <a:latin typeface="+mn-lt"/>
                <a:ea typeface="+mn-ea"/>
                <a:cs typeface="+mn-cs"/>
              </a:defRPr>
            </a:lvl1pPr>
            <a:lvl2pPr marL="630238" indent="-274638" algn="l" defTabSz="914400" rtl="0" eaLnBrk="1" latinLnBrk="0" hangingPunct="1">
              <a:lnSpc>
                <a:spcPct val="100000"/>
              </a:lnSpc>
              <a:spcBef>
                <a:spcPts val="600"/>
              </a:spcBef>
              <a:buClr>
                <a:schemeClr val="tx1">
                  <a:lumMod val="60000"/>
                  <a:lumOff val="40000"/>
                </a:schemeClr>
              </a:buClr>
              <a:buSzPct val="40000"/>
              <a:buFontTx/>
              <a:buBlip>
                <a:blip r:embed="rId4"/>
              </a:buBlip>
              <a:defRPr sz="1800" kern="1200">
                <a:solidFill>
                  <a:schemeClr val="tx1"/>
                </a:solidFill>
                <a:latin typeface="+mn-lt"/>
                <a:ea typeface="+mn-ea"/>
                <a:cs typeface="+mn-cs"/>
              </a:defRPr>
            </a:lvl2pPr>
            <a:lvl3pPr marL="7207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893763" indent="0" algn="l" defTabSz="914400" rtl="0" eaLnBrk="1" latinLnBrk="0" hangingPunct="1">
              <a:lnSpc>
                <a:spcPct val="100000"/>
              </a:lnSpc>
              <a:spcBef>
                <a:spcPts val="600"/>
              </a:spcBef>
              <a:buFont typeface="Arial" panose="020B0604020202020204" pitchFamily="34" charset="0"/>
              <a:buNone/>
              <a:defRPr sz="120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a:p>
            <a:r>
              <a:rPr lang="en-US" sz="1800" dirty="0"/>
              <a:t>Le </a:t>
            </a:r>
            <a:r>
              <a:rPr lang="en-US" sz="1800" b="1" dirty="0">
                <a:solidFill>
                  <a:schemeClr val="accent1"/>
                </a:solidFill>
              </a:rPr>
              <a:t>Program Backlog </a:t>
            </a:r>
            <a:r>
              <a:rPr lang="en-US" sz="1800" dirty="0" err="1"/>
              <a:t>contient</a:t>
            </a:r>
            <a:r>
              <a:rPr lang="en-US" sz="1800" dirty="0"/>
              <a:t> les </a:t>
            </a:r>
            <a:r>
              <a:rPr lang="en-US" sz="1800" b="1" dirty="0">
                <a:solidFill>
                  <a:schemeClr val="accent1"/>
                </a:solidFill>
              </a:rPr>
              <a:t>Features et Enablers </a:t>
            </a:r>
            <a:r>
              <a:rPr lang="en-US" sz="1800" dirty="0"/>
              <a:t>du </a:t>
            </a:r>
            <a:r>
              <a:rPr lang="en-US" sz="1800" dirty="0" err="1"/>
              <a:t>Programme</a:t>
            </a:r>
            <a:endParaRPr lang="en-US" dirty="0"/>
          </a:p>
          <a:p>
            <a:pPr lvl="1"/>
            <a:r>
              <a:rPr lang="en-US" dirty="0"/>
              <a:t>Un </a:t>
            </a:r>
            <a:r>
              <a:rPr lang="en-US" b="1" dirty="0">
                <a:solidFill>
                  <a:schemeClr val="accent1"/>
                </a:solidFill>
              </a:rPr>
              <a:t>Enabler </a:t>
            </a:r>
            <a:r>
              <a:rPr lang="en-US" dirty="0" err="1"/>
              <a:t>est</a:t>
            </a:r>
            <a:r>
              <a:rPr lang="en-US" dirty="0"/>
              <a:t> un </a:t>
            </a:r>
            <a:r>
              <a:rPr lang="en-US" dirty="0" err="1"/>
              <a:t>sujet</a:t>
            </a:r>
            <a:r>
              <a:rPr lang="en-US" dirty="0"/>
              <a:t> technique du type Exploration, Infrastructure, </a:t>
            </a:r>
            <a:r>
              <a:rPr lang="en-US" dirty="0" err="1"/>
              <a:t>Conformité</a:t>
            </a:r>
            <a:r>
              <a:rPr lang="en-US" dirty="0"/>
              <a:t> </a:t>
            </a:r>
            <a:r>
              <a:rPr lang="en-US" dirty="0" err="1"/>
              <a:t>ou</a:t>
            </a:r>
            <a:r>
              <a:rPr lang="en-US" dirty="0"/>
              <a:t> Architecture</a:t>
            </a:r>
          </a:p>
        </p:txBody>
      </p:sp>
    </p:spTree>
    <p:extLst>
      <p:ext uri="{BB962C8B-B14F-4D97-AF65-F5344CB8AC3E}">
        <p14:creationId xmlns:p14="http://schemas.microsoft.com/office/powerpoint/2010/main" val="4240062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28</a:t>
            </a:fld>
            <a:endParaRPr lang="fr-FR" dirty="0"/>
          </a:p>
        </p:txBody>
      </p:sp>
      <p:sp>
        <p:nvSpPr>
          <p:cNvPr id="5" name="Espace réservé du texte 4"/>
          <p:cNvSpPr>
            <a:spLocks noGrp="1"/>
          </p:cNvSpPr>
          <p:nvPr>
            <p:ph type="body" idx="1"/>
          </p:nvPr>
        </p:nvSpPr>
        <p:spPr/>
        <p:txBody>
          <a:bodyPr/>
          <a:lstStyle/>
          <a:p>
            <a:r>
              <a:rPr lang="fr-FR" dirty="0" err="1"/>
              <a:t>Features</a:t>
            </a:r>
            <a:r>
              <a:rPr lang="fr-FR" dirty="0"/>
              <a:t> et Stories</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sp>
        <p:nvSpPr>
          <p:cNvPr id="27" name="Espace réservé du texte 6">
            <a:extLst>
              <a:ext uri="{FF2B5EF4-FFF2-40B4-BE49-F238E27FC236}">
                <a16:creationId xmlns:a16="http://schemas.microsoft.com/office/drawing/2014/main" id="{9A07D346-A9CC-429A-9642-40453700E4C3}"/>
              </a:ext>
            </a:extLst>
          </p:cNvPr>
          <p:cNvSpPr txBox="1">
            <a:spLocks/>
          </p:cNvSpPr>
          <p:nvPr/>
        </p:nvSpPr>
        <p:spPr>
          <a:xfrm>
            <a:off x="240892" y="1884904"/>
            <a:ext cx="6772938" cy="3908613"/>
          </a:xfrm>
          <a:prstGeom prst="rect">
            <a:avLst/>
          </a:prstGeom>
        </p:spPr>
        <p:txBody>
          <a:bodyPr vert="horz" lIns="0" tIns="0" rIns="0" bIns="0" rtlCol="0">
            <a:noAutofit/>
          </a:bodyPr>
          <a:lstStyle>
            <a:lvl1pPr marL="355600" indent="-355600" algn="l" defTabSz="914400" rtl="0" eaLnBrk="1" latinLnBrk="0" hangingPunct="1">
              <a:lnSpc>
                <a:spcPct val="100000"/>
              </a:lnSpc>
              <a:spcBef>
                <a:spcPts val="600"/>
              </a:spcBef>
              <a:buClr>
                <a:schemeClr val="tx2"/>
              </a:buClr>
              <a:buSzPct val="60000"/>
              <a:buFontTx/>
              <a:buBlip>
                <a:blip r:embed="rId2"/>
              </a:buBlip>
              <a:defRPr sz="1800" b="1" kern="1200">
                <a:solidFill>
                  <a:schemeClr val="tx1"/>
                </a:solidFill>
                <a:latin typeface="+mn-lt"/>
                <a:ea typeface="+mn-ea"/>
                <a:cs typeface="+mn-cs"/>
              </a:defRPr>
            </a:lvl1pPr>
            <a:lvl2pPr marL="630238" indent="-274638" algn="l" defTabSz="914400" rtl="0" eaLnBrk="1" latinLnBrk="0" hangingPunct="1">
              <a:lnSpc>
                <a:spcPct val="100000"/>
              </a:lnSpc>
              <a:spcBef>
                <a:spcPts val="600"/>
              </a:spcBef>
              <a:buClr>
                <a:schemeClr val="tx1">
                  <a:lumMod val="60000"/>
                  <a:lumOff val="40000"/>
                </a:schemeClr>
              </a:buClr>
              <a:buSzPct val="40000"/>
              <a:buFontTx/>
              <a:buBlip>
                <a:blip r:embed="rId3"/>
              </a:buBlip>
              <a:defRPr sz="1800" kern="1200">
                <a:solidFill>
                  <a:schemeClr val="tx1"/>
                </a:solidFill>
                <a:latin typeface="+mn-lt"/>
                <a:ea typeface="+mn-ea"/>
                <a:cs typeface="+mn-cs"/>
              </a:defRPr>
            </a:lvl2pPr>
            <a:lvl3pPr marL="7207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893763" indent="0" algn="l" defTabSz="914400" rtl="0" eaLnBrk="1" latinLnBrk="0" hangingPunct="1">
              <a:lnSpc>
                <a:spcPct val="100000"/>
              </a:lnSpc>
              <a:spcBef>
                <a:spcPts val="600"/>
              </a:spcBef>
              <a:buFont typeface="Arial" panose="020B0604020202020204" pitchFamily="34" charset="0"/>
              <a:buNone/>
              <a:defRPr sz="120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Les </a:t>
            </a:r>
            <a:r>
              <a:rPr lang="en-US" sz="1800" b="1" dirty="0">
                <a:solidFill>
                  <a:schemeClr val="accent1"/>
                </a:solidFill>
              </a:rPr>
              <a:t>Features</a:t>
            </a:r>
            <a:r>
              <a:rPr lang="en-US" sz="1800" dirty="0"/>
              <a:t> </a:t>
            </a:r>
            <a:r>
              <a:rPr lang="en-US" sz="1800" dirty="0" err="1"/>
              <a:t>sont</a:t>
            </a:r>
            <a:r>
              <a:rPr lang="en-US" sz="1800" dirty="0"/>
              <a:t> </a:t>
            </a:r>
            <a:r>
              <a:rPr lang="en-US" sz="1800" dirty="0" err="1"/>
              <a:t>décomposées</a:t>
            </a:r>
            <a:r>
              <a:rPr lang="en-US" sz="1800" dirty="0"/>
              <a:t> </a:t>
            </a:r>
            <a:r>
              <a:rPr lang="en-US" sz="1800" dirty="0" err="1"/>
              <a:t>en</a:t>
            </a:r>
            <a:r>
              <a:rPr lang="en-US" sz="1800" dirty="0"/>
              <a:t> </a:t>
            </a:r>
            <a:r>
              <a:rPr lang="en-US" sz="1800" b="1" dirty="0">
                <a:solidFill>
                  <a:schemeClr val="accent1"/>
                </a:solidFill>
              </a:rPr>
              <a:t>Stories</a:t>
            </a:r>
            <a:r>
              <a:rPr lang="en-US" sz="1800" dirty="0"/>
              <a:t> par les </a:t>
            </a:r>
            <a:r>
              <a:rPr lang="en-US" sz="1800" dirty="0" err="1"/>
              <a:t>équipes</a:t>
            </a:r>
            <a:r>
              <a:rPr lang="en-US" sz="1800" dirty="0"/>
              <a:t> du train.</a:t>
            </a:r>
          </a:p>
          <a:p>
            <a:r>
              <a:rPr lang="en-US" sz="1800" dirty="0"/>
              <a:t>Les </a:t>
            </a:r>
            <a:r>
              <a:rPr lang="en-US" sz="1800" b="1" dirty="0">
                <a:solidFill>
                  <a:schemeClr val="accent1"/>
                </a:solidFill>
              </a:rPr>
              <a:t>Stories</a:t>
            </a:r>
            <a:r>
              <a:rPr lang="en-US" sz="1800" dirty="0"/>
              <a:t> </a:t>
            </a:r>
            <a:r>
              <a:rPr lang="en-US" sz="1800" dirty="0" err="1"/>
              <a:t>sont</a:t>
            </a:r>
            <a:r>
              <a:rPr lang="en-US" sz="1800" dirty="0"/>
              <a:t> des </a:t>
            </a:r>
            <a:r>
              <a:rPr lang="en-US" sz="1800" b="1" dirty="0">
                <a:solidFill>
                  <a:schemeClr val="accent1"/>
                </a:solidFill>
              </a:rPr>
              <a:t>petits </a:t>
            </a:r>
            <a:r>
              <a:rPr lang="en-US" sz="1800" b="1" dirty="0" err="1">
                <a:solidFill>
                  <a:schemeClr val="accent1"/>
                </a:solidFill>
              </a:rPr>
              <a:t>incréments</a:t>
            </a:r>
            <a:r>
              <a:rPr lang="en-US" sz="1800" b="1" dirty="0">
                <a:solidFill>
                  <a:schemeClr val="accent1"/>
                </a:solidFill>
              </a:rPr>
              <a:t> de </a:t>
            </a:r>
            <a:r>
              <a:rPr lang="en-US" sz="1800" b="1" dirty="0" err="1">
                <a:solidFill>
                  <a:schemeClr val="accent1"/>
                </a:solidFill>
              </a:rPr>
              <a:t>valeur</a:t>
            </a:r>
            <a:r>
              <a:rPr lang="en-US" sz="1800" b="1" dirty="0">
                <a:solidFill>
                  <a:schemeClr val="accent1"/>
                </a:solidFill>
              </a:rPr>
              <a:t> </a:t>
            </a:r>
            <a:r>
              <a:rPr lang="en-US" sz="1800" dirty="0"/>
              <a:t>qui </a:t>
            </a:r>
            <a:r>
              <a:rPr lang="en-US" sz="1800" dirty="0" err="1"/>
              <a:t>peuvent</a:t>
            </a:r>
            <a:r>
              <a:rPr lang="en-US" sz="1800" dirty="0"/>
              <a:t> </a:t>
            </a:r>
            <a:r>
              <a:rPr lang="en-US" sz="1800" dirty="0" err="1"/>
              <a:t>être</a:t>
            </a:r>
            <a:r>
              <a:rPr lang="en-US" sz="1800" dirty="0"/>
              <a:t> </a:t>
            </a:r>
            <a:r>
              <a:rPr lang="en-US" sz="1800" dirty="0" err="1"/>
              <a:t>développés</a:t>
            </a:r>
            <a:r>
              <a:rPr lang="en-US" sz="1800" dirty="0"/>
              <a:t> </a:t>
            </a:r>
            <a:r>
              <a:rPr lang="en-US" sz="1800" dirty="0" err="1"/>
              <a:t>en</a:t>
            </a:r>
            <a:r>
              <a:rPr lang="en-US" sz="1800" dirty="0"/>
              <a:t> </a:t>
            </a:r>
            <a:r>
              <a:rPr lang="en-US" sz="1800" dirty="0" err="1"/>
              <a:t>jours</a:t>
            </a:r>
            <a:r>
              <a:rPr lang="en-US" sz="1800" dirty="0"/>
              <a:t> et </a:t>
            </a:r>
            <a:r>
              <a:rPr lang="en-US" sz="1800" dirty="0" err="1"/>
              <a:t>relativement</a:t>
            </a:r>
            <a:r>
              <a:rPr lang="en-US" sz="1800" dirty="0"/>
              <a:t> </a:t>
            </a:r>
            <a:r>
              <a:rPr lang="en-US" sz="1800" dirty="0" err="1"/>
              <a:t>faciles</a:t>
            </a:r>
            <a:r>
              <a:rPr lang="en-US" sz="1800" dirty="0"/>
              <a:t> à </a:t>
            </a:r>
            <a:r>
              <a:rPr lang="en-US" sz="1800" dirty="0" err="1"/>
              <a:t>estimer</a:t>
            </a:r>
            <a:r>
              <a:rPr lang="en-US" sz="1800" dirty="0"/>
              <a:t>.</a:t>
            </a:r>
          </a:p>
          <a:p>
            <a:r>
              <a:rPr lang="en-US" sz="1800" dirty="0"/>
              <a:t>Les </a:t>
            </a:r>
            <a:r>
              <a:rPr lang="en-US" sz="1800" dirty="0" err="1"/>
              <a:t>équipes</a:t>
            </a:r>
            <a:r>
              <a:rPr lang="en-US" sz="1800" dirty="0"/>
              <a:t> du train </a:t>
            </a:r>
            <a:r>
              <a:rPr lang="en-US" sz="1800" dirty="0" err="1"/>
              <a:t>collaborent</a:t>
            </a:r>
            <a:r>
              <a:rPr lang="en-US" sz="1800" dirty="0"/>
              <a:t> </a:t>
            </a:r>
            <a:r>
              <a:rPr lang="en-US" sz="1800" dirty="0" err="1"/>
              <a:t>afin</a:t>
            </a:r>
            <a:r>
              <a:rPr lang="en-US" sz="1800" dirty="0"/>
              <a:t> de </a:t>
            </a:r>
            <a:r>
              <a:rPr lang="en-US" sz="1800" dirty="0" err="1"/>
              <a:t>livrer</a:t>
            </a:r>
            <a:r>
              <a:rPr lang="en-US" sz="1800" dirty="0"/>
              <a:t> des features de </a:t>
            </a:r>
            <a:r>
              <a:rPr lang="en-US" sz="1800" dirty="0" err="1"/>
              <a:t>façon</a:t>
            </a:r>
            <a:r>
              <a:rPr lang="en-US" sz="1800" dirty="0"/>
              <a:t> </a:t>
            </a:r>
            <a:r>
              <a:rPr lang="en-US" sz="1800" dirty="0" err="1"/>
              <a:t>incrémentale</a:t>
            </a:r>
            <a:r>
              <a:rPr lang="en-US" sz="1800" dirty="0"/>
              <a:t> via des User Stories (US)</a:t>
            </a:r>
          </a:p>
          <a:p>
            <a:r>
              <a:rPr lang="en-US" sz="1800" b="1" dirty="0">
                <a:solidFill>
                  <a:schemeClr val="accent1"/>
                </a:solidFill>
              </a:rPr>
              <a:t>Les Features </a:t>
            </a:r>
            <a:r>
              <a:rPr lang="en-US" sz="1800" b="1" dirty="0" err="1">
                <a:solidFill>
                  <a:schemeClr val="accent1"/>
                </a:solidFill>
              </a:rPr>
              <a:t>doivent</a:t>
            </a:r>
            <a:r>
              <a:rPr lang="en-US" sz="1800" b="1" dirty="0">
                <a:solidFill>
                  <a:schemeClr val="accent1"/>
                </a:solidFill>
              </a:rPr>
              <a:t> </a:t>
            </a:r>
            <a:r>
              <a:rPr lang="en-US" sz="1800" b="1" dirty="0" err="1">
                <a:solidFill>
                  <a:schemeClr val="accent1"/>
                </a:solidFill>
              </a:rPr>
              <a:t>être</a:t>
            </a:r>
            <a:r>
              <a:rPr lang="en-US" sz="1800" b="1" dirty="0">
                <a:solidFill>
                  <a:schemeClr val="accent1"/>
                </a:solidFill>
              </a:rPr>
              <a:t> </a:t>
            </a:r>
            <a:r>
              <a:rPr lang="en-US" sz="1800" b="1" dirty="0" err="1">
                <a:solidFill>
                  <a:schemeClr val="accent1"/>
                </a:solidFill>
              </a:rPr>
              <a:t>réalisées</a:t>
            </a:r>
            <a:r>
              <a:rPr lang="en-US" sz="1800" b="1" dirty="0">
                <a:solidFill>
                  <a:schemeClr val="accent1"/>
                </a:solidFill>
              </a:rPr>
              <a:t> dans un PI</a:t>
            </a:r>
            <a:r>
              <a:rPr lang="en-US" sz="1800" dirty="0"/>
              <a:t> pour un train</a:t>
            </a:r>
          </a:p>
          <a:p>
            <a:r>
              <a:rPr lang="en-US" sz="1800" b="1" dirty="0">
                <a:solidFill>
                  <a:schemeClr val="accent1"/>
                </a:solidFill>
              </a:rPr>
              <a:t>Les User Stories dans </a:t>
            </a:r>
            <a:r>
              <a:rPr lang="en-US" sz="1800" b="1" dirty="0" err="1">
                <a:solidFill>
                  <a:schemeClr val="accent1"/>
                </a:solidFill>
              </a:rPr>
              <a:t>une</a:t>
            </a:r>
            <a:r>
              <a:rPr lang="en-US" sz="1800" b="1" dirty="0">
                <a:solidFill>
                  <a:schemeClr val="accent1"/>
                </a:solidFill>
              </a:rPr>
              <a:t> </a:t>
            </a:r>
            <a:r>
              <a:rPr lang="en-US" sz="1800" b="1" dirty="0" err="1">
                <a:solidFill>
                  <a:schemeClr val="accent1"/>
                </a:solidFill>
              </a:rPr>
              <a:t>Itération</a:t>
            </a:r>
            <a:r>
              <a:rPr lang="en-US" sz="1800" b="1" dirty="0">
                <a:solidFill>
                  <a:schemeClr val="accent1"/>
                </a:solidFill>
              </a:rPr>
              <a:t> (Sprint) </a:t>
            </a:r>
            <a:r>
              <a:rPr lang="en-US" sz="1800" dirty="0"/>
              <a:t>pour </a:t>
            </a:r>
            <a:r>
              <a:rPr lang="en-US" sz="1800" dirty="0" err="1"/>
              <a:t>une</a:t>
            </a:r>
            <a:r>
              <a:rPr lang="en-US" sz="1800" dirty="0"/>
              <a:t> </a:t>
            </a:r>
            <a:r>
              <a:rPr lang="en-US" sz="1800" dirty="0" err="1"/>
              <a:t>équipe</a:t>
            </a:r>
            <a:r>
              <a:rPr lang="en-US" sz="1800" dirty="0"/>
              <a:t> Agile.</a:t>
            </a:r>
          </a:p>
        </p:txBody>
      </p:sp>
      <p:grpSp>
        <p:nvGrpSpPr>
          <p:cNvPr id="11" name="Group 40">
            <a:extLst>
              <a:ext uri="{FF2B5EF4-FFF2-40B4-BE49-F238E27FC236}">
                <a16:creationId xmlns:a16="http://schemas.microsoft.com/office/drawing/2014/main" id="{89666329-6FBE-4626-9C7C-F5AB5992E1FA}"/>
              </a:ext>
            </a:extLst>
          </p:cNvPr>
          <p:cNvGrpSpPr/>
          <p:nvPr/>
        </p:nvGrpSpPr>
        <p:grpSpPr>
          <a:xfrm>
            <a:off x="7098939" y="1109079"/>
            <a:ext cx="4852169" cy="4932990"/>
            <a:chOff x="4101523" y="1062185"/>
            <a:chExt cx="4778166" cy="4772966"/>
          </a:xfrm>
        </p:grpSpPr>
        <p:sp>
          <p:nvSpPr>
            <p:cNvPr id="12" name="Загнутый угол 7">
              <a:extLst>
                <a:ext uri="{FF2B5EF4-FFF2-40B4-BE49-F238E27FC236}">
                  <a16:creationId xmlns:a16="http://schemas.microsoft.com/office/drawing/2014/main" id="{9AB42339-4989-4CE1-B287-66B3F9D27A40}"/>
                </a:ext>
              </a:extLst>
            </p:cNvPr>
            <p:cNvSpPr/>
            <p:nvPr/>
          </p:nvSpPr>
          <p:spPr>
            <a:xfrm>
              <a:off x="4135722" y="2958033"/>
              <a:ext cx="1833616" cy="853232"/>
            </a:xfrm>
            <a:prstGeom prst="foldedCorner">
              <a:avLst>
                <a:gd name="adj" fmla="val 15719"/>
              </a:avLst>
            </a:prstGeom>
            <a:solidFill>
              <a:srgbClr val="455797"/>
            </a:solidFill>
            <a:ln>
              <a:noFill/>
            </a:ln>
            <a:effectLst/>
          </p:spPr>
          <p:style>
            <a:lnRef idx="1">
              <a:schemeClr val="accent6"/>
            </a:lnRef>
            <a:fillRef idx="2">
              <a:schemeClr val="accent6"/>
            </a:fillRef>
            <a:effectRef idx="1">
              <a:schemeClr val="accent6"/>
            </a:effectRef>
            <a:fontRef idx="minor">
              <a:schemeClr val="dk1"/>
            </a:fontRef>
          </p:style>
          <p:txBody>
            <a:bodyPr lIns="91440" tIns="137160" rIns="91440" bIns="0" rtlCol="0" anchor="ctr"/>
            <a:lstStyle/>
            <a:p>
              <a:r>
                <a:rPr lang="en-US" sz="1200" i="1" dirty="0" err="1">
                  <a:solidFill>
                    <a:schemeClr val="bg1"/>
                  </a:solidFill>
                </a:rPr>
                <a:t>En</a:t>
              </a:r>
              <a:r>
                <a:rPr lang="en-US" sz="1200" i="1" dirty="0">
                  <a:solidFill>
                    <a:schemeClr val="bg1"/>
                  </a:solidFill>
                </a:rPr>
                <a:t> </a:t>
              </a:r>
              <a:r>
                <a:rPr lang="en-US" sz="1200" i="1" dirty="0" err="1">
                  <a:solidFill>
                    <a:schemeClr val="bg1"/>
                  </a:solidFill>
                </a:rPr>
                <a:t>tant</a:t>
              </a:r>
              <a:r>
                <a:rPr lang="en-US" sz="1200" i="1" dirty="0">
                  <a:solidFill>
                    <a:schemeClr val="bg1"/>
                  </a:solidFill>
                </a:rPr>
                <a:t> </a:t>
              </a:r>
              <a:r>
                <a:rPr lang="en-US" sz="1200" i="1" dirty="0" err="1">
                  <a:solidFill>
                    <a:schemeClr val="bg1"/>
                  </a:solidFill>
                </a:rPr>
                <a:t>qu’acheteur</a:t>
              </a:r>
              <a:r>
                <a:rPr lang="en-US" sz="1200" i="1" dirty="0">
                  <a:solidFill>
                    <a:schemeClr val="bg1"/>
                  </a:solidFill>
                </a:rPr>
                <a:t> sur Internet, je </a:t>
              </a:r>
              <a:r>
                <a:rPr lang="en-US" sz="1200" i="1" dirty="0" err="1">
                  <a:solidFill>
                    <a:schemeClr val="bg1"/>
                  </a:solidFill>
                </a:rPr>
                <a:t>peux</a:t>
              </a:r>
              <a:r>
                <a:rPr lang="en-US" sz="1200" i="1" dirty="0">
                  <a:solidFill>
                    <a:schemeClr val="bg1"/>
                  </a:solidFill>
                </a:rPr>
                <a:t> payer via </a:t>
              </a:r>
              <a:r>
                <a:rPr lang="en-US" sz="1200" i="1" dirty="0" err="1">
                  <a:solidFill>
                    <a:schemeClr val="bg1"/>
                  </a:solidFill>
                </a:rPr>
                <a:t>Paypal</a:t>
              </a:r>
              <a:r>
                <a:rPr lang="en-US" sz="1200" i="1" dirty="0">
                  <a:solidFill>
                    <a:schemeClr val="bg1"/>
                  </a:solidFill>
                </a:rPr>
                <a:t> </a:t>
              </a:r>
              <a:r>
                <a:rPr lang="en-US" sz="1200" i="1" dirty="0" err="1">
                  <a:solidFill>
                    <a:schemeClr val="bg1"/>
                  </a:solidFill>
                </a:rPr>
                <a:t>afin</a:t>
              </a:r>
              <a:r>
                <a:rPr lang="en-US" sz="1200" i="1" dirty="0">
                  <a:solidFill>
                    <a:schemeClr val="bg1"/>
                  </a:solidFill>
                </a:rPr>
                <a:t> de commander mon livre.</a:t>
              </a:r>
              <a:endParaRPr lang="ru-RU" sz="1200" i="1" dirty="0">
                <a:solidFill>
                  <a:schemeClr val="bg1"/>
                </a:solidFill>
              </a:endParaRPr>
            </a:p>
          </p:txBody>
        </p:sp>
        <p:sp>
          <p:nvSpPr>
            <p:cNvPr id="13" name="Загнутый угол 7">
              <a:extLst>
                <a:ext uri="{FF2B5EF4-FFF2-40B4-BE49-F238E27FC236}">
                  <a16:creationId xmlns:a16="http://schemas.microsoft.com/office/drawing/2014/main" id="{2AFC6153-8953-4278-9BB2-8CFA775AC6AE}"/>
                </a:ext>
              </a:extLst>
            </p:cNvPr>
            <p:cNvSpPr/>
            <p:nvPr/>
          </p:nvSpPr>
          <p:spPr>
            <a:xfrm>
              <a:off x="4101523" y="4731416"/>
              <a:ext cx="1871476" cy="1103735"/>
            </a:xfrm>
            <a:prstGeom prst="foldedCorner">
              <a:avLst>
                <a:gd name="adj" fmla="val 15719"/>
              </a:avLst>
            </a:prstGeom>
            <a:solidFill>
              <a:srgbClr val="455797"/>
            </a:solidFill>
            <a:ln>
              <a:noFill/>
            </a:ln>
            <a:effectLst/>
          </p:spPr>
          <p:style>
            <a:lnRef idx="1">
              <a:schemeClr val="accent6"/>
            </a:lnRef>
            <a:fillRef idx="2">
              <a:schemeClr val="accent6"/>
            </a:fillRef>
            <a:effectRef idx="1">
              <a:schemeClr val="accent6"/>
            </a:effectRef>
            <a:fontRef idx="minor">
              <a:schemeClr val="dk1"/>
            </a:fontRef>
          </p:style>
          <p:txBody>
            <a:bodyPr lIns="91440" tIns="137160" rIns="91440" bIns="0" rtlCol="0" anchor="ctr"/>
            <a:lstStyle/>
            <a:p>
              <a:r>
                <a:rPr lang="en-US" sz="1100" i="1" dirty="0" err="1">
                  <a:solidFill>
                    <a:schemeClr val="bg1"/>
                  </a:solidFill>
                </a:rPr>
                <a:t>En</a:t>
              </a:r>
              <a:r>
                <a:rPr lang="en-US" sz="1100" i="1" dirty="0">
                  <a:solidFill>
                    <a:schemeClr val="bg1"/>
                  </a:solidFill>
                </a:rPr>
                <a:t> </a:t>
              </a:r>
              <a:r>
                <a:rPr lang="en-US" sz="1100" i="1" dirty="0" err="1">
                  <a:solidFill>
                    <a:schemeClr val="bg1"/>
                  </a:solidFill>
                </a:rPr>
                <a:t>tant</a:t>
              </a:r>
              <a:r>
                <a:rPr lang="en-US" sz="1100" i="1" dirty="0">
                  <a:solidFill>
                    <a:schemeClr val="bg1"/>
                  </a:solidFill>
                </a:rPr>
                <a:t> </a:t>
              </a:r>
              <a:r>
                <a:rPr lang="en-US" sz="1100" i="1" dirty="0" err="1">
                  <a:solidFill>
                    <a:schemeClr val="bg1"/>
                  </a:solidFill>
                </a:rPr>
                <a:t>qu’acheteur</a:t>
              </a:r>
              <a:r>
                <a:rPr lang="en-US" sz="1100" i="1" dirty="0">
                  <a:solidFill>
                    <a:schemeClr val="bg1"/>
                  </a:solidFill>
                </a:rPr>
                <a:t> sur Mobile, je </a:t>
              </a:r>
              <a:r>
                <a:rPr lang="en-US" sz="1100" i="1" dirty="0" err="1">
                  <a:solidFill>
                    <a:schemeClr val="bg1"/>
                  </a:solidFill>
                </a:rPr>
                <a:t>peux</a:t>
              </a:r>
              <a:r>
                <a:rPr lang="en-US" sz="1100" i="1" dirty="0">
                  <a:solidFill>
                    <a:schemeClr val="bg1"/>
                  </a:solidFill>
                </a:rPr>
                <a:t> payer via code SMS, </a:t>
              </a:r>
              <a:r>
                <a:rPr lang="en-US" sz="1100" i="1" dirty="0" err="1">
                  <a:solidFill>
                    <a:schemeClr val="bg1"/>
                  </a:solidFill>
                </a:rPr>
                <a:t>afin</a:t>
              </a:r>
              <a:r>
                <a:rPr lang="en-US" sz="1100" i="1" dirty="0">
                  <a:solidFill>
                    <a:schemeClr val="bg1"/>
                  </a:solidFill>
                </a:rPr>
                <a:t> de commander mon livre </a:t>
              </a:r>
              <a:r>
                <a:rPr lang="en-US" sz="1100" i="1" dirty="0" err="1">
                  <a:solidFill>
                    <a:schemeClr val="bg1"/>
                  </a:solidFill>
                </a:rPr>
                <a:t>depuis</a:t>
              </a:r>
              <a:r>
                <a:rPr lang="en-US" sz="1100" i="1" dirty="0">
                  <a:solidFill>
                    <a:schemeClr val="bg1"/>
                  </a:solidFill>
                </a:rPr>
                <a:t> mon smartphone</a:t>
              </a:r>
              <a:endParaRPr lang="ru-RU" sz="1100" i="1" dirty="0">
                <a:solidFill>
                  <a:schemeClr val="bg1"/>
                </a:solidFill>
              </a:endParaRPr>
            </a:p>
          </p:txBody>
        </p:sp>
        <p:sp>
          <p:nvSpPr>
            <p:cNvPr id="14" name="Загнутый угол 7">
              <a:extLst>
                <a:ext uri="{FF2B5EF4-FFF2-40B4-BE49-F238E27FC236}">
                  <a16:creationId xmlns:a16="http://schemas.microsoft.com/office/drawing/2014/main" id="{E0550B30-910F-4076-BAEC-FC99B37A8B3D}"/>
                </a:ext>
              </a:extLst>
            </p:cNvPr>
            <p:cNvSpPr/>
            <p:nvPr/>
          </p:nvSpPr>
          <p:spPr>
            <a:xfrm>
              <a:off x="7120779" y="4398124"/>
              <a:ext cx="1758910" cy="1112934"/>
            </a:xfrm>
            <a:prstGeom prst="foldedCorner">
              <a:avLst>
                <a:gd name="adj" fmla="val 15719"/>
              </a:avLst>
            </a:prstGeom>
            <a:solidFill>
              <a:srgbClr val="813F44"/>
            </a:solidFill>
            <a:ln>
              <a:noFill/>
            </a:ln>
            <a:effectLst/>
          </p:spPr>
          <p:style>
            <a:lnRef idx="1">
              <a:schemeClr val="accent6"/>
            </a:lnRef>
            <a:fillRef idx="2">
              <a:schemeClr val="accent6"/>
            </a:fillRef>
            <a:effectRef idx="1">
              <a:schemeClr val="accent6"/>
            </a:effectRef>
            <a:fontRef idx="minor">
              <a:schemeClr val="dk1"/>
            </a:fontRef>
          </p:style>
          <p:txBody>
            <a:bodyPr lIns="91440" tIns="137160" rIns="91440" bIns="0" rtlCol="0" anchor="ctr"/>
            <a:lstStyle/>
            <a:p>
              <a:r>
                <a:rPr lang="en-US" sz="1200" i="1" dirty="0">
                  <a:solidFill>
                    <a:schemeClr val="bg1"/>
                  </a:solidFill>
                </a:rPr>
                <a:t>Tester </a:t>
              </a:r>
              <a:r>
                <a:rPr lang="en-US" sz="1200" i="1" dirty="0" err="1">
                  <a:solidFill>
                    <a:schemeClr val="bg1"/>
                  </a:solidFill>
                </a:rPr>
                <a:t>une</a:t>
              </a:r>
              <a:r>
                <a:rPr lang="en-US" sz="1200" i="1" dirty="0">
                  <a:solidFill>
                    <a:schemeClr val="bg1"/>
                  </a:solidFill>
                </a:rPr>
                <a:t> solution </a:t>
              </a:r>
              <a:r>
                <a:rPr lang="en-US" sz="1200" i="1" dirty="0" err="1">
                  <a:solidFill>
                    <a:schemeClr val="bg1"/>
                  </a:solidFill>
                </a:rPr>
                <a:t>clés</a:t>
              </a:r>
              <a:r>
                <a:rPr lang="en-US" sz="1200" i="1" dirty="0">
                  <a:solidFill>
                    <a:schemeClr val="bg1"/>
                  </a:solidFill>
                </a:rPr>
                <a:t> </a:t>
              </a:r>
              <a:r>
                <a:rPr lang="en-US" sz="1200" i="1" dirty="0" err="1">
                  <a:solidFill>
                    <a:schemeClr val="bg1"/>
                  </a:solidFill>
                </a:rPr>
                <a:t>en</a:t>
              </a:r>
              <a:r>
                <a:rPr lang="en-US" sz="1200" i="1" dirty="0">
                  <a:solidFill>
                    <a:schemeClr val="bg1"/>
                  </a:solidFill>
                </a:rPr>
                <a:t> mains </a:t>
              </a:r>
              <a:r>
                <a:rPr lang="en-US" sz="1200" i="1" dirty="0" err="1">
                  <a:solidFill>
                    <a:schemeClr val="bg1"/>
                  </a:solidFill>
                </a:rPr>
                <a:t>afin</a:t>
              </a:r>
              <a:r>
                <a:rPr lang="en-US" sz="1200" i="1" dirty="0">
                  <a:solidFill>
                    <a:schemeClr val="bg1"/>
                  </a:solidFill>
                </a:rPr>
                <a:t> de </a:t>
              </a:r>
              <a:r>
                <a:rPr lang="en-US" sz="1200" i="1" dirty="0" err="1">
                  <a:solidFill>
                    <a:schemeClr val="bg1"/>
                  </a:solidFill>
                </a:rPr>
                <a:t>valider</a:t>
              </a:r>
              <a:r>
                <a:rPr lang="en-US" sz="1200" i="1" dirty="0">
                  <a:solidFill>
                    <a:schemeClr val="bg1"/>
                  </a:solidFill>
                </a:rPr>
                <a:t> le </a:t>
              </a:r>
              <a:r>
                <a:rPr lang="en-US" sz="1200" i="1" dirty="0" err="1">
                  <a:solidFill>
                    <a:schemeClr val="bg1"/>
                  </a:solidFill>
                </a:rPr>
                <a:t>choix</a:t>
              </a:r>
              <a:r>
                <a:rPr lang="en-US" sz="1200" i="1" dirty="0">
                  <a:solidFill>
                    <a:schemeClr val="bg1"/>
                  </a:solidFill>
                </a:rPr>
                <a:t> </a:t>
              </a:r>
              <a:r>
                <a:rPr lang="en-US" sz="1200" i="1" dirty="0" err="1">
                  <a:solidFill>
                    <a:schemeClr val="bg1"/>
                  </a:solidFill>
                </a:rPr>
                <a:t>d’implémentation</a:t>
              </a:r>
              <a:endParaRPr lang="ru-RU" sz="1200" i="1" dirty="0">
                <a:solidFill>
                  <a:schemeClr val="bg1"/>
                </a:solidFill>
              </a:endParaRPr>
            </a:p>
          </p:txBody>
        </p:sp>
        <p:sp>
          <p:nvSpPr>
            <p:cNvPr id="15" name="Загнутый угол 7">
              <a:extLst>
                <a:ext uri="{FF2B5EF4-FFF2-40B4-BE49-F238E27FC236}">
                  <a16:creationId xmlns:a16="http://schemas.microsoft.com/office/drawing/2014/main" id="{F7BF9466-9695-4F6E-B1D0-DA77E3F13C22}"/>
                </a:ext>
              </a:extLst>
            </p:cNvPr>
            <p:cNvSpPr/>
            <p:nvPr/>
          </p:nvSpPr>
          <p:spPr>
            <a:xfrm>
              <a:off x="7120779" y="2958033"/>
              <a:ext cx="1758910" cy="1270810"/>
            </a:xfrm>
            <a:prstGeom prst="foldedCorner">
              <a:avLst>
                <a:gd name="adj" fmla="val 15719"/>
              </a:avLst>
            </a:prstGeom>
            <a:solidFill>
              <a:srgbClr val="813F44"/>
            </a:solidFill>
            <a:ln>
              <a:noFill/>
            </a:ln>
            <a:effectLst/>
          </p:spPr>
          <p:style>
            <a:lnRef idx="1">
              <a:schemeClr val="accent6"/>
            </a:lnRef>
            <a:fillRef idx="2">
              <a:schemeClr val="accent6"/>
            </a:fillRef>
            <a:effectRef idx="1">
              <a:schemeClr val="accent6"/>
            </a:effectRef>
            <a:fontRef idx="minor">
              <a:schemeClr val="dk1"/>
            </a:fontRef>
          </p:style>
          <p:txBody>
            <a:bodyPr lIns="91440" tIns="137160" rIns="91440" bIns="0" rtlCol="0" anchor="ctr"/>
            <a:lstStyle/>
            <a:p>
              <a:r>
                <a:rPr lang="en-US" sz="1200" i="1" dirty="0">
                  <a:solidFill>
                    <a:schemeClr val="bg1"/>
                  </a:solidFill>
                </a:rPr>
                <a:t>Tester les types de </a:t>
              </a:r>
              <a:r>
                <a:rPr lang="en-US" sz="1200" i="1" dirty="0" err="1">
                  <a:solidFill>
                    <a:schemeClr val="bg1"/>
                  </a:solidFill>
                </a:rPr>
                <a:t>paiement</a:t>
              </a:r>
              <a:r>
                <a:rPr lang="en-US" sz="1200" i="1" dirty="0">
                  <a:solidFill>
                    <a:schemeClr val="bg1"/>
                  </a:solidFill>
                </a:rPr>
                <a:t> via bitcoins </a:t>
              </a:r>
              <a:r>
                <a:rPr lang="en-US" sz="1200" i="1" dirty="0" err="1">
                  <a:solidFill>
                    <a:schemeClr val="bg1"/>
                  </a:solidFill>
                </a:rPr>
                <a:t>afin</a:t>
              </a:r>
              <a:r>
                <a:rPr lang="en-US" sz="1200" i="1" dirty="0">
                  <a:solidFill>
                    <a:schemeClr val="bg1"/>
                  </a:solidFill>
                </a:rPr>
                <a:t> de </a:t>
              </a:r>
              <a:r>
                <a:rPr lang="en-US" sz="1200" i="1" dirty="0" err="1">
                  <a:solidFill>
                    <a:schemeClr val="bg1"/>
                  </a:solidFill>
                </a:rPr>
                <a:t>valider</a:t>
              </a:r>
              <a:r>
                <a:rPr lang="en-US" sz="1200" i="1" dirty="0">
                  <a:solidFill>
                    <a:schemeClr val="bg1"/>
                  </a:solidFill>
                </a:rPr>
                <a:t> la </a:t>
              </a:r>
              <a:r>
                <a:rPr lang="en-US" sz="1200" i="1" dirty="0" err="1">
                  <a:solidFill>
                    <a:schemeClr val="bg1"/>
                  </a:solidFill>
                </a:rPr>
                <a:t>possibilité</a:t>
              </a:r>
              <a:r>
                <a:rPr lang="en-US" sz="1200" i="1" dirty="0">
                  <a:solidFill>
                    <a:schemeClr val="bg1"/>
                  </a:solidFill>
                </a:rPr>
                <a:t> et le proposer</a:t>
              </a:r>
              <a:endParaRPr lang="ru-RU" sz="1200" i="1" dirty="0">
                <a:solidFill>
                  <a:schemeClr val="bg1"/>
                </a:solidFill>
              </a:endParaRPr>
            </a:p>
          </p:txBody>
        </p:sp>
        <p:sp>
          <p:nvSpPr>
            <p:cNvPr id="16" name="TextBox 45">
              <a:extLst>
                <a:ext uri="{FF2B5EF4-FFF2-40B4-BE49-F238E27FC236}">
                  <a16:creationId xmlns:a16="http://schemas.microsoft.com/office/drawing/2014/main" id="{29B41ECD-484C-4129-977F-879D701544E2}"/>
                </a:ext>
              </a:extLst>
            </p:cNvPr>
            <p:cNvSpPr txBox="1"/>
            <p:nvPr/>
          </p:nvSpPr>
          <p:spPr>
            <a:xfrm>
              <a:off x="5575809" y="1062185"/>
              <a:ext cx="1753419" cy="396006"/>
            </a:xfrm>
            <a:prstGeom prst="rect">
              <a:avLst/>
            </a:prstGeom>
            <a:noFill/>
          </p:spPr>
          <p:txBody>
            <a:bodyPr wrap="square" rtlCol="0">
              <a:spAutoFit/>
            </a:bodyPr>
            <a:lstStyle/>
            <a:p>
              <a:pPr algn="ctr"/>
              <a:r>
                <a:rPr lang="en-US" sz="2000" b="1" dirty="0">
                  <a:solidFill>
                    <a:srgbClr val="455797"/>
                  </a:solidFill>
                </a:rPr>
                <a:t>Feature</a:t>
              </a:r>
              <a:endParaRPr lang="en-US" sz="1400" b="1" dirty="0">
                <a:solidFill>
                  <a:srgbClr val="455797"/>
                </a:solidFill>
              </a:endParaRPr>
            </a:p>
          </p:txBody>
        </p:sp>
        <p:sp>
          <p:nvSpPr>
            <p:cNvPr id="17" name="TextBox 46">
              <a:extLst>
                <a:ext uri="{FF2B5EF4-FFF2-40B4-BE49-F238E27FC236}">
                  <a16:creationId xmlns:a16="http://schemas.microsoft.com/office/drawing/2014/main" id="{1E7B02D9-3917-426E-AB16-4E340687BADA}"/>
                </a:ext>
              </a:extLst>
            </p:cNvPr>
            <p:cNvSpPr txBox="1"/>
            <p:nvPr/>
          </p:nvSpPr>
          <p:spPr>
            <a:xfrm>
              <a:off x="4220837" y="2620745"/>
              <a:ext cx="1699325" cy="387131"/>
            </a:xfrm>
            <a:prstGeom prst="rect">
              <a:avLst/>
            </a:prstGeom>
            <a:noFill/>
          </p:spPr>
          <p:txBody>
            <a:bodyPr wrap="square" rtlCol="0">
              <a:spAutoFit/>
            </a:bodyPr>
            <a:lstStyle/>
            <a:p>
              <a:pPr algn="ctr"/>
              <a:r>
                <a:rPr lang="en-US" sz="2000" b="1" dirty="0">
                  <a:solidFill>
                    <a:srgbClr val="455797"/>
                  </a:solidFill>
                </a:rPr>
                <a:t>User stories</a:t>
              </a:r>
            </a:p>
          </p:txBody>
        </p:sp>
        <p:sp>
          <p:nvSpPr>
            <p:cNvPr id="18" name="TextBox 47">
              <a:extLst>
                <a:ext uri="{FF2B5EF4-FFF2-40B4-BE49-F238E27FC236}">
                  <a16:creationId xmlns:a16="http://schemas.microsoft.com/office/drawing/2014/main" id="{C678C478-B241-4D48-94E4-C449C0010217}"/>
                </a:ext>
              </a:extLst>
            </p:cNvPr>
            <p:cNvSpPr txBox="1"/>
            <p:nvPr/>
          </p:nvSpPr>
          <p:spPr>
            <a:xfrm>
              <a:off x="7101680" y="2620745"/>
              <a:ext cx="1753419" cy="396006"/>
            </a:xfrm>
            <a:prstGeom prst="rect">
              <a:avLst/>
            </a:prstGeom>
            <a:noFill/>
          </p:spPr>
          <p:txBody>
            <a:bodyPr wrap="square" rtlCol="0">
              <a:spAutoFit/>
            </a:bodyPr>
            <a:lstStyle/>
            <a:p>
              <a:pPr algn="ctr"/>
              <a:r>
                <a:rPr lang="en-US" sz="2000" b="1" dirty="0">
                  <a:solidFill>
                    <a:srgbClr val="813F44"/>
                  </a:solidFill>
                </a:rPr>
                <a:t>Enablers</a:t>
              </a:r>
            </a:p>
          </p:txBody>
        </p:sp>
        <p:sp>
          <p:nvSpPr>
            <p:cNvPr id="19" name="Bent-Up Arrow 48">
              <a:extLst>
                <a:ext uri="{FF2B5EF4-FFF2-40B4-BE49-F238E27FC236}">
                  <a16:creationId xmlns:a16="http://schemas.microsoft.com/office/drawing/2014/main" id="{309E6FCA-FE52-401A-BBFC-A43BB72FD661}"/>
                </a:ext>
              </a:extLst>
            </p:cNvPr>
            <p:cNvSpPr/>
            <p:nvPr/>
          </p:nvSpPr>
          <p:spPr bwMode="auto">
            <a:xfrm rot="5400000">
              <a:off x="6288140" y="2944311"/>
              <a:ext cx="1205921" cy="401487"/>
            </a:xfrm>
            <a:prstGeom prst="bentUpArrow">
              <a:avLst/>
            </a:prstGeom>
            <a:solidFill>
              <a:schemeClr val="bg1">
                <a:lumMod val="65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solidFill>
                  <a:schemeClr val="bg1">
                    <a:lumMod val="65000"/>
                  </a:schemeClr>
                </a:solidFill>
              </a:endParaRPr>
            </a:p>
          </p:txBody>
        </p:sp>
        <p:sp>
          <p:nvSpPr>
            <p:cNvPr id="20" name="Bent-Up Arrow 49">
              <a:extLst>
                <a:ext uri="{FF2B5EF4-FFF2-40B4-BE49-F238E27FC236}">
                  <a16:creationId xmlns:a16="http://schemas.microsoft.com/office/drawing/2014/main" id="{C7E9FA63-B5DB-4395-9C6B-CAF8B2B39C84}"/>
                </a:ext>
              </a:extLst>
            </p:cNvPr>
            <p:cNvSpPr/>
            <p:nvPr/>
          </p:nvSpPr>
          <p:spPr bwMode="auto">
            <a:xfrm rot="5400000">
              <a:off x="5969041" y="3907423"/>
              <a:ext cx="1844120" cy="401487"/>
            </a:xfrm>
            <a:prstGeom prst="bentUpArrow">
              <a:avLst/>
            </a:prstGeom>
            <a:solidFill>
              <a:schemeClr val="bg1">
                <a:lumMod val="65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solidFill>
                  <a:schemeClr val="bg1">
                    <a:lumMod val="65000"/>
                  </a:schemeClr>
                </a:solidFill>
              </a:endParaRPr>
            </a:p>
          </p:txBody>
        </p:sp>
        <p:sp>
          <p:nvSpPr>
            <p:cNvPr id="22" name="Bent-Up Arrow 50">
              <a:extLst>
                <a:ext uri="{FF2B5EF4-FFF2-40B4-BE49-F238E27FC236}">
                  <a16:creationId xmlns:a16="http://schemas.microsoft.com/office/drawing/2014/main" id="{8D2F36BB-0613-4579-98E5-3CFB3EBF6094}"/>
                </a:ext>
              </a:extLst>
            </p:cNvPr>
            <p:cNvSpPr/>
            <p:nvPr/>
          </p:nvSpPr>
          <p:spPr bwMode="auto">
            <a:xfrm rot="16200000" flipH="1">
              <a:off x="5705892" y="2839928"/>
              <a:ext cx="987320" cy="401487"/>
            </a:xfrm>
            <a:prstGeom prst="bentUpArrow">
              <a:avLst/>
            </a:prstGeom>
            <a:solidFill>
              <a:schemeClr val="bg1">
                <a:lumMod val="65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solidFill>
                  <a:schemeClr val="bg1">
                    <a:lumMod val="65000"/>
                  </a:schemeClr>
                </a:solidFill>
              </a:endParaRPr>
            </a:p>
          </p:txBody>
        </p:sp>
        <p:sp>
          <p:nvSpPr>
            <p:cNvPr id="23" name="Bent-Up Arrow 51">
              <a:extLst>
                <a:ext uri="{FF2B5EF4-FFF2-40B4-BE49-F238E27FC236}">
                  <a16:creationId xmlns:a16="http://schemas.microsoft.com/office/drawing/2014/main" id="{2A0BD3EF-6D29-49D3-91BB-64887AA13352}"/>
                </a:ext>
              </a:extLst>
            </p:cNvPr>
            <p:cNvSpPr/>
            <p:nvPr/>
          </p:nvSpPr>
          <p:spPr bwMode="auto">
            <a:xfrm rot="16200000" flipH="1">
              <a:off x="5064194" y="4125639"/>
              <a:ext cx="2270718" cy="401487"/>
            </a:xfrm>
            <a:prstGeom prst="bentUpArrow">
              <a:avLst/>
            </a:prstGeom>
            <a:solidFill>
              <a:schemeClr val="bg1">
                <a:lumMod val="65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solidFill>
                  <a:schemeClr val="bg1">
                    <a:lumMod val="65000"/>
                  </a:schemeClr>
                </a:solidFill>
              </a:endParaRPr>
            </a:p>
          </p:txBody>
        </p:sp>
        <p:sp>
          <p:nvSpPr>
            <p:cNvPr id="25" name="Загнутый угол 7">
              <a:extLst>
                <a:ext uri="{FF2B5EF4-FFF2-40B4-BE49-F238E27FC236}">
                  <a16:creationId xmlns:a16="http://schemas.microsoft.com/office/drawing/2014/main" id="{C648A791-EB92-4694-AC9B-69321E67918D}"/>
                </a:ext>
              </a:extLst>
            </p:cNvPr>
            <p:cNvSpPr/>
            <p:nvPr/>
          </p:nvSpPr>
          <p:spPr>
            <a:xfrm>
              <a:off x="5654129" y="1455231"/>
              <a:ext cx="1758910" cy="1103736"/>
            </a:xfrm>
            <a:prstGeom prst="foldedCorner">
              <a:avLst>
                <a:gd name="adj" fmla="val 15719"/>
              </a:avLst>
            </a:prstGeom>
            <a:solidFill>
              <a:srgbClr val="455797"/>
            </a:solidFill>
            <a:ln>
              <a:noFill/>
            </a:ln>
            <a:effectLst/>
          </p:spPr>
          <p:style>
            <a:lnRef idx="1">
              <a:schemeClr val="accent6"/>
            </a:lnRef>
            <a:fillRef idx="2">
              <a:schemeClr val="accent6"/>
            </a:fillRef>
            <a:effectRef idx="1">
              <a:schemeClr val="accent6"/>
            </a:effectRef>
            <a:fontRef idx="minor">
              <a:schemeClr val="dk1"/>
            </a:fontRef>
          </p:style>
          <p:txBody>
            <a:bodyPr lIns="91440" tIns="137160" rIns="91440" bIns="0" rtlCol="0" anchor="ctr"/>
            <a:lstStyle/>
            <a:p>
              <a:pPr>
                <a:spcAft>
                  <a:spcPts val="600"/>
                </a:spcAft>
              </a:pPr>
              <a:r>
                <a:rPr lang="en-US" sz="1400" i="1" dirty="0" err="1">
                  <a:solidFill>
                    <a:schemeClr val="bg1"/>
                  </a:solidFill>
                </a:rPr>
                <a:t>Gestion</a:t>
              </a:r>
              <a:r>
                <a:rPr lang="en-US" sz="1400" i="1" dirty="0">
                  <a:solidFill>
                    <a:schemeClr val="bg1"/>
                  </a:solidFill>
                </a:rPr>
                <a:t> du </a:t>
              </a:r>
              <a:r>
                <a:rPr lang="en-US" sz="1400" i="1" dirty="0" err="1">
                  <a:solidFill>
                    <a:schemeClr val="bg1"/>
                  </a:solidFill>
                </a:rPr>
                <a:t>paiement</a:t>
              </a:r>
              <a:r>
                <a:rPr lang="en-US" sz="1400" i="1" dirty="0">
                  <a:solidFill>
                    <a:schemeClr val="bg1"/>
                  </a:solidFill>
                </a:rPr>
                <a:t> sur un site </a:t>
              </a:r>
              <a:r>
                <a:rPr lang="en-US" sz="1400" i="1" dirty="0" err="1">
                  <a:solidFill>
                    <a:schemeClr val="bg1"/>
                  </a:solidFill>
                </a:rPr>
                <a:t>d’achat</a:t>
              </a:r>
              <a:r>
                <a:rPr lang="en-US" sz="1400" i="1" dirty="0">
                  <a:solidFill>
                    <a:schemeClr val="bg1"/>
                  </a:solidFill>
                </a:rPr>
                <a:t> </a:t>
              </a:r>
              <a:r>
                <a:rPr lang="en-US" sz="1400" i="1" dirty="0" err="1">
                  <a:solidFill>
                    <a:schemeClr val="bg1"/>
                  </a:solidFill>
                </a:rPr>
                <a:t>en</a:t>
              </a:r>
              <a:r>
                <a:rPr lang="en-US" sz="1400" i="1" dirty="0">
                  <a:solidFill>
                    <a:schemeClr val="bg1"/>
                  </a:solidFill>
                </a:rPr>
                <a:t> </a:t>
              </a:r>
              <a:r>
                <a:rPr lang="en-US" sz="1400" i="1" dirty="0" err="1">
                  <a:solidFill>
                    <a:schemeClr val="bg1"/>
                  </a:solidFill>
                </a:rPr>
                <a:t>ligne</a:t>
              </a:r>
              <a:endParaRPr lang="en-US" sz="1400" i="1" dirty="0">
                <a:solidFill>
                  <a:schemeClr val="bg1"/>
                </a:solidFill>
              </a:endParaRPr>
            </a:p>
            <a:p>
              <a:r>
                <a:rPr lang="en-US" sz="1400" i="1" dirty="0" err="1">
                  <a:solidFill>
                    <a:schemeClr val="bg1"/>
                  </a:solidFill>
                </a:rPr>
                <a:t>Bénéfice</a:t>
              </a:r>
              <a:r>
                <a:rPr lang="en-US" sz="1400" i="1" dirty="0">
                  <a:solidFill>
                    <a:schemeClr val="bg1"/>
                  </a:solidFill>
                </a:rPr>
                <a:t> : Faire </a:t>
              </a:r>
              <a:r>
                <a:rPr lang="en-US" sz="1400" i="1" dirty="0" err="1">
                  <a:solidFill>
                    <a:schemeClr val="bg1"/>
                  </a:solidFill>
                </a:rPr>
                <a:t>rentrer</a:t>
              </a:r>
              <a:r>
                <a:rPr lang="en-US" sz="1400" i="1" dirty="0">
                  <a:solidFill>
                    <a:schemeClr val="bg1"/>
                  </a:solidFill>
                </a:rPr>
                <a:t> de </a:t>
              </a:r>
              <a:r>
                <a:rPr lang="en-US" sz="1400" i="1" dirty="0" err="1">
                  <a:solidFill>
                    <a:schemeClr val="bg1"/>
                  </a:solidFill>
                </a:rPr>
                <a:t>l’argent</a:t>
              </a:r>
              <a:endParaRPr lang="ru-RU" sz="1400" i="1" dirty="0">
                <a:solidFill>
                  <a:schemeClr val="bg1"/>
                </a:solidFill>
              </a:endParaRPr>
            </a:p>
          </p:txBody>
        </p:sp>
      </p:grpSp>
    </p:spTree>
    <p:extLst>
      <p:ext uri="{BB962C8B-B14F-4D97-AF65-F5344CB8AC3E}">
        <p14:creationId xmlns:p14="http://schemas.microsoft.com/office/powerpoint/2010/main" val="8352689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29</a:t>
            </a:fld>
            <a:endParaRPr lang="fr-FR" dirty="0"/>
          </a:p>
        </p:txBody>
      </p:sp>
      <p:sp>
        <p:nvSpPr>
          <p:cNvPr id="5" name="Espace réservé du texte 4"/>
          <p:cNvSpPr>
            <a:spLocks noGrp="1"/>
          </p:cNvSpPr>
          <p:nvPr>
            <p:ph type="body" idx="1"/>
          </p:nvPr>
        </p:nvSpPr>
        <p:spPr/>
        <p:txBody>
          <a:bodyPr/>
          <a:lstStyle/>
          <a:p>
            <a:r>
              <a:rPr lang="fr-FR" dirty="0"/>
              <a:t>Le PI Planning - Concept</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pic>
        <p:nvPicPr>
          <p:cNvPr id="21" name="Image 20">
            <a:extLst>
              <a:ext uri="{FF2B5EF4-FFF2-40B4-BE49-F238E27FC236}">
                <a16:creationId xmlns:a16="http://schemas.microsoft.com/office/drawing/2014/main" id="{884C7B7B-4E5F-4C56-909D-CAB7143D2798}"/>
              </a:ext>
            </a:extLst>
          </p:cNvPr>
          <p:cNvPicPr>
            <a:picLocks noChangeAspect="1"/>
          </p:cNvPicPr>
          <p:nvPr/>
        </p:nvPicPr>
        <p:blipFill rotWithShape="1">
          <a:blip r:embed="rId2"/>
          <a:srcRect l="31759" t="23201" r="47547" b="26916"/>
          <a:stretch/>
        </p:blipFill>
        <p:spPr>
          <a:xfrm>
            <a:off x="5261912" y="2949832"/>
            <a:ext cx="1728193" cy="1872208"/>
          </a:xfrm>
          <a:prstGeom prst="rect">
            <a:avLst/>
          </a:prstGeom>
        </p:spPr>
      </p:pic>
      <p:grpSp>
        <p:nvGrpSpPr>
          <p:cNvPr id="24" name="Groupe 23">
            <a:extLst>
              <a:ext uri="{FF2B5EF4-FFF2-40B4-BE49-F238E27FC236}">
                <a16:creationId xmlns:a16="http://schemas.microsoft.com/office/drawing/2014/main" id="{02461C93-A42C-443B-8030-F3499B3C30D3}"/>
              </a:ext>
            </a:extLst>
          </p:cNvPr>
          <p:cNvGrpSpPr/>
          <p:nvPr/>
        </p:nvGrpSpPr>
        <p:grpSpPr>
          <a:xfrm>
            <a:off x="5458893" y="795212"/>
            <a:ext cx="1271989" cy="2254354"/>
            <a:chOff x="5303912" y="-29619"/>
            <a:chExt cx="1539563" cy="2714634"/>
          </a:xfrm>
        </p:grpSpPr>
        <p:pic>
          <p:nvPicPr>
            <p:cNvPr id="26" name="Image 25">
              <a:extLst>
                <a:ext uri="{FF2B5EF4-FFF2-40B4-BE49-F238E27FC236}">
                  <a16:creationId xmlns:a16="http://schemas.microsoft.com/office/drawing/2014/main" id="{BF076E89-9E7E-4731-9567-041714D17409}"/>
                </a:ext>
              </a:extLst>
            </p:cNvPr>
            <p:cNvPicPr>
              <a:picLocks noChangeAspect="1"/>
            </p:cNvPicPr>
            <p:nvPr/>
          </p:nvPicPr>
          <p:blipFill rotWithShape="1">
            <a:blip r:embed="rId2"/>
            <a:srcRect t="23201" r="82349" b="26916"/>
            <a:stretch/>
          </p:blipFill>
          <p:spPr>
            <a:xfrm>
              <a:off x="5303912" y="-29619"/>
              <a:ext cx="1539563" cy="1955341"/>
            </a:xfrm>
            <a:prstGeom prst="rect">
              <a:avLst/>
            </a:prstGeom>
          </p:spPr>
        </p:pic>
        <p:sp>
          <p:nvSpPr>
            <p:cNvPr id="28" name="Flèche vers le bas 27">
              <a:extLst>
                <a:ext uri="{FF2B5EF4-FFF2-40B4-BE49-F238E27FC236}">
                  <a16:creationId xmlns:a16="http://schemas.microsoft.com/office/drawing/2014/main" id="{3A6B1031-4B5A-4F4E-92C1-205E9E8807B1}"/>
                </a:ext>
              </a:extLst>
            </p:cNvPr>
            <p:cNvSpPr/>
            <p:nvPr/>
          </p:nvSpPr>
          <p:spPr>
            <a:xfrm>
              <a:off x="5837473" y="1988840"/>
              <a:ext cx="504056" cy="696175"/>
            </a:xfrm>
            <a:prstGeom prst="downArrow">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dirty="0"/>
            </a:p>
          </p:txBody>
        </p:sp>
      </p:grpSp>
      <p:grpSp>
        <p:nvGrpSpPr>
          <p:cNvPr id="29" name="Groupe 28">
            <a:extLst>
              <a:ext uri="{FF2B5EF4-FFF2-40B4-BE49-F238E27FC236}">
                <a16:creationId xmlns:a16="http://schemas.microsoft.com/office/drawing/2014/main" id="{5CA92D8C-71C5-406D-99DA-17DC6646B997}"/>
              </a:ext>
            </a:extLst>
          </p:cNvPr>
          <p:cNvGrpSpPr/>
          <p:nvPr/>
        </p:nvGrpSpPr>
        <p:grpSpPr>
          <a:xfrm>
            <a:off x="3863752" y="4690776"/>
            <a:ext cx="3559115" cy="2115527"/>
            <a:chOff x="3863752" y="4293096"/>
            <a:chExt cx="3559115" cy="2259543"/>
          </a:xfrm>
        </p:grpSpPr>
        <p:grpSp>
          <p:nvGrpSpPr>
            <p:cNvPr id="30" name="Group 55">
              <a:extLst>
                <a:ext uri="{FF2B5EF4-FFF2-40B4-BE49-F238E27FC236}">
                  <a16:creationId xmlns:a16="http://schemas.microsoft.com/office/drawing/2014/main" id="{4A35CF0F-0C42-48A0-BF40-01F8A8DA5F6C}"/>
                </a:ext>
              </a:extLst>
            </p:cNvPr>
            <p:cNvGrpSpPr>
              <a:grpSpLocks noChangeAspect="1"/>
            </p:cNvGrpSpPr>
            <p:nvPr/>
          </p:nvGrpSpPr>
          <p:grpSpPr bwMode="auto">
            <a:xfrm>
              <a:off x="3863752" y="5347371"/>
              <a:ext cx="1035631" cy="1008112"/>
              <a:chOff x="2029" y="515"/>
              <a:chExt cx="3622" cy="3290"/>
            </a:xfrm>
            <a:solidFill>
              <a:schemeClr val="accent2"/>
            </a:solidFill>
          </p:grpSpPr>
          <p:sp>
            <p:nvSpPr>
              <p:cNvPr id="33" name="Freeform 56">
                <a:extLst>
                  <a:ext uri="{FF2B5EF4-FFF2-40B4-BE49-F238E27FC236}">
                    <a16:creationId xmlns:a16="http://schemas.microsoft.com/office/drawing/2014/main" id="{5BDA5886-346C-44E9-A446-C570796F7D32}"/>
                  </a:ext>
                </a:extLst>
              </p:cNvPr>
              <p:cNvSpPr>
                <a:spLocks/>
              </p:cNvSpPr>
              <p:nvPr/>
            </p:nvSpPr>
            <p:spPr bwMode="auto">
              <a:xfrm>
                <a:off x="2783" y="555"/>
                <a:ext cx="397" cy="240"/>
              </a:xfrm>
              <a:custGeom>
                <a:avLst/>
                <a:gdLst>
                  <a:gd name="T0" fmla="*/ 80 w 397"/>
                  <a:gd name="T1" fmla="*/ 228 h 240"/>
                  <a:gd name="T2" fmla="*/ 80 w 397"/>
                  <a:gd name="T3" fmla="*/ 228 h 240"/>
                  <a:gd name="T4" fmla="*/ 110 w 397"/>
                  <a:gd name="T5" fmla="*/ 216 h 240"/>
                  <a:gd name="T6" fmla="*/ 136 w 397"/>
                  <a:gd name="T7" fmla="*/ 202 h 240"/>
                  <a:gd name="T8" fmla="*/ 159 w 397"/>
                  <a:gd name="T9" fmla="*/ 188 h 240"/>
                  <a:gd name="T10" fmla="*/ 179 w 397"/>
                  <a:gd name="T11" fmla="*/ 172 h 240"/>
                  <a:gd name="T12" fmla="*/ 197 w 397"/>
                  <a:gd name="T13" fmla="*/ 156 h 240"/>
                  <a:gd name="T14" fmla="*/ 215 w 397"/>
                  <a:gd name="T15" fmla="*/ 138 h 240"/>
                  <a:gd name="T16" fmla="*/ 253 w 397"/>
                  <a:gd name="T17" fmla="*/ 100 h 240"/>
                  <a:gd name="T18" fmla="*/ 253 w 397"/>
                  <a:gd name="T19" fmla="*/ 100 h 240"/>
                  <a:gd name="T20" fmla="*/ 219 w 397"/>
                  <a:gd name="T21" fmla="*/ 140 h 240"/>
                  <a:gd name="T22" fmla="*/ 201 w 397"/>
                  <a:gd name="T23" fmla="*/ 158 h 240"/>
                  <a:gd name="T24" fmla="*/ 183 w 397"/>
                  <a:gd name="T25" fmla="*/ 176 h 240"/>
                  <a:gd name="T26" fmla="*/ 165 w 397"/>
                  <a:gd name="T27" fmla="*/ 192 h 240"/>
                  <a:gd name="T28" fmla="*/ 142 w 397"/>
                  <a:gd name="T29" fmla="*/ 208 h 240"/>
                  <a:gd name="T30" fmla="*/ 94 w 397"/>
                  <a:gd name="T31" fmla="*/ 240 h 240"/>
                  <a:gd name="T32" fmla="*/ 94 w 397"/>
                  <a:gd name="T33" fmla="*/ 240 h 240"/>
                  <a:gd name="T34" fmla="*/ 124 w 397"/>
                  <a:gd name="T35" fmla="*/ 240 h 240"/>
                  <a:gd name="T36" fmla="*/ 153 w 397"/>
                  <a:gd name="T37" fmla="*/ 238 h 240"/>
                  <a:gd name="T38" fmla="*/ 181 w 397"/>
                  <a:gd name="T39" fmla="*/ 232 h 240"/>
                  <a:gd name="T40" fmla="*/ 209 w 397"/>
                  <a:gd name="T41" fmla="*/ 224 h 240"/>
                  <a:gd name="T42" fmla="*/ 233 w 397"/>
                  <a:gd name="T43" fmla="*/ 212 h 240"/>
                  <a:gd name="T44" fmla="*/ 245 w 397"/>
                  <a:gd name="T45" fmla="*/ 206 h 240"/>
                  <a:gd name="T46" fmla="*/ 257 w 397"/>
                  <a:gd name="T47" fmla="*/ 196 h 240"/>
                  <a:gd name="T48" fmla="*/ 269 w 397"/>
                  <a:gd name="T49" fmla="*/ 186 h 240"/>
                  <a:gd name="T50" fmla="*/ 279 w 397"/>
                  <a:gd name="T51" fmla="*/ 174 h 240"/>
                  <a:gd name="T52" fmla="*/ 291 w 397"/>
                  <a:gd name="T53" fmla="*/ 162 h 240"/>
                  <a:gd name="T54" fmla="*/ 301 w 397"/>
                  <a:gd name="T55" fmla="*/ 146 h 240"/>
                  <a:gd name="T56" fmla="*/ 397 w 397"/>
                  <a:gd name="T57" fmla="*/ 0 h 240"/>
                  <a:gd name="T58" fmla="*/ 397 w 397"/>
                  <a:gd name="T59" fmla="*/ 0 h 240"/>
                  <a:gd name="T60" fmla="*/ 371 w 397"/>
                  <a:gd name="T61" fmla="*/ 12 h 240"/>
                  <a:gd name="T62" fmla="*/ 345 w 397"/>
                  <a:gd name="T63" fmla="*/ 20 h 240"/>
                  <a:gd name="T64" fmla="*/ 295 w 397"/>
                  <a:gd name="T65" fmla="*/ 32 h 240"/>
                  <a:gd name="T66" fmla="*/ 245 w 397"/>
                  <a:gd name="T67" fmla="*/ 42 h 240"/>
                  <a:gd name="T68" fmla="*/ 199 w 397"/>
                  <a:gd name="T69" fmla="*/ 52 h 240"/>
                  <a:gd name="T70" fmla="*/ 177 w 397"/>
                  <a:gd name="T71" fmla="*/ 58 h 240"/>
                  <a:gd name="T72" fmla="*/ 155 w 397"/>
                  <a:gd name="T73" fmla="*/ 66 h 240"/>
                  <a:gd name="T74" fmla="*/ 134 w 397"/>
                  <a:gd name="T75" fmla="*/ 74 h 240"/>
                  <a:gd name="T76" fmla="*/ 114 w 397"/>
                  <a:gd name="T77" fmla="*/ 86 h 240"/>
                  <a:gd name="T78" fmla="*/ 94 w 397"/>
                  <a:gd name="T79" fmla="*/ 98 h 240"/>
                  <a:gd name="T80" fmla="*/ 76 w 397"/>
                  <a:gd name="T81" fmla="*/ 114 h 240"/>
                  <a:gd name="T82" fmla="*/ 58 w 397"/>
                  <a:gd name="T83" fmla="*/ 134 h 240"/>
                  <a:gd name="T84" fmla="*/ 42 w 397"/>
                  <a:gd name="T85" fmla="*/ 156 h 240"/>
                  <a:gd name="T86" fmla="*/ 42 w 397"/>
                  <a:gd name="T87" fmla="*/ 156 h 240"/>
                  <a:gd name="T88" fmla="*/ 22 w 397"/>
                  <a:gd name="T89" fmla="*/ 186 h 240"/>
                  <a:gd name="T90" fmla="*/ 10 w 397"/>
                  <a:gd name="T91" fmla="*/ 212 h 240"/>
                  <a:gd name="T92" fmla="*/ 0 w 397"/>
                  <a:gd name="T93" fmla="*/ 234 h 240"/>
                  <a:gd name="T94" fmla="*/ 0 w 397"/>
                  <a:gd name="T95" fmla="*/ 234 h 240"/>
                  <a:gd name="T96" fmla="*/ 50 w 397"/>
                  <a:gd name="T97" fmla="*/ 238 h 240"/>
                  <a:gd name="T98" fmla="*/ 50 w 397"/>
                  <a:gd name="T99" fmla="*/ 238 h 240"/>
                  <a:gd name="T100" fmla="*/ 64 w 397"/>
                  <a:gd name="T101" fmla="*/ 234 h 240"/>
                  <a:gd name="T102" fmla="*/ 80 w 397"/>
                  <a:gd name="T103" fmla="*/ 228 h 240"/>
                  <a:gd name="T104" fmla="*/ 80 w 397"/>
                  <a:gd name="T105"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7" h="240">
                    <a:moveTo>
                      <a:pt x="80" y="228"/>
                    </a:moveTo>
                    <a:lnTo>
                      <a:pt x="80" y="228"/>
                    </a:lnTo>
                    <a:lnTo>
                      <a:pt x="110" y="216"/>
                    </a:lnTo>
                    <a:lnTo>
                      <a:pt x="136" y="202"/>
                    </a:lnTo>
                    <a:lnTo>
                      <a:pt x="159" y="188"/>
                    </a:lnTo>
                    <a:lnTo>
                      <a:pt x="179" y="172"/>
                    </a:lnTo>
                    <a:lnTo>
                      <a:pt x="197" y="156"/>
                    </a:lnTo>
                    <a:lnTo>
                      <a:pt x="215" y="138"/>
                    </a:lnTo>
                    <a:lnTo>
                      <a:pt x="253" y="100"/>
                    </a:lnTo>
                    <a:lnTo>
                      <a:pt x="253" y="100"/>
                    </a:lnTo>
                    <a:lnTo>
                      <a:pt x="219" y="140"/>
                    </a:lnTo>
                    <a:lnTo>
                      <a:pt x="201" y="158"/>
                    </a:lnTo>
                    <a:lnTo>
                      <a:pt x="183" y="176"/>
                    </a:lnTo>
                    <a:lnTo>
                      <a:pt x="165" y="192"/>
                    </a:lnTo>
                    <a:lnTo>
                      <a:pt x="142" y="208"/>
                    </a:lnTo>
                    <a:lnTo>
                      <a:pt x="94" y="240"/>
                    </a:lnTo>
                    <a:lnTo>
                      <a:pt x="94" y="240"/>
                    </a:lnTo>
                    <a:lnTo>
                      <a:pt x="124" y="240"/>
                    </a:lnTo>
                    <a:lnTo>
                      <a:pt x="153" y="238"/>
                    </a:lnTo>
                    <a:lnTo>
                      <a:pt x="181" y="232"/>
                    </a:lnTo>
                    <a:lnTo>
                      <a:pt x="209" y="224"/>
                    </a:lnTo>
                    <a:lnTo>
                      <a:pt x="233" y="212"/>
                    </a:lnTo>
                    <a:lnTo>
                      <a:pt x="245" y="206"/>
                    </a:lnTo>
                    <a:lnTo>
                      <a:pt x="257" y="196"/>
                    </a:lnTo>
                    <a:lnTo>
                      <a:pt x="269" y="186"/>
                    </a:lnTo>
                    <a:lnTo>
                      <a:pt x="279" y="174"/>
                    </a:lnTo>
                    <a:lnTo>
                      <a:pt x="291" y="162"/>
                    </a:lnTo>
                    <a:lnTo>
                      <a:pt x="301" y="146"/>
                    </a:lnTo>
                    <a:lnTo>
                      <a:pt x="397" y="0"/>
                    </a:lnTo>
                    <a:lnTo>
                      <a:pt x="397" y="0"/>
                    </a:lnTo>
                    <a:lnTo>
                      <a:pt x="371" y="12"/>
                    </a:lnTo>
                    <a:lnTo>
                      <a:pt x="345" y="20"/>
                    </a:lnTo>
                    <a:lnTo>
                      <a:pt x="295" y="32"/>
                    </a:lnTo>
                    <a:lnTo>
                      <a:pt x="245" y="42"/>
                    </a:lnTo>
                    <a:lnTo>
                      <a:pt x="199" y="52"/>
                    </a:lnTo>
                    <a:lnTo>
                      <a:pt x="177" y="58"/>
                    </a:lnTo>
                    <a:lnTo>
                      <a:pt x="155" y="66"/>
                    </a:lnTo>
                    <a:lnTo>
                      <a:pt x="134" y="74"/>
                    </a:lnTo>
                    <a:lnTo>
                      <a:pt x="114" y="86"/>
                    </a:lnTo>
                    <a:lnTo>
                      <a:pt x="94" y="98"/>
                    </a:lnTo>
                    <a:lnTo>
                      <a:pt x="76" y="114"/>
                    </a:lnTo>
                    <a:lnTo>
                      <a:pt x="58" y="134"/>
                    </a:lnTo>
                    <a:lnTo>
                      <a:pt x="42" y="156"/>
                    </a:lnTo>
                    <a:lnTo>
                      <a:pt x="42" y="156"/>
                    </a:lnTo>
                    <a:lnTo>
                      <a:pt x="22" y="186"/>
                    </a:lnTo>
                    <a:lnTo>
                      <a:pt x="10" y="212"/>
                    </a:lnTo>
                    <a:lnTo>
                      <a:pt x="0" y="234"/>
                    </a:lnTo>
                    <a:lnTo>
                      <a:pt x="0" y="234"/>
                    </a:lnTo>
                    <a:lnTo>
                      <a:pt x="50" y="238"/>
                    </a:lnTo>
                    <a:lnTo>
                      <a:pt x="50" y="238"/>
                    </a:lnTo>
                    <a:lnTo>
                      <a:pt x="64" y="234"/>
                    </a:lnTo>
                    <a:lnTo>
                      <a:pt x="80" y="228"/>
                    </a:lnTo>
                    <a:lnTo>
                      <a:pt x="80"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34" name="Freeform 57">
                <a:extLst>
                  <a:ext uri="{FF2B5EF4-FFF2-40B4-BE49-F238E27FC236}">
                    <a16:creationId xmlns:a16="http://schemas.microsoft.com/office/drawing/2014/main" id="{164DDBE9-93DF-45E5-8E18-67FD73267829}"/>
                  </a:ext>
                </a:extLst>
              </p:cNvPr>
              <p:cNvSpPr>
                <a:spLocks/>
              </p:cNvSpPr>
              <p:nvPr/>
            </p:nvSpPr>
            <p:spPr bwMode="auto">
              <a:xfrm>
                <a:off x="2621" y="825"/>
                <a:ext cx="429" cy="176"/>
              </a:xfrm>
              <a:custGeom>
                <a:avLst/>
                <a:gdLst>
                  <a:gd name="T0" fmla="*/ 266 w 429"/>
                  <a:gd name="T1" fmla="*/ 10 h 176"/>
                  <a:gd name="T2" fmla="*/ 266 w 429"/>
                  <a:gd name="T3" fmla="*/ 10 h 176"/>
                  <a:gd name="T4" fmla="*/ 236 w 429"/>
                  <a:gd name="T5" fmla="*/ 2 h 176"/>
                  <a:gd name="T6" fmla="*/ 210 w 429"/>
                  <a:gd name="T7" fmla="*/ 0 h 176"/>
                  <a:gd name="T8" fmla="*/ 186 w 429"/>
                  <a:gd name="T9" fmla="*/ 2 h 176"/>
                  <a:gd name="T10" fmla="*/ 164 w 429"/>
                  <a:gd name="T11" fmla="*/ 6 h 176"/>
                  <a:gd name="T12" fmla="*/ 142 w 429"/>
                  <a:gd name="T13" fmla="*/ 14 h 176"/>
                  <a:gd name="T14" fmla="*/ 122 w 429"/>
                  <a:gd name="T15" fmla="*/ 24 h 176"/>
                  <a:gd name="T16" fmla="*/ 102 w 429"/>
                  <a:gd name="T17" fmla="*/ 36 h 176"/>
                  <a:gd name="T18" fmla="*/ 84 w 429"/>
                  <a:gd name="T19" fmla="*/ 50 h 176"/>
                  <a:gd name="T20" fmla="*/ 84 w 429"/>
                  <a:gd name="T21" fmla="*/ 50 h 176"/>
                  <a:gd name="T22" fmla="*/ 106 w 429"/>
                  <a:gd name="T23" fmla="*/ 50 h 176"/>
                  <a:gd name="T24" fmla="*/ 128 w 429"/>
                  <a:gd name="T25" fmla="*/ 50 h 176"/>
                  <a:gd name="T26" fmla="*/ 148 w 429"/>
                  <a:gd name="T27" fmla="*/ 50 h 176"/>
                  <a:gd name="T28" fmla="*/ 166 w 429"/>
                  <a:gd name="T29" fmla="*/ 54 h 176"/>
                  <a:gd name="T30" fmla="*/ 184 w 429"/>
                  <a:gd name="T31" fmla="*/ 58 h 176"/>
                  <a:gd name="T32" fmla="*/ 202 w 429"/>
                  <a:gd name="T33" fmla="*/ 62 h 176"/>
                  <a:gd name="T34" fmla="*/ 240 w 429"/>
                  <a:gd name="T35" fmla="*/ 78 h 176"/>
                  <a:gd name="T36" fmla="*/ 240 w 429"/>
                  <a:gd name="T37" fmla="*/ 78 h 176"/>
                  <a:gd name="T38" fmla="*/ 198 w 429"/>
                  <a:gd name="T39" fmla="*/ 66 h 176"/>
                  <a:gd name="T40" fmla="*/ 178 w 429"/>
                  <a:gd name="T41" fmla="*/ 62 h 176"/>
                  <a:gd name="T42" fmla="*/ 158 w 429"/>
                  <a:gd name="T43" fmla="*/ 60 h 176"/>
                  <a:gd name="T44" fmla="*/ 138 w 429"/>
                  <a:gd name="T45" fmla="*/ 58 h 176"/>
                  <a:gd name="T46" fmla="*/ 116 w 429"/>
                  <a:gd name="T47" fmla="*/ 60 h 176"/>
                  <a:gd name="T48" fmla="*/ 90 w 429"/>
                  <a:gd name="T49" fmla="*/ 64 h 176"/>
                  <a:gd name="T50" fmla="*/ 64 w 429"/>
                  <a:gd name="T51" fmla="*/ 72 h 176"/>
                  <a:gd name="T52" fmla="*/ 58 w 429"/>
                  <a:gd name="T53" fmla="*/ 74 h 176"/>
                  <a:gd name="T54" fmla="*/ 58 w 429"/>
                  <a:gd name="T55" fmla="*/ 74 h 176"/>
                  <a:gd name="T56" fmla="*/ 30 w 429"/>
                  <a:gd name="T57" fmla="*/ 104 h 176"/>
                  <a:gd name="T58" fmla="*/ 0 w 429"/>
                  <a:gd name="T59" fmla="*/ 136 h 176"/>
                  <a:gd name="T60" fmla="*/ 0 w 429"/>
                  <a:gd name="T61" fmla="*/ 136 h 176"/>
                  <a:gd name="T62" fmla="*/ 22 w 429"/>
                  <a:gd name="T63" fmla="*/ 146 h 176"/>
                  <a:gd name="T64" fmla="*/ 46 w 429"/>
                  <a:gd name="T65" fmla="*/ 156 h 176"/>
                  <a:gd name="T66" fmla="*/ 80 w 429"/>
                  <a:gd name="T67" fmla="*/ 168 h 176"/>
                  <a:gd name="T68" fmla="*/ 80 w 429"/>
                  <a:gd name="T69" fmla="*/ 168 h 176"/>
                  <a:gd name="T70" fmla="*/ 106 w 429"/>
                  <a:gd name="T71" fmla="*/ 174 h 176"/>
                  <a:gd name="T72" fmla="*/ 132 w 429"/>
                  <a:gd name="T73" fmla="*/ 176 h 176"/>
                  <a:gd name="T74" fmla="*/ 156 w 429"/>
                  <a:gd name="T75" fmla="*/ 176 h 176"/>
                  <a:gd name="T76" fmla="*/ 178 w 429"/>
                  <a:gd name="T77" fmla="*/ 174 h 176"/>
                  <a:gd name="T78" fmla="*/ 198 w 429"/>
                  <a:gd name="T79" fmla="*/ 170 h 176"/>
                  <a:gd name="T80" fmla="*/ 220 w 429"/>
                  <a:gd name="T81" fmla="*/ 162 h 176"/>
                  <a:gd name="T82" fmla="*/ 240 w 429"/>
                  <a:gd name="T83" fmla="*/ 154 h 176"/>
                  <a:gd name="T84" fmla="*/ 258 w 429"/>
                  <a:gd name="T85" fmla="*/ 144 h 176"/>
                  <a:gd name="T86" fmla="*/ 298 w 429"/>
                  <a:gd name="T87" fmla="*/ 122 h 176"/>
                  <a:gd name="T88" fmla="*/ 339 w 429"/>
                  <a:gd name="T89" fmla="*/ 98 h 176"/>
                  <a:gd name="T90" fmla="*/ 381 w 429"/>
                  <a:gd name="T91" fmla="*/ 76 h 176"/>
                  <a:gd name="T92" fmla="*/ 405 w 429"/>
                  <a:gd name="T93" fmla="*/ 66 h 176"/>
                  <a:gd name="T94" fmla="*/ 429 w 429"/>
                  <a:gd name="T95" fmla="*/ 56 h 176"/>
                  <a:gd name="T96" fmla="*/ 266 w 429"/>
                  <a:gd name="T97" fmla="*/ 1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9" h="176">
                    <a:moveTo>
                      <a:pt x="266" y="10"/>
                    </a:moveTo>
                    <a:lnTo>
                      <a:pt x="266" y="10"/>
                    </a:lnTo>
                    <a:lnTo>
                      <a:pt x="236" y="2"/>
                    </a:lnTo>
                    <a:lnTo>
                      <a:pt x="210" y="0"/>
                    </a:lnTo>
                    <a:lnTo>
                      <a:pt x="186" y="2"/>
                    </a:lnTo>
                    <a:lnTo>
                      <a:pt x="164" y="6"/>
                    </a:lnTo>
                    <a:lnTo>
                      <a:pt x="142" y="14"/>
                    </a:lnTo>
                    <a:lnTo>
                      <a:pt x="122" y="24"/>
                    </a:lnTo>
                    <a:lnTo>
                      <a:pt x="102" y="36"/>
                    </a:lnTo>
                    <a:lnTo>
                      <a:pt x="84" y="50"/>
                    </a:lnTo>
                    <a:lnTo>
                      <a:pt x="84" y="50"/>
                    </a:lnTo>
                    <a:lnTo>
                      <a:pt x="106" y="50"/>
                    </a:lnTo>
                    <a:lnTo>
                      <a:pt x="128" y="50"/>
                    </a:lnTo>
                    <a:lnTo>
                      <a:pt x="148" y="50"/>
                    </a:lnTo>
                    <a:lnTo>
                      <a:pt x="166" y="54"/>
                    </a:lnTo>
                    <a:lnTo>
                      <a:pt x="184" y="58"/>
                    </a:lnTo>
                    <a:lnTo>
                      <a:pt x="202" y="62"/>
                    </a:lnTo>
                    <a:lnTo>
                      <a:pt x="240" y="78"/>
                    </a:lnTo>
                    <a:lnTo>
                      <a:pt x="240" y="78"/>
                    </a:lnTo>
                    <a:lnTo>
                      <a:pt x="198" y="66"/>
                    </a:lnTo>
                    <a:lnTo>
                      <a:pt x="178" y="62"/>
                    </a:lnTo>
                    <a:lnTo>
                      <a:pt x="158" y="60"/>
                    </a:lnTo>
                    <a:lnTo>
                      <a:pt x="138" y="58"/>
                    </a:lnTo>
                    <a:lnTo>
                      <a:pt x="116" y="60"/>
                    </a:lnTo>
                    <a:lnTo>
                      <a:pt x="90" y="64"/>
                    </a:lnTo>
                    <a:lnTo>
                      <a:pt x="64" y="72"/>
                    </a:lnTo>
                    <a:lnTo>
                      <a:pt x="58" y="74"/>
                    </a:lnTo>
                    <a:lnTo>
                      <a:pt x="58" y="74"/>
                    </a:lnTo>
                    <a:lnTo>
                      <a:pt x="30" y="104"/>
                    </a:lnTo>
                    <a:lnTo>
                      <a:pt x="0" y="136"/>
                    </a:lnTo>
                    <a:lnTo>
                      <a:pt x="0" y="136"/>
                    </a:lnTo>
                    <a:lnTo>
                      <a:pt x="22" y="146"/>
                    </a:lnTo>
                    <a:lnTo>
                      <a:pt x="46" y="156"/>
                    </a:lnTo>
                    <a:lnTo>
                      <a:pt x="80" y="168"/>
                    </a:lnTo>
                    <a:lnTo>
                      <a:pt x="80" y="168"/>
                    </a:lnTo>
                    <a:lnTo>
                      <a:pt x="106" y="174"/>
                    </a:lnTo>
                    <a:lnTo>
                      <a:pt x="132" y="176"/>
                    </a:lnTo>
                    <a:lnTo>
                      <a:pt x="156" y="176"/>
                    </a:lnTo>
                    <a:lnTo>
                      <a:pt x="178" y="174"/>
                    </a:lnTo>
                    <a:lnTo>
                      <a:pt x="198" y="170"/>
                    </a:lnTo>
                    <a:lnTo>
                      <a:pt x="220" y="162"/>
                    </a:lnTo>
                    <a:lnTo>
                      <a:pt x="240" y="154"/>
                    </a:lnTo>
                    <a:lnTo>
                      <a:pt x="258" y="144"/>
                    </a:lnTo>
                    <a:lnTo>
                      <a:pt x="298" y="122"/>
                    </a:lnTo>
                    <a:lnTo>
                      <a:pt x="339" y="98"/>
                    </a:lnTo>
                    <a:lnTo>
                      <a:pt x="381" y="76"/>
                    </a:lnTo>
                    <a:lnTo>
                      <a:pt x="405" y="66"/>
                    </a:lnTo>
                    <a:lnTo>
                      <a:pt x="429" y="56"/>
                    </a:lnTo>
                    <a:lnTo>
                      <a:pt x="26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35" name="Freeform 58">
                <a:extLst>
                  <a:ext uri="{FF2B5EF4-FFF2-40B4-BE49-F238E27FC236}">
                    <a16:creationId xmlns:a16="http://schemas.microsoft.com/office/drawing/2014/main" id="{1810E824-F734-49ED-8826-9062CDC76E03}"/>
                  </a:ext>
                </a:extLst>
              </p:cNvPr>
              <p:cNvSpPr>
                <a:spLocks/>
              </p:cNvSpPr>
              <p:nvPr/>
            </p:nvSpPr>
            <p:spPr bwMode="auto">
              <a:xfrm>
                <a:off x="2579" y="515"/>
                <a:ext cx="196" cy="398"/>
              </a:xfrm>
              <a:custGeom>
                <a:avLst/>
                <a:gdLst>
                  <a:gd name="T0" fmla="*/ 12 w 196"/>
                  <a:gd name="T1" fmla="*/ 398 h 398"/>
                  <a:gd name="T2" fmla="*/ 12 w 196"/>
                  <a:gd name="T3" fmla="*/ 398 h 398"/>
                  <a:gd name="T4" fmla="*/ 64 w 196"/>
                  <a:gd name="T5" fmla="*/ 368 h 398"/>
                  <a:gd name="T6" fmla="*/ 64 w 196"/>
                  <a:gd name="T7" fmla="*/ 368 h 398"/>
                  <a:gd name="T8" fmla="*/ 74 w 196"/>
                  <a:gd name="T9" fmla="*/ 354 h 398"/>
                  <a:gd name="T10" fmla="*/ 74 w 196"/>
                  <a:gd name="T11" fmla="*/ 354 h 398"/>
                  <a:gd name="T12" fmla="*/ 92 w 196"/>
                  <a:gd name="T13" fmla="*/ 326 h 398"/>
                  <a:gd name="T14" fmla="*/ 106 w 196"/>
                  <a:gd name="T15" fmla="*/ 300 h 398"/>
                  <a:gd name="T16" fmla="*/ 116 w 196"/>
                  <a:gd name="T17" fmla="*/ 276 h 398"/>
                  <a:gd name="T18" fmla="*/ 124 w 196"/>
                  <a:gd name="T19" fmla="*/ 252 h 398"/>
                  <a:gd name="T20" fmla="*/ 130 w 196"/>
                  <a:gd name="T21" fmla="*/ 230 h 398"/>
                  <a:gd name="T22" fmla="*/ 134 w 196"/>
                  <a:gd name="T23" fmla="*/ 204 h 398"/>
                  <a:gd name="T24" fmla="*/ 146 w 196"/>
                  <a:gd name="T25" fmla="*/ 152 h 398"/>
                  <a:gd name="T26" fmla="*/ 146 w 196"/>
                  <a:gd name="T27" fmla="*/ 152 h 398"/>
                  <a:gd name="T28" fmla="*/ 140 w 196"/>
                  <a:gd name="T29" fmla="*/ 202 h 398"/>
                  <a:gd name="T30" fmla="*/ 130 w 196"/>
                  <a:gd name="T31" fmla="*/ 250 h 398"/>
                  <a:gd name="T32" fmla="*/ 124 w 196"/>
                  <a:gd name="T33" fmla="*/ 274 h 398"/>
                  <a:gd name="T34" fmla="*/ 116 w 196"/>
                  <a:gd name="T35" fmla="*/ 298 h 398"/>
                  <a:gd name="T36" fmla="*/ 96 w 196"/>
                  <a:gd name="T37" fmla="*/ 348 h 398"/>
                  <a:gd name="T38" fmla="*/ 96 w 196"/>
                  <a:gd name="T39" fmla="*/ 348 h 398"/>
                  <a:gd name="T40" fmla="*/ 118 w 196"/>
                  <a:gd name="T41" fmla="*/ 334 h 398"/>
                  <a:gd name="T42" fmla="*/ 138 w 196"/>
                  <a:gd name="T43" fmla="*/ 316 h 398"/>
                  <a:gd name="T44" fmla="*/ 156 w 196"/>
                  <a:gd name="T45" fmla="*/ 298 h 398"/>
                  <a:gd name="T46" fmla="*/ 170 w 196"/>
                  <a:gd name="T47" fmla="*/ 278 h 398"/>
                  <a:gd name="T48" fmla="*/ 182 w 196"/>
                  <a:gd name="T49" fmla="*/ 256 h 398"/>
                  <a:gd name="T50" fmla="*/ 190 w 196"/>
                  <a:gd name="T51" fmla="*/ 230 h 398"/>
                  <a:gd name="T52" fmla="*/ 196 w 196"/>
                  <a:gd name="T53" fmla="*/ 202 h 398"/>
                  <a:gd name="T54" fmla="*/ 196 w 196"/>
                  <a:gd name="T55" fmla="*/ 170 h 398"/>
                  <a:gd name="T56" fmla="*/ 188 w 196"/>
                  <a:gd name="T57" fmla="*/ 0 h 398"/>
                  <a:gd name="T58" fmla="*/ 188 w 196"/>
                  <a:gd name="T59" fmla="*/ 0 h 398"/>
                  <a:gd name="T60" fmla="*/ 174 w 196"/>
                  <a:gd name="T61" fmla="*/ 22 h 398"/>
                  <a:gd name="T62" fmla="*/ 158 w 196"/>
                  <a:gd name="T63" fmla="*/ 42 h 398"/>
                  <a:gd name="T64" fmla="*/ 126 w 196"/>
                  <a:gd name="T65" fmla="*/ 78 h 398"/>
                  <a:gd name="T66" fmla="*/ 94 w 196"/>
                  <a:gd name="T67" fmla="*/ 112 h 398"/>
                  <a:gd name="T68" fmla="*/ 64 w 196"/>
                  <a:gd name="T69" fmla="*/ 144 h 398"/>
                  <a:gd name="T70" fmla="*/ 50 w 196"/>
                  <a:gd name="T71" fmla="*/ 162 h 398"/>
                  <a:gd name="T72" fmla="*/ 36 w 196"/>
                  <a:gd name="T73" fmla="*/ 178 h 398"/>
                  <a:gd name="T74" fmla="*/ 26 w 196"/>
                  <a:gd name="T75" fmla="*/ 196 h 398"/>
                  <a:gd name="T76" fmla="*/ 16 w 196"/>
                  <a:gd name="T77" fmla="*/ 216 h 398"/>
                  <a:gd name="T78" fmla="*/ 8 w 196"/>
                  <a:gd name="T79" fmla="*/ 238 h 398"/>
                  <a:gd name="T80" fmla="*/ 2 w 196"/>
                  <a:gd name="T81" fmla="*/ 260 h 398"/>
                  <a:gd name="T82" fmla="*/ 0 w 196"/>
                  <a:gd name="T83" fmla="*/ 286 h 398"/>
                  <a:gd name="T84" fmla="*/ 0 w 196"/>
                  <a:gd name="T85" fmla="*/ 312 h 398"/>
                  <a:gd name="T86" fmla="*/ 0 w 196"/>
                  <a:gd name="T87" fmla="*/ 312 h 398"/>
                  <a:gd name="T88" fmla="*/ 2 w 196"/>
                  <a:gd name="T89" fmla="*/ 348 h 398"/>
                  <a:gd name="T90" fmla="*/ 6 w 196"/>
                  <a:gd name="T91" fmla="*/ 374 h 398"/>
                  <a:gd name="T92" fmla="*/ 12 w 196"/>
                  <a:gd name="T93" fmla="*/ 398 h 398"/>
                  <a:gd name="T94" fmla="*/ 12 w 196"/>
                  <a:gd name="T95" fmla="*/ 39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6" h="398">
                    <a:moveTo>
                      <a:pt x="12" y="398"/>
                    </a:moveTo>
                    <a:lnTo>
                      <a:pt x="12" y="398"/>
                    </a:lnTo>
                    <a:lnTo>
                      <a:pt x="64" y="368"/>
                    </a:lnTo>
                    <a:lnTo>
                      <a:pt x="64" y="368"/>
                    </a:lnTo>
                    <a:lnTo>
                      <a:pt x="74" y="354"/>
                    </a:lnTo>
                    <a:lnTo>
                      <a:pt x="74" y="354"/>
                    </a:lnTo>
                    <a:lnTo>
                      <a:pt x="92" y="326"/>
                    </a:lnTo>
                    <a:lnTo>
                      <a:pt x="106" y="300"/>
                    </a:lnTo>
                    <a:lnTo>
                      <a:pt x="116" y="276"/>
                    </a:lnTo>
                    <a:lnTo>
                      <a:pt x="124" y="252"/>
                    </a:lnTo>
                    <a:lnTo>
                      <a:pt x="130" y="230"/>
                    </a:lnTo>
                    <a:lnTo>
                      <a:pt x="134" y="204"/>
                    </a:lnTo>
                    <a:lnTo>
                      <a:pt x="146" y="152"/>
                    </a:lnTo>
                    <a:lnTo>
                      <a:pt x="146" y="152"/>
                    </a:lnTo>
                    <a:lnTo>
                      <a:pt x="140" y="202"/>
                    </a:lnTo>
                    <a:lnTo>
                      <a:pt x="130" y="250"/>
                    </a:lnTo>
                    <a:lnTo>
                      <a:pt x="124" y="274"/>
                    </a:lnTo>
                    <a:lnTo>
                      <a:pt x="116" y="298"/>
                    </a:lnTo>
                    <a:lnTo>
                      <a:pt x="96" y="348"/>
                    </a:lnTo>
                    <a:lnTo>
                      <a:pt x="96" y="348"/>
                    </a:lnTo>
                    <a:lnTo>
                      <a:pt x="118" y="334"/>
                    </a:lnTo>
                    <a:lnTo>
                      <a:pt x="138" y="316"/>
                    </a:lnTo>
                    <a:lnTo>
                      <a:pt x="156" y="298"/>
                    </a:lnTo>
                    <a:lnTo>
                      <a:pt x="170" y="278"/>
                    </a:lnTo>
                    <a:lnTo>
                      <a:pt x="182" y="256"/>
                    </a:lnTo>
                    <a:lnTo>
                      <a:pt x="190" y="230"/>
                    </a:lnTo>
                    <a:lnTo>
                      <a:pt x="196" y="202"/>
                    </a:lnTo>
                    <a:lnTo>
                      <a:pt x="196" y="170"/>
                    </a:lnTo>
                    <a:lnTo>
                      <a:pt x="188" y="0"/>
                    </a:lnTo>
                    <a:lnTo>
                      <a:pt x="188" y="0"/>
                    </a:lnTo>
                    <a:lnTo>
                      <a:pt x="174" y="22"/>
                    </a:lnTo>
                    <a:lnTo>
                      <a:pt x="158" y="42"/>
                    </a:lnTo>
                    <a:lnTo>
                      <a:pt x="126" y="78"/>
                    </a:lnTo>
                    <a:lnTo>
                      <a:pt x="94" y="112"/>
                    </a:lnTo>
                    <a:lnTo>
                      <a:pt x="64" y="144"/>
                    </a:lnTo>
                    <a:lnTo>
                      <a:pt x="50" y="162"/>
                    </a:lnTo>
                    <a:lnTo>
                      <a:pt x="36" y="178"/>
                    </a:lnTo>
                    <a:lnTo>
                      <a:pt x="26" y="196"/>
                    </a:lnTo>
                    <a:lnTo>
                      <a:pt x="16" y="216"/>
                    </a:lnTo>
                    <a:lnTo>
                      <a:pt x="8" y="238"/>
                    </a:lnTo>
                    <a:lnTo>
                      <a:pt x="2" y="260"/>
                    </a:lnTo>
                    <a:lnTo>
                      <a:pt x="0" y="286"/>
                    </a:lnTo>
                    <a:lnTo>
                      <a:pt x="0" y="312"/>
                    </a:lnTo>
                    <a:lnTo>
                      <a:pt x="0" y="312"/>
                    </a:lnTo>
                    <a:lnTo>
                      <a:pt x="2" y="348"/>
                    </a:lnTo>
                    <a:lnTo>
                      <a:pt x="6" y="374"/>
                    </a:lnTo>
                    <a:lnTo>
                      <a:pt x="12" y="398"/>
                    </a:lnTo>
                    <a:lnTo>
                      <a:pt x="12" y="3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36" name="Freeform 59">
                <a:extLst>
                  <a:ext uri="{FF2B5EF4-FFF2-40B4-BE49-F238E27FC236}">
                    <a16:creationId xmlns:a16="http://schemas.microsoft.com/office/drawing/2014/main" id="{A3859555-B8B9-4803-BCEB-4F822B95BC83}"/>
                  </a:ext>
                </a:extLst>
              </p:cNvPr>
              <p:cNvSpPr>
                <a:spLocks/>
              </p:cNvSpPr>
              <p:nvPr/>
            </p:nvSpPr>
            <p:spPr bwMode="auto">
              <a:xfrm>
                <a:off x="2337" y="1358"/>
                <a:ext cx="408" cy="414"/>
              </a:xfrm>
              <a:custGeom>
                <a:avLst/>
                <a:gdLst>
                  <a:gd name="T0" fmla="*/ 36 w 408"/>
                  <a:gd name="T1" fmla="*/ 300 h 414"/>
                  <a:gd name="T2" fmla="*/ 36 w 408"/>
                  <a:gd name="T3" fmla="*/ 300 h 414"/>
                  <a:gd name="T4" fmla="*/ 12 w 408"/>
                  <a:gd name="T5" fmla="*/ 340 h 414"/>
                  <a:gd name="T6" fmla="*/ 12 w 408"/>
                  <a:gd name="T7" fmla="*/ 340 h 414"/>
                  <a:gd name="T8" fmla="*/ 0 w 408"/>
                  <a:gd name="T9" fmla="*/ 414 h 414"/>
                  <a:gd name="T10" fmla="*/ 0 w 408"/>
                  <a:gd name="T11" fmla="*/ 414 h 414"/>
                  <a:gd name="T12" fmla="*/ 30 w 408"/>
                  <a:gd name="T13" fmla="*/ 408 h 414"/>
                  <a:gd name="T14" fmla="*/ 66 w 408"/>
                  <a:gd name="T15" fmla="*/ 400 h 414"/>
                  <a:gd name="T16" fmla="*/ 110 w 408"/>
                  <a:gd name="T17" fmla="*/ 384 h 414"/>
                  <a:gd name="T18" fmla="*/ 110 w 408"/>
                  <a:gd name="T19" fmla="*/ 384 h 414"/>
                  <a:gd name="T20" fmla="*/ 142 w 408"/>
                  <a:gd name="T21" fmla="*/ 370 h 414"/>
                  <a:gd name="T22" fmla="*/ 172 w 408"/>
                  <a:gd name="T23" fmla="*/ 354 h 414"/>
                  <a:gd name="T24" fmla="*/ 198 w 408"/>
                  <a:gd name="T25" fmla="*/ 336 h 414"/>
                  <a:gd name="T26" fmla="*/ 220 w 408"/>
                  <a:gd name="T27" fmla="*/ 316 h 414"/>
                  <a:gd name="T28" fmla="*/ 240 w 408"/>
                  <a:gd name="T29" fmla="*/ 296 h 414"/>
                  <a:gd name="T30" fmla="*/ 256 w 408"/>
                  <a:gd name="T31" fmla="*/ 272 h 414"/>
                  <a:gd name="T32" fmla="*/ 272 w 408"/>
                  <a:gd name="T33" fmla="*/ 248 h 414"/>
                  <a:gd name="T34" fmla="*/ 286 w 408"/>
                  <a:gd name="T35" fmla="*/ 224 h 414"/>
                  <a:gd name="T36" fmla="*/ 314 w 408"/>
                  <a:gd name="T37" fmla="*/ 170 h 414"/>
                  <a:gd name="T38" fmla="*/ 340 w 408"/>
                  <a:gd name="T39" fmla="*/ 114 h 414"/>
                  <a:gd name="T40" fmla="*/ 354 w 408"/>
                  <a:gd name="T41" fmla="*/ 86 h 414"/>
                  <a:gd name="T42" fmla="*/ 370 w 408"/>
                  <a:gd name="T43" fmla="*/ 58 h 414"/>
                  <a:gd name="T44" fmla="*/ 388 w 408"/>
                  <a:gd name="T45" fmla="*/ 30 h 414"/>
                  <a:gd name="T46" fmla="*/ 408 w 408"/>
                  <a:gd name="T47" fmla="*/ 0 h 414"/>
                  <a:gd name="T48" fmla="*/ 196 w 408"/>
                  <a:gd name="T49" fmla="*/ 78 h 414"/>
                  <a:gd name="T50" fmla="*/ 196 w 408"/>
                  <a:gd name="T51" fmla="*/ 78 h 414"/>
                  <a:gd name="T52" fmla="*/ 178 w 408"/>
                  <a:gd name="T53" fmla="*/ 86 h 414"/>
                  <a:gd name="T54" fmla="*/ 160 w 408"/>
                  <a:gd name="T55" fmla="*/ 94 h 414"/>
                  <a:gd name="T56" fmla="*/ 144 w 408"/>
                  <a:gd name="T57" fmla="*/ 102 h 414"/>
                  <a:gd name="T58" fmla="*/ 128 w 408"/>
                  <a:gd name="T59" fmla="*/ 112 h 414"/>
                  <a:gd name="T60" fmla="*/ 114 w 408"/>
                  <a:gd name="T61" fmla="*/ 122 h 414"/>
                  <a:gd name="T62" fmla="*/ 102 w 408"/>
                  <a:gd name="T63" fmla="*/ 134 h 414"/>
                  <a:gd name="T64" fmla="*/ 80 w 408"/>
                  <a:gd name="T65" fmla="*/ 156 h 414"/>
                  <a:gd name="T66" fmla="*/ 62 w 408"/>
                  <a:gd name="T67" fmla="*/ 182 h 414"/>
                  <a:gd name="T68" fmla="*/ 48 w 408"/>
                  <a:gd name="T69" fmla="*/ 208 h 414"/>
                  <a:gd name="T70" fmla="*/ 36 w 408"/>
                  <a:gd name="T71" fmla="*/ 238 h 414"/>
                  <a:gd name="T72" fmla="*/ 28 w 408"/>
                  <a:gd name="T73" fmla="*/ 268 h 414"/>
                  <a:gd name="T74" fmla="*/ 28 w 408"/>
                  <a:gd name="T75" fmla="*/ 268 h 414"/>
                  <a:gd name="T76" fmla="*/ 52 w 408"/>
                  <a:gd name="T77" fmla="*/ 248 h 414"/>
                  <a:gd name="T78" fmla="*/ 76 w 408"/>
                  <a:gd name="T79" fmla="*/ 230 h 414"/>
                  <a:gd name="T80" fmla="*/ 100 w 408"/>
                  <a:gd name="T81" fmla="*/ 218 h 414"/>
                  <a:gd name="T82" fmla="*/ 124 w 408"/>
                  <a:gd name="T83" fmla="*/ 206 h 414"/>
                  <a:gd name="T84" fmla="*/ 148 w 408"/>
                  <a:gd name="T85" fmla="*/ 198 h 414"/>
                  <a:gd name="T86" fmla="*/ 174 w 408"/>
                  <a:gd name="T87" fmla="*/ 190 h 414"/>
                  <a:gd name="T88" fmla="*/ 200 w 408"/>
                  <a:gd name="T89" fmla="*/ 186 h 414"/>
                  <a:gd name="T90" fmla="*/ 230 w 408"/>
                  <a:gd name="T91" fmla="*/ 182 h 414"/>
                  <a:gd name="T92" fmla="*/ 230 w 408"/>
                  <a:gd name="T93" fmla="*/ 182 h 414"/>
                  <a:gd name="T94" fmla="*/ 174 w 408"/>
                  <a:gd name="T95" fmla="*/ 200 h 414"/>
                  <a:gd name="T96" fmla="*/ 150 w 408"/>
                  <a:gd name="T97" fmla="*/ 208 h 414"/>
                  <a:gd name="T98" fmla="*/ 126 w 408"/>
                  <a:gd name="T99" fmla="*/ 216 h 414"/>
                  <a:gd name="T100" fmla="*/ 102 w 408"/>
                  <a:gd name="T101" fmla="*/ 230 h 414"/>
                  <a:gd name="T102" fmla="*/ 80 w 408"/>
                  <a:gd name="T103" fmla="*/ 246 h 414"/>
                  <a:gd name="T104" fmla="*/ 70 w 408"/>
                  <a:gd name="T105" fmla="*/ 256 h 414"/>
                  <a:gd name="T106" fmla="*/ 58 w 408"/>
                  <a:gd name="T107" fmla="*/ 270 h 414"/>
                  <a:gd name="T108" fmla="*/ 48 w 408"/>
                  <a:gd name="T109" fmla="*/ 284 h 414"/>
                  <a:gd name="T110" fmla="*/ 36 w 408"/>
                  <a:gd name="T111" fmla="*/ 300 h 414"/>
                  <a:gd name="T112" fmla="*/ 36 w 408"/>
                  <a:gd name="T113" fmla="*/ 30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8" h="414">
                    <a:moveTo>
                      <a:pt x="36" y="300"/>
                    </a:moveTo>
                    <a:lnTo>
                      <a:pt x="36" y="300"/>
                    </a:lnTo>
                    <a:lnTo>
                      <a:pt x="12" y="340"/>
                    </a:lnTo>
                    <a:lnTo>
                      <a:pt x="12" y="340"/>
                    </a:lnTo>
                    <a:lnTo>
                      <a:pt x="0" y="414"/>
                    </a:lnTo>
                    <a:lnTo>
                      <a:pt x="0" y="414"/>
                    </a:lnTo>
                    <a:lnTo>
                      <a:pt x="30" y="408"/>
                    </a:lnTo>
                    <a:lnTo>
                      <a:pt x="66" y="400"/>
                    </a:lnTo>
                    <a:lnTo>
                      <a:pt x="110" y="384"/>
                    </a:lnTo>
                    <a:lnTo>
                      <a:pt x="110" y="384"/>
                    </a:lnTo>
                    <a:lnTo>
                      <a:pt x="142" y="370"/>
                    </a:lnTo>
                    <a:lnTo>
                      <a:pt x="172" y="354"/>
                    </a:lnTo>
                    <a:lnTo>
                      <a:pt x="198" y="336"/>
                    </a:lnTo>
                    <a:lnTo>
                      <a:pt x="220" y="316"/>
                    </a:lnTo>
                    <a:lnTo>
                      <a:pt x="240" y="296"/>
                    </a:lnTo>
                    <a:lnTo>
                      <a:pt x="256" y="272"/>
                    </a:lnTo>
                    <a:lnTo>
                      <a:pt x="272" y="248"/>
                    </a:lnTo>
                    <a:lnTo>
                      <a:pt x="286" y="224"/>
                    </a:lnTo>
                    <a:lnTo>
                      <a:pt x="314" y="170"/>
                    </a:lnTo>
                    <a:lnTo>
                      <a:pt x="340" y="114"/>
                    </a:lnTo>
                    <a:lnTo>
                      <a:pt x="354" y="86"/>
                    </a:lnTo>
                    <a:lnTo>
                      <a:pt x="370" y="58"/>
                    </a:lnTo>
                    <a:lnTo>
                      <a:pt x="388" y="30"/>
                    </a:lnTo>
                    <a:lnTo>
                      <a:pt x="408" y="0"/>
                    </a:lnTo>
                    <a:lnTo>
                      <a:pt x="196" y="78"/>
                    </a:lnTo>
                    <a:lnTo>
                      <a:pt x="196" y="78"/>
                    </a:lnTo>
                    <a:lnTo>
                      <a:pt x="178" y="86"/>
                    </a:lnTo>
                    <a:lnTo>
                      <a:pt x="160" y="94"/>
                    </a:lnTo>
                    <a:lnTo>
                      <a:pt x="144" y="102"/>
                    </a:lnTo>
                    <a:lnTo>
                      <a:pt x="128" y="112"/>
                    </a:lnTo>
                    <a:lnTo>
                      <a:pt x="114" y="122"/>
                    </a:lnTo>
                    <a:lnTo>
                      <a:pt x="102" y="134"/>
                    </a:lnTo>
                    <a:lnTo>
                      <a:pt x="80" y="156"/>
                    </a:lnTo>
                    <a:lnTo>
                      <a:pt x="62" y="182"/>
                    </a:lnTo>
                    <a:lnTo>
                      <a:pt x="48" y="208"/>
                    </a:lnTo>
                    <a:lnTo>
                      <a:pt x="36" y="238"/>
                    </a:lnTo>
                    <a:lnTo>
                      <a:pt x="28" y="268"/>
                    </a:lnTo>
                    <a:lnTo>
                      <a:pt x="28" y="268"/>
                    </a:lnTo>
                    <a:lnTo>
                      <a:pt x="52" y="248"/>
                    </a:lnTo>
                    <a:lnTo>
                      <a:pt x="76" y="230"/>
                    </a:lnTo>
                    <a:lnTo>
                      <a:pt x="100" y="218"/>
                    </a:lnTo>
                    <a:lnTo>
                      <a:pt x="124" y="206"/>
                    </a:lnTo>
                    <a:lnTo>
                      <a:pt x="148" y="198"/>
                    </a:lnTo>
                    <a:lnTo>
                      <a:pt x="174" y="190"/>
                    </a:lnTo>
                    <a:lnTo>
                      <a:pt x="200" y="186"/>
                    </a:lnTo>
                    <a:lnTo>
                      <a:pt x="230" y="182"/>
                    </a:lnTo>
                    <a:lnTo>
                      <a:pt x="230" y="182"/>
                    </a:lnTo>
                    <a:lnTo>
                      <a:pt x="174" y="200"/>
                    </a:lnTo>
                    <a:lnTo>
                      <a:pt x="150" y="208"/>
                    </a:lnTo>
                    <a:lnTo>
                      <a:pt x="126" y="216"/>
                    </a:lnTo>
                    <a:lnTo>
                      <a:pt x="102" y="230"/>
                    </a:lnTo>
                    <a:lnTo>
                      <a:pt x="80" y="246"/>
                    </a:lnTo>
                    <a:lnTo>
                      <a:pt x="70" y="256"/>
                    </a:lnTo>
                    <a:lnTo>
                      <a:pt x="58" y="270"/>
                    </a:lnTo>
                    <a:lnTo>
                      <a:pt x="48" y="284"/>
                    </a:lnTo>
                    <a:lnTo>
                      <a:pt x="36" y="300"/>
                    </a:lnTo>
                    <a:lnTo>
                      <a:pt x="36"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37" name="Freeform 60">
                <a:extLst>
                  <a:ext uri="{FF2B5EF4-FFF2-40B4-BE49-F238E27FC236}">
                    <a16:creationId xmlns:a16="http://schemas.microsoft.com/office/drawing/2014/main" id="{AB26BE16-C6FD-42AD-95CB-4C346C42FBA6}"/>
                  </a:ext>
                </a:extLst>
              </p:cNvPr>
              <p:cNvSpPr>
                <a:spLocks/>
              </p:cNvSpPr>
              <p:nvPr/>
            </p:nvSpPr>
            <p:spPr bwMode="auto">
              <a:xfrm>
                <a:off x="2141" y="1175"/>
                <a:ext cx="214" cy="565"/>
              </a:xfrm>
              <a:custGeom>
                <a:avLst/>
                <a:gdLst>
                  <a:gd name="T0" fmla="*/ 72 w 214"/>
                  <a:gd name="T1" fmla="*/ 485 h 565"/>
                  <a:gd name="T2" fmla="*/ 72 w 214"/>
                  <a:gd name="T3" fmla="*/ 485 h 565"/>
                  <a:gd name="T4" fmla="*/ 102 w 214"/>
                  <a:gd name="T5" fmla="*/ 519 h 565"/>
                  <a:gd name="T6" fmla="*/ 128 w 214"/>
                  <a:gd name="T7" fmla="*/ 545 h 565"/>
                  <a:gd name="T8" fmla="*/ 152 w 214"/>
                  <a:gd name="T9" fmla="*/ 565 h 565"/>
                  <a:gd name="T10" fmla="*/ 152 w 214"/>
                  <a:gd name="T11" fmla="*/ 565 h 565"/>
                  <a:gd name="T12" fmla="*/ 176 w 214"/>
                  <a:gd name="T13" fmla="*/ 505 h 565"/>
                  <a:gd name="T14" fmla="*/ 176 w 214"/>
                  <a:gd name="T15" fmla="*/ 505 h 565"/>
                  <a:gd name="T16" fmla="*/ 176 w 214"/>
                  <a:gd name="T17" fmla="*/ 487 h 565"/>
                  <a:gd name="T18" fmla="*/ 174 w 214"/>
                  <a:gd name="T19" fmla="*/ 467 h 565"/>
                  <a:gd name="T20" fmla="*/ 174 w 214"/>
                  <a:gd name="T21" fmla="*/ 467 h 565"/>
                  <a:gd name="T22" fmla="*/ 170 w 214"/>
                  <a:gd name="T23" fmla="*/ 419 h 565"/>
                  <a:gd name="T24" fmla="*/ 162 w 214"/>
                  <a:gd name="T25" fmla="*/ 377 h 565"/>
                  <a:gd name="T26" fmla="*/ 150 w 214"/>
                  <a:gd name="T27" fmla="*/ 339 h 565"/>
                  <a:gd name="T28" fmla="*/ 138 w 214"/>
                  <a:gd name="T29" fmla="*/ 303 h 565"/>
                  <a:gd name="T30" fmla="*/ 122 w 214"/>
                  <a:gd name="T31" fmla="*/ 269 h 565"/>
                  <a:gd name="T32" fmla="*/ 106 w 214"/>
                  <a:gd name="T33" fmla="*/ 235 h 565"/>
                  <a:gd name="T34" fmla="*/ 70 w 214"/>
                  <a:gd name="T35" fmla="*/ 158 h 565"/>
                  <a:gd name="T36" fmla="*/ 70 w 214"/>
                  <a:gd name="T37" fmla="*/ 158 h 565"/>
                  <a:gd name="T38" fmla="*/ 92 w 214"/>
                  <a:gd name="T39" fmla="*/ 195 h 565"/>
                  <a:gd name="T40" fmla="*/ 110 w 214"/>
                  <a:gd name="T41" fmla="*/ 229 h 565"/>
                  <a:gd name="T42" fmla="*/ 128 w 214"/>
                  <a:gd name="T43" fmla="*/ 263 h 565"/>
                  <a:gd name="T44" fmla="*/ 142 w 214"/>
                  <a:gd name="T45" fmla="*/ 297 h 565"/>
                  <a:gd name="T46" fmla="*/ 156 w 214"/>
                  <a:gd name="T47" fmla="*/ 333 h 565"/>
                  <a:gd name="T48" fmla="*/ 170 w 214"/>
                  <a:gd name="T49" fmla="*/ 369 h 565"/>
                  <a:gd name="T50" fmla="*/ 182 w 214"/>
                  <a:gd name="T51" fmla="*/ 409 h 565"/>
                  <a:gd name="T52" fmla="*/ 194 w 214"/>
                  <a:gd name="T53" fmla="*/ 453 h 565"/>
                  <a:gd name="T54" fmla="*/ 194 w 214"/>
                  <a:gd name="T55" fmla="*/ 453 h 565"/>
                  <a:gd name="T56" fmla="*/ 204 w 214"/>
                  <a:gd name="T57" fmla="*/ 417 h 565"/>
                  <a:gd name="T58" fmla="*/ 210 w 214"/>
                  <a:gd name="T59" fmla="*/ 383 h 565"/>
                  <a:gd name="T60" fmla="*/ 214 w 214"/>
                  <a:gd name="T61" fmla="*/ 349 h 565"/>
                  <a:gd name="T62" fmla="*/ 214 w 214"/>
                  <a:gd name="T63" fmla="*/ 331 h 565"/>
                  <a:gd name="T64" fmla="*/ 214 w 214"/>
                  <a:gd name="T65" fmla="*/ 315 h 565"/>
                  <a:gd name="T66" fmla="*/ 212 w 214"/>
                  <a:gd name="T67" fmla="*/ 297 h 565"/>
                  <a:gd name="T68" fmla="*/ 208 w 214"/>
                  <a:gd name="T69" fmla="*/ 281 h 565"/>
                  <a:gd name="T70" fmla="*/ 202 w 214"/>
                  <a:gd name="T71" fmla="*/ 263 h 565"/>
                  <a:gd name="T72" fmla="*/ 196 w 214"/>
                  <a:gd name="T73" fmla="*/ 247 h 565"/>
                  <a:gd name="T74" fmla="*/ 188 w 214"/>
                  <a:gd name="T75" fmla="*/ 229 h 565"/>
                  <a:gd name="T76" fmla="*/ 178 w 214"/>
                  <a:gd name="T77" fmla="*/ 211 h 565"/>
                  <a:gd name="T78" fmla="*/ 166 w 214"/>
                  <a:gd name="T79" fmla="*/ 193 h 565"/>
                  <a:gd name="T80" fmla="*/ 152 w 214"/>
                  <a:gd name="T81" fmla="*/ 175 h 565"/>
                  <a:gd name="T82" fmla="*/ 8 w 214"/>
                  <a:gd name="T83" fmla="*/ 0 h 565"/>
                  <a:gd name="T84" fmla="*/ 8 w 214"/>
                  <a:gd name="T85" fmla="*/ 0 h 565"/>
                  <a:gd name="T86" fmla="*/ 10 w 214"/>
                  <a:gd name="T87" fmla="*/ 36 h 565"/>
                  <a:gd name="T88" fmla="*/ 12 w 214"/>
                  <a:gd name="T89" fmla="*/ 68 h 565"/>
                  <a:gd name="T90" fmla="*/ 12 w 214"/>
                  <a:gd name="T91" fmla="*/ 102 h 565"/>
                  <a:gd name="T92" fmla="*/ 10 w 214"/>
                  <a:gd name="T93" fmla="*/ 134 h 565"/>
                  <a:gd name="T94" fmla="*/ 4 w 214"/>
                  <a:gd name="T95" fmla="*/ 195 h 565"/>
                  <a:gd name="T96" fmla="*/ 0 w 214"/>
                  <a:gd name="T97" fmla="*/ 255 h 565"/>
                  <a:gd name="T98" fmla="*/ 0 w 214"/>
                  <a:gd name="T99" fmla="*/ 285 h 565"/>
                  <a:gd name="T100" fmla="*/ 2 w 214"/>
                  <a:gd name="T101" fmla="*/ 313 h 565"/>
                  <a:gd name="T102" fmla="*/ 4 w 214"/>
                  <a:gd name="T103" fmla="*/ 341 h 565"/>
                  <a:gd name="T104" fmla="*/ 10 w 214"/>
                  <a:gd name="T105" fmla="*/ 369 h 565"/>
                  <a:gd name="T106" fmla="*/ 20 w 214"/>
                  <a:gd name="T107" fmla="*/ 397 h 565"/>
                  <a:gd name="T108" fmla="*/ 32 w 214"/>
                  <a:gd name="T109" fmla="*/ 427 h 565"/>
                  <a:gd name="T110" fmla="*/ 50 w 214"/>
                  <a:gd name="T111" fmla="*/ 455 h 565"/>
                  <a:gd name="T112" fmla="*/ 72 w 214"/>
                  <a:gd name="T113" fmla="*/ 485 h 565"/>
                  <a:gd name="T114" fmla="*/ 72 w 214"/>
                  <a:gd name="T115" fmla="*/ 485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4" h="565">
                    <a:moveTo>
                      <a:pt x="72" y="485"/>
                    </a:moveTo>
                    <a:lnTo>
                      <a:pt x="72" y="485"/>
                    </a:lnTo>
                    <a:lnTo>
                      <a:pt x="102" y="519"/>
                    </a:lnTo>
                    <a:lnTo>
                      <a:pt x="128" y="545"/>
                    </a:lnTo>
                    <a:lnTo>
                      <a:pt x="152" y="565"/>
                    </a:lnTo>
                    <a:lnTo>
                      <a:pt x="152" y="565"/>
                    </a:lnTo>
                    <a:lnTo>
                      <a:pt x="176" y="505"/>
                    </a:lnTo>
                    <a:lnTo>
                      <a:pt x="176" y="505"/>
                    </a:lnTo>
                    <a:lnTo>
                      <a:pt x="176" y="487"/>
                    </a:lnTo>
                    <a:lnTo>
                      <a:pt x="174" y="467"/>
                    </a:lnTo>
                    <a:lnTo>
                      <a:pt x="174" y="467"/>
                    </a:lnTo>
                    <a:lnTo>
                      <a:pt x="170" y="419"/>
                    </a:lnTo>
                    <a:lnTo>
                      <a:pt x="162" y="377"/>
                    </a:lnTo>
                    <a:lnTo>
                      <a:pt x="150" y="339"/>
                    </a:lnTo>
                    <a:lnTo>
                      <a:pt x="138" y="303"/>
                    </a:lnTo>
                    <a:lnTo>
                      <a:pt x="122" y="269"/>
                    </a:lnTo>
                    <a:lnTo>
                      <a:pt x="106" y="235"/>
                    </a:lnTo>
                    <a:lnTo>
                      <a:pt x="70" y="158"/>
                    </a:lnTo>
                    <a:lnTo>
                      <a:pt x="70" y="158"/>
                    </a:lnTo>
                    <a:lnTo>
                      <a:pt x="92" y="195"/>
                    </a:lnTo>
                    <a:lnTo>
                      <a:pt x="110" y="229"/>
                    </a:lnTo>
                    <a:lnTo>
                      <a:pt x="128" y="263"/>
                    </a:lnTo>
                    <a:lnTo>
                      <a:pt x="142" y="297"/>
                    </a:lnTo>
                    <a:lnTo>
                      <a:pt x="156" y="333"/>
                    </a:lnTo>
                    <a:lnTo>
                      <a:pt x="170" y="369"/>
                    </a:lnTo>
                    <a:lnTo>
                      <a:pt x="182" y="409"/>
                    </a:lnTo>
                    <a:lnTo>
                      <a:pt x="194" y="453"/>
                    </a:lnTo>
                    <a:lnTo>
                      <a:pt x="194" y="453"/>
                    </a:lnTo>
                    <a:lnTo>
                      <a:pt x="204" y="417"/>
                    </a:lnTo>
                    <a:lnTo>
                      <a:pt x="210" y="383"/>
                    </a:lnTo>
                    <a:lnTo>
                      <a:pt x="214" y="349"/>
                    </a:lnTo>
                    <a:lnTo>
                      <a:pt x="214" y="331"/>
                    </a:lnTo>
                    <a:lnTo>
                      <a:pt x="214" y="315"/>
                    </a:lnTo>
                    <a:lnTo>
                      <a:pt x="212" y="297"/>
                    </a:lnTo>
                    <a:lnTo>
                      <a:pt x="208" y="281"/>
                    </a:lnTo>
                    <a:lnTo>
                      <a:pt x="202" y="263"/>
                    </a:lnTo>
                    <a:lnTo>
                      <a:pt x="196" y="247"/>
                    </a:lnTo>
                    <a:lnTo>
                      <a:pt x="188" y="229"/>
                    </a:lnTo>
                    <a:lnTo>
                      <a:pt x="178" y="211"/>
                    </a:lnTo>
                    <a:lnTo>
                      <a:pt x="166" y="193"/>
                    </a:lnTo>
                    <a:lnTo>
                      <a:pt x="152" y="175"/>
                    </a:lnTo>
                    <a:lnTo>
                      <a:pt x="8" y="0"/>
                    </a:lnTo>
                    <a:lnTo>
                      <a:pt x="8" y="0"/>
                    </a:lnTo>
                    <a:lnTo>
                      <a:pt x="10" y="36"/>
                    </a:lnTo>
                    <a:lnTo>
                      <a:pt x="12" y="68"/>
                    </a:lnTo>
                    <a:lnTo>
                      <a:pt x="12" y="102"/>
                    </a:lnTo>
                    <a:lnTo>
                      <a:pt x="10" y="134"/>
                    </a:lnTo>
                    <a:lnTo>
                      <a:pt x="4" y="195"/>
                    </a:lnTo>
                    <a:lnTo>
                      <a:pt x="0" y="255"/>
                    </a:lnTo>
                    <a:lnTo>
                      <a:pt x="0" y="285"/>
                    </a:lnTo>
                    <a:lnTo>
                      <a:pt x="2" y="313"/>
                    </a:lnTo>
                    <a:lnTo>
                      <a:pt x="4" y="341"/>
                    </a:lnTo>
                    <a:lnTo>
                      <a:pt x="10" y="369"/>
                    </a:lnTo>
                    <a:lnTo>
                      <a:pt x="20" y="397"/>
                    </a:lnTo>
                    <a:lnTo>
                      <a:pt x="32" y="427"/>
                    </a:lnTo>
                    <a:lnTo>
                      <a:pt x="50" y="455"/>
                    </a:lnTo>
                    <a:lnTo>
                      <a:pt x="72" y="485"/>
                    </a:lnTo>
                    <a:lnTo>
                      <a:pt x="72" y="4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38" name="Freeform 61">
                <a:extLst>
                  <a:ext uri="{FF2B5EF4-FFF2-40B4-BE49-F238E27FC236}">
                    <a16:creationId xmlns:a16="http://schemas.microsoft.com/office/drawing/2014/main" id="{5E6FF9AE-35ED-4CCC-B023-1FCC64FFA030}"/>
                  </a:ext>
                </a:extLst>
              </p:cNvPr>
              <p:cNvSpPr>
                <a:spLocks/>
              </p:cNvSpPr>
              <p:nvPr/>
            </p:nvSpPr>
            <p:spPr bwMode="auto">
              <a:xfrm>
                <a:off x="2311" y="1778"/>
                <a:ext cx="392" cy="450"/>
              </a:xfrm>
              <a:custGeom>
                <a:avLst/>
                <a:gdLst>
                  <a:gd name="T0" fmla="*/ 18 w 392"/>
                  <a:gd name="T1" fmla="*/ 350 h 450"/>
                  <a:gd name="T2" fmla="*/ 18 w 392"/>
                  <a:gd name="T3" fmla="*/ 350 h 450"/>
                  <a:gd name="T4" fmla="*/ 8 w 392"/>
                  <a:gd name="T5" fmla="*/ 378 h 450"/>
                  <a:gd name="T6" fmla="*/ 8 w 392"/>
                  <a:gd name="T7" fmla="*/ 378 h 450"/>
                  <a:gd name="T8" fmla="*/ 0 w 392"/>
                  <a:gd name="T9" fmla="*/ 450 h 450"/>
                  <a:gd name="T10" fmla="*/ 0 w 392"/>
                  <a:gd name="T11" fmla="*/ 450 h 450"/>
                  <a:gd name="T12" fmla="*/ 32 w 392"/>
                  <a:gd name="T13" fmla="*/ 442 h 450"/>
                  <a:gd name="T14" fmla="*/ 68 w 392"/>
                  <a:gd name="T15" fmla="*/ 430 h 450"/>
                  <a:gd name="T16" fmla="*/ 112 w 392"/>
                  <a:gd name="T17" fmla="*/ 412 h 450"/>
                  <a:gd name="T18" fmla="*/ 112 w 392"/>
                  <a:gd name="T19" fmla="*/ 412 h 450"/>
                  <a:gd name="T20" fmla="*/ 146 w 392"/>
                  <a:gd name="T21" fmla="*/ 396 h 450"/>
                  <a:gd name="T22" fmla="*/ 174 w 392"/>
                  <a:gd name="T23" fmla="*/ 378 h 450"/>
                  <a:gd name="T24" fmla="*/ 198 w 392"/>
                  <a:gd name="T25" fmla="*/ 358 h 450"/>
                  <a:gd name="T26" fmla="*/ 220 w 392"/>
                  <a:gd name="T27" fmla="*/ 336 h 450"/>
                  <a:gd name="T28" fmla="*/ 240 w 392"/>
                  <a:gd name="T29" fmla="*/ 312 h 450"/>
                  <a:gd name="T30" fmla="*/ 256 w 392"/>
                  <a:gd name="T31" fmla="*/ 288 h 450"/>
                  <a:gd name="T32" fmla="*/ 270 w 392"/>
                  <a:gd name="T33" fmla="*/ 262 h 450"/>
                  <a:gd name="T34" fmla="*/ 282 w 392"/>
                  <a:gd name="T35" fmla="*/ 236 h 450"/>
                  <a:gd name="T36" fmla="*/ 306 w 392"/>
                  <a:gd name="T37" fmla="*/ 180 h 450"/>
                  <a:gd name="T38" fmla="*/ 330 w 392"/>
                  <a:gd name="T39" fmla="*/ 120 h 450"/>
                  <a:gd name="T40" fmla="*/ 342 w 392"/>
                  <a:gd name="T41" fmla="*/ 90 h 450"/>
                  <a:gd name="T42" fmla="*/ 358 w 392"/>
                  <a:gd name="T43" fmla="*/ 60 h 450"/>
                  <a:gd name="T44" fmla="*/ 374 w 392"/>
                  <a:gd name="T45" fmla="*/ 30 h 450"/>
                  <a:gd name="T46" fmla="*/ 392 w 392"/>
                  <a:gd name="T47" fmla="*/ 0 h 450"/>
                  <a:gd name="T48" fmla="*/ 180 w 392"/>
                  <a:gd name="T49" fmla="*/ 92 h 450"/>
                  <a:gd name="T50" fmla="*/ 180 w 392"/>
                  <a:gd name="T51" fmla="*/ 92 h 450"/>
                  <a:gd name="T52" fmla="*/ 162 w 392"/>
                  <a:gd name="T53" fmla="*/ 102 h 450"/>
                  <a:gd name="T54" fmla="*/ 144 w 392"/>
                  <a:gd name="T55" fmla="*/ 112 h 450"/>
                  <a:gd name="T56" fmla="*/ 128 w 392"/>
                  <a:gd name="T57" fmla="*/ 122 h 450"/>
                  <a:gd name="T58" fmla="*/ 114 w 392"/>
                  <a:gd name="T59" fmla="*/ 132 h 450"/>
                  <a:gd name="T60" fmla="*/ 100 w 392"/>
                  <a:gd name="T61" fmla="*/ 144 h 450"/>
                  <a:gd name="T62" fmla="*/ 88 w 392"/>
                  <a:gd name="T63" fmla="*/ 156 h 450"/>
                  <a:gd name="T64" fmla="*/ 68 w 392"/>
                  <a:gd name="T65" fmla="*/ 180 h 450"/>
                  <a:gd name="T66" fmla="*/ 50 w 392"/>
                  <a:gd name="T67" fmla="*/ 208 h 450"/>
                  <a:gd name="T68" fmla="*/ 38 w 392"/>
                  <a:gd name="T69" fmla="*/ 236 h 450"/>
                  <a:gd name="T70" fmla="*/ 28 w 392"/>
                  <a:gd name="T71" fmla="*/ 266 h 450"/>
                  <a:gd name="T72" fmla="*/ 20 w 392"/>
                  <a:gd name="T73" fmla="*/ 298 h 450"/>
                  <a:gd name="T74" fmla="*/ 20 w 392"/>
                  <a:gd name="T75" fmla="*/ 298 h 450"/>
                  <a:gd name="T76" fmla="*/ 46 w 392"/>
                  <a:gd name="T77" fmla="*/ 270 h 450"/>
                  <a:gd name="T78" fmla="*/ 70 w 392"/>
                  <a:gd name="T79" fmla="*/ 246 h 450"/>
                  <a:gd name="T80" fmla="*/ 96 w 392"/>
                  <a:gd name="T81" fmla="*/ 222 h 450"/>
                  <a:gd name="T82" fmla="*/ 124 w 392"/>
                  <a:gd name="T83" fmla="*/ 202 h 450"/>
                  <a:gd name="T84" fmla="*/ 152 w 392"/>
                  <a:gd name="T85" fmla="*/ 184 h 450"/>
                  <a:gd name="T86" fmla="*/ 180 w 392"/>
                  <a:gd name="T87" fmla="*/ 166 h 450"/>
                  <a:gd name="T88" fmla="*/ 212 w 392"/>
                  <a:gd name="T89" fmla="*/ 148 h 450"/>
                  <a:gd name="T90" fmla="*/ 248 w 392"/>
                  <a:gd name="T91" fmla="*/ 132 h 450"/>
                  <a:gd name="T92" fmla="*/ 248 w 392"/>
                  <a:gd name="T93" fmla="*/ 132 h 450"/>
                  <a:gd name="T94" fmla="*/ 212 w 392"/>
                  <a:gd name="T95" fmla="*/ 154 h 450"/>
                  <a:gd name="T96" fmla="*/ 178 w 392"/>
                  <a:gd name="T97" fmla="*/ 176 h 450"/>
                  <a:gd name="T98" fmla="*/ 148 w 392"/>
                  <a:gd name="T99" fmla="*/ 198 h 450"/>
                  <a:gd name="T100" fmla="*/ 118 w 392"/>
                  <a:gd name="T101" fmla="*/ 220 h 450"/>
                  <a:gd name="T102" fmla="*/ 90 w 392"/>
                  <a:gd name="T103" fmla="*/ 244 h 450"/>
                  <a:gd name="T104" fmla="*/ 78 w 392"/>
                  <a:gd name="T105" fmla="*/ 258 h 450"/>
                  <a:gd name="T106" fmla="*/ 64 w 392"/>
                  <a:gd name="T107" fmla="*/ 274 h 450"/>
                  <a:gd name="T108" fmla="*/ 52 w 392"/>
                  <a:gd name="T109" fmla="*/ 290 h 450"/>
                  <a:gd name="T110" fmla="*/ 40 w 392"/>
                  <a:gd name="T111" fmla="*/ 308 h 450"/>
                  <a:gd name="T112" fmla="*/ 30 w 392"/>
                  <a:gd name="T113" fmla="*/ 328 h 450"/>
                  <a:gd name="T114" fmla="*/ 18 w 392"/>
                  <a:gd name="T115" fmla="*/ 350 h 450"/>
                  <a:gd name="T116" fmla="*/ 18 w 392"/>
                  <a:gd name="T117" fmla="*/ 3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 h="450">
                    <a:moveTo>
                      <a:pt x="18" y="350"/>
                    </a:moveTo>
                    <a:lnTo>
                      <a:pt x="18" y="350"/>
                    </a:lnTo>
                    <a:lnTo>
                      <a:pt x="8" y="378"/>
                    </a:lnTo>
                    <a:lnTo>
                      <a:pt x="8" y="378"/>
                    </a:lnTo>
                    <a:lnTo>
                      <a:pt x="0" y="450"/>
                    </a:lnTo>
                    <a:lnTo>
                      <a:pt x="0" y="450"/>
                    </a:lnTo>
                    <a:lnTo>
                      <a:pt x="32" y="442"/>
                    </a:lnTo>
                    <a:lnTo>
                      <a:pt x="68" y="430"/>
                    </a:lnTo>
                    <a:lnTo>
                      <a:pt x="112" y="412"/>
                    </a:lnTo>
                    <a:lnTo>
                      <a:pt x="112" y="412"/>
                    </a:lnTo>
                    <a:lnTo>
                      <a:pt x="146" y="396"/>
                    </a:lnTo>
                    <a:lnTo>
                      <a:pt x="174" y="378"/>
                    </a:lnTo>
                    <a:lnTo>
                      <a:pt x="198" y="358"/>
                    </a:lnTo>
                    <a:lnTo>
                      <a:pt x="220" y="336"/>
                    </a:lnTo>
                    <a:lnTo>
                      <a:pt x="240" y="312"/>
                    </a:lnTo>
                    <a:lnTo>
                      <a:pt x="256" y="288"/>
                    </a:lnTo>
                    <a:lnTo>
                      <a:pt x="270" y="262"/>
                    </a:lnTo>
                    <a:lnTo>
                      <a:pt x="282" y="236"/>
                    </a:lnTo>
                    <a:lnTo>
                      <a:pt x="306" y="180"/>
                    </a:lnTo>
                    <a:lnTo>
                      <a:pt x="330" y="120"/>
                    </a:lnTo>
                    <a:lnTo>
                      <a:pt x="342" y="90"/>
                    </a:lnTo>
                    <a:lnTo>
                      <a:pt x="358" y="60"/>
                    </a:lnTo>
                    <a:lnTo>
                      <a:pt x="374" y="30"/>
                    </a:lnTo>
                    <a:lnTo>
                      <a:pt x="392" y="0"/>
                    </a:lnTo>
                    <a:lnTo>
                      <a:pt x="180" y="92"/>
                    </a:lnTo>
                    <a:lnTo>
                      <a:pt x="180" y="92"/>
                    </a:lnTo>
                    <a:lnTo>
                      <a:pt x="162" y="102"/>
                    </a:lnTo>
                    <a:lnTo>
                      <a:pt x="144" y="112"/>
                    </a:lnTo>
                    <a:lnTo>
                      <a:pt x="128" y="122"/>
                    </a:lnTo>
                    <a:lnTo>
                      <a:pt x="114" y="132"/>
                    </a:lnTo>
                    <a:lnTo>
                      <a:pt x="100" y="144"/>
                    </a:lnTo>
                    <a:lnTo>
                      <a:pt x="88" y="156"/>
                    </a:lnTo>
                    <a:lnTo>
                      <a:pt x="68" y="180"/>
                    </a:lnTo>
                    <a:lnTo>
                      <a:pt x="50" y="208"/>
                    </a:lnTo>
                    <a:lnTo>
                      <a:pt x="38" y="236"/>
                    </a:lnTo>
                    <a:lnTo>
                      <a:pt x="28" y="266"/>
                    </a:lnTo>
                    <a:lnTo>
                      <a:pt x="20" y="298"/>
                    </a:lnTo>
                    <a:lnTo>
                      <a:pt x="20" y="298"/>
                    </a:lnTo>
                    <a:lnTo>
                      <a:pt x="46" y="270"/>
                    </a:lnTo>
                    <a:lnTo>
                      <a:pt x="70" y="246"/>
                    </a:lnTo>
                    <a:lnTo>
                      <a:pt x="96" y="222"/>
                    </a:lnTo>
                    <a:lnTo>
                      <a:pt x="124" y="202"/>
                    </a:lnTo>
                    <a:lnTo>
                      <a:pt x="152" y="184"/>
                    </a:lnTo>
                    <a:lnTo>
                      <a:pt x="180" y="166"/>
                    </a:lnTo>
                    <a:lnTo>
                      <a:pt x="212" y="148"/>
                    </a:lnTo>
                    <a:lnTo>
                      <a:pt x="248" y="132"/>
                    </a:lnTo>
                    <a:lnTo>
                      <a:pt x="248" y="132"/>
                    </a:lnTo>
                    <a:lnTo>
                      <a:pt x="212" y="154"/>
                    </a:lnTo>
                    <a:lnTo>
                      <a:pt x="178" y="176"/>
                    </a:lnTo>
                    <a:lnTo>
                      <a:pt x="148" y="198"/>
                    </a:lnTo>
                    <a:lnTo>
                      <a:pt x="118" y="220"/>
                    </a:lnTo>
                    <a:lnTo>
                      <a:pt x="90" y="244"/>
                    </a:lnTo>
                    <a:lnTo>
                      <a:pt x="78" y="258"/>
                    </a:lnTo>
                    <a:lnTo>
                      <a:pt x="64" y="274"/>
                    </a:lnTo>
                    <a:lnTo>
                      <a:pt x="52" y="290"/>
                    </a:lnTo>
                    <a:lnTo>
                      <a:pt x="40" y="308"/>
                    </a:lnTo>
                    <a:lnTo>
                      <a:pt x="30" y="328"/>
                    </a:lnTo>
                    <a:lnTo>
                      <a:pt x="18" y="350"/>
                    </a:lnTo>
                    <a:lnTo>
                      <a:pt x="18" y="3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39" name="Freeform 62">
                <a:extLst>
                  <a:ext uri="{FF2B5EF4-FFF2-40B4-BE49-F238E27FC236}">
                    <a16:creationId xmlns:a16="http://schemas.microsoft.com/office/drawing/2014/main" id="{C7B71A1D-1973-4866-B9CF-A4C41239F21F}"/>
                  </a:ext>
                </a:extLst>
              </p:cNvPr>
              <p:cNvSpPr>
                <a:spLocks/>
              </p:cNvSpPr>
              <p:nvPr/>
            </p:nvSpPr>
            <p:spPr bwMode="auto">
              <a:xfrm>
                <a:off x="2029" y="1658"/>
                <a:ext cx="252" cy="558"/>
              </a:xfrm>
              <a:custGeom>
                <a:avLst/>
                <a:gdLst>
                  <a:gd name="T0" fmla="*/ 230 w 252"/>
                  <a:gd name="T1" fmla="*/ 558 h 558"/>
                  <a:gd name="T2" fmla="*/ 230 w 252"/>
                  <a:gd name="T3" fmla="*/ 558 h 558"/>
                  <a:gd name="T4" fmla="*/ 236 w 252"/>
                  <a:gd name="T5" fmla="*/ 534 h 558"/>
                  <a:gd name="T6" fmla="*/ 232 w 252"/>
                  <a:gd name="T7" fmla="*/ 538 h 558"/>
                  <a:gd name="T8" fmla="*/ 232 w 252"/>
                  <a:gd name="T9" fmla="*/ 538 h 558"/>
                  <a:gd name="T10" fmla="*/ 228 w 252"/>
                  <a:gd name="T11" fmla="*/ 510 h 558"/>
                  <a:gd name="T12" fmla="*/ 222 w 252"/>
                  <a:gd name="T13" fmla="*/ 484 h 558"/>
                  <a:gd name="T14" fmla="*/ 222 w 252"/>
                  <a:gd name="T15" fmla="*/ 484 h 558"/>
                  <a:gd name="T16" fmla="*/ 206 w 252"/>
                  <a:gd name="T17" fmla="*/ 436 h 558"/>
                  <a:gd name="T18" fmla="*/ 192 w 252"/>
                  <a:gd name="T19" fmla="*/ 398 h 558"/>
                  <a:gd name="T20" fmla="*/ 174 w 252"/>
                  <a:gd name="T21" fmla="*/ 364 h 558"/>
                  <a:gd name="T22" fmla="*/ 156 w 252"/>
                  <a:gd name="T23" fmla="*/ 336 h 558"/>
                  <a:gd name="T24" fmla="*/ 134 w 252"/>
                  <a:gd name="T25" fmla="*/ 308 h 558"/>
                  <a:gd name="T26" fmla="*/ 110 w 252"/>
                  <a:gd name="T27" fmla="*/ 282 h 558"/>
                  <a:gd name="T28" fmla="*/ 52 w 252"/>
                  <a:gd name="T29" fmla="*/ 222 h 558"/>
                  <a:gd name="T30" fmla="*/ 52 w 252"/>
                  <a:gd name="T31" fmla="*/ 222 h 558"/>
                  <a:gd name="T32" fmla="*/ 88 w 252"/>
                  <a:gd name="T33" fmla="*/ 248 h 558"/>
                  <a:gd name="T34" fmla="*/ 116 w 252"/>
                  <a:gd name="T35" fmla="*/ 276 h 558"/>
                  <a:gd name="T36" fmla="*/ 142 w 252"/>
                  <a:gd name="T37" fmla="*/ 302 h 558"/>
                  <a:gd name="T38" fmla="*/ 164 w 252"/>
                  <a:gd name="T39" fmla="*/ 328 h 558"/>
                  <a:gd name="T40" fmla="*/ 186 w 252"/>
                  <a:gd name="T41" fmla="*/ 358 h 558"/>
                  <a:gd name="T42" fmla="*/ 206 w 252"/>
                  <a:gd name="T43" fmla="*/ 390 h 558"/>
                  <a:gd name="T44" fmla="*/ 226 w 252"/>
                  <a:gd name="T45" fmla="*/ 426 h 558"/>
                  <a:gd name="T46" fmla="*/ 248 w 252"/>
                  <a:gd name="T47" fmla="*/ 466 h 558"/>
                  <a:gd name="T48" fmla="*/ 248 w 252"/>
                  <a:gd name="T49" fmla="*/ 466 h 558"/>
                  <a:gd name="T50" fmla="*/ 250 w 252"/>
                  <a:gd name="T51" fmla="*/ 442 h 558"/>
                  <a:gd name="T52" fmla="*/ 250 w 252"/>
                  <a:gd name="T53" fmla="*/ 442 h 558"/>
                  <a:gd name="T54" fmla="*/ 252 w 252"/>
                  <a:gd name="T55" fmla="*/ 406 h 558"/>
                  <a:gd name="T56" fmla="*/ 248 w 252"/>
                  <a:gd name="T57" fmla="*/ 372 h 558"/>
                  <a:gd name="T58" fmla="*/ 242 w 252"/>
                  <a:gd name="T59" fmla="*/ 340 h 558"/>
                  <a:gd name="T60" fmla="*/ 234 w 252"/>
                  <a:gd name="T61" fmla="*/ 310 h 558"/>
                  <a:gd name="T62" fmla="*/ 222 w 252"/>
                  <a:gd name="T63" fmla="*/ 284 h 558"/>
                  <a:gd name="T64" fmla="*/ 208 w 252"/>
                  <a:gd name="T65" fmla="*/ 258 h 558"/>
                  <a:gd name="T66" fmla="*/ 192 w 252"/>
                  <a:gd name="T67" fmla="*/ 232 h 558"/>
                  <a:gd name="T68" fmla="*/ 174 w 252"/>
                  <a:gd name="T69" fmla="*/ 208 h 558"/>
                  <a:gd name="T70" fmla="*/ 136 w 252"/>
                  <a:gd name="T71" fmla="*/ 162 h 558"/>
                  <a:gd name="T72" fmla="*/ 96 w 252"/>
                  <a:gd name="T73" fmla="*/ 114 h 558"/>
                  <a:gd name="T74" fmla="*/ 74 w 252"/>
                  <a:gd name="T75" fmla="*/ 88 h 558"/>
                  <a:gd name="T76" fmla="*/ 56 w 252"/>
                  <a:gd name="T77" fmla="*/ 60 h 558"/>
                  <a:gd name="T78" fmla="*/ 36 w 252"/>
                  <a:gd name="T79" fmla="*/ 32 h 558"/>
                  <a:gd name="T80" fmla="*/ 18 w 252"/>
                  <a:gd name="T81" fmla="*/ 0 h 558"/>
                  <a:gd name="T82" fmla="*/ 0 w 252"/>
                  <a:gd name="T83" fmla="*/ 232 h 558"/>
                  <a:gd name="T84" fmla="*/ 0 w 252"/>
                  <a:gd name="T85" fmla="*/ 232 h 558"/>
                  <a:gd name="T86" fmla="*/ 0 w 252"/>
                  <a:gd name="T87" fmla="*/ 264 h 558"/>
                  <a:gd name="T88" fmla="*/ 2 w 252"/>
                  <a:gd name="T89" fmla="*/ 294 h 558"/>
                  <a:gd name="T90" fmla="*/ 6 w 252"/>
                  <a:gd name="T91" fmla="*/ 320 h 558"/>
                  <a:gd name="T92" fmla="*/ 14 w 252"/>
                  <a:gd name="T93" fmla="*/ 346 h 558"/>
                  <a:gd name="T94" fmla="*/ 22 w 252"/>
                  <a:gd name="T95" fmla="*/ 368 h 558"/>
                  <a:gd name="T96" fmla="*/ 34 w 252"/>
                  <a:gd name="T97" fmla="*/ 390 h 558"/>
                  <a:gd name="T98" fmla="*/ 48 w 252"/>
                  <a:gd name="T99" fmla="*/ 410 h 558"/>
                  <a:gd name="T100" fmla="*/ 62 w 252"/>
                  <a:gd name="T101" fmla="*/ 428 h 558"/>
                  <a:gd name="T102" fmla="*/ 80 w 252"/>
                  <a:gd name="T103" fmla="*/ 446 h 558"/>
                  <a:gd name="T104" fmla="*/ 98 w 252"/>
                  <a:gd name="T105" fmla="*/ 464 h 558"/>
                  <a:gd name="T106" fmla="*/ 140 w 252"/>
                  <a:gd name="T107" fmla="*/ 496 h 558"/>
                  <a:gd name="T108" fmla="*/ 184 w 252"/>
                  <a:gd name="T109" fmla="*/ 526 h 558"/>
                  <a:gd name="T110" fmla="*/ 230 w 252"/>
                  <a:gd name="T111" fmla="*/ 558 h 558"/>
                  <a:gd name="T112" fmla="*/ 230 w 252"/>
                  <a:gd name="T113" fmla="*/ 55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2" h="558">
                    <a:moveTo>
                      <a:pt x="230" y="558"/>
                    </a:moveTo>
                    <a:lnTo>
                      <a:pt x="230" y="558"/>
                    </a:lnTo>
                    <a:lnTo>
                      <a:pt x="236" y="534"/>
                    </a:lnTo>
                    <a:lnTo>
                      <a:pt x="232" y="538"/>
                    </a:lnTo>
                    <a:lnTo>
                      <a:pt x="232" y="538"/>
                    </a:lnTo>
                    <a:lnTo>
                      <a:pt x="228" y="510"/>
                    </a:lnTo>
                    <a:lnTo>
                      <a:pt x="222" y="484"/>
                    </a:lnTo>
                    <a:lnTo>
                      <a:pt x="222" y="484"/>
                    </a:lnTo>
                    <a:lnTo>
                      <a:pt x="206" y="436"/>
                    </a:lnTo>
                    <a:lnTo>
                      <a:pt x="192" y="398"/>
                    </a:lnTo>
                    <a:lnTo>
                      <a:pt x="174" y="364"/>
                    </a:lnTo>
                    <a:lnTo>
                      <a:pt x="156" y="336"/>
                    </a:lnTo>
                    <a:lnTo>
                      <a:pt x="134" y="308"/>
                    </a:lnTo>
                    <a:lnTo>
                      <a:pt x="110" y="282"/>
                    </a:lnTo>
                    <a:lnTo>
                      <a:pt x="52" y="222"/>
                    </a:lnTo>
                    <a:lnTo>
                      <a:pt x="52" y="222"/>
                    </a:lnTo>
                    <a:lnTo>
                      <a:pt x="88" y="248"/>
                    </a:lnTo>
                    <a:lnTo>
                      <a:pt x="116" y="276"/>
                    </a:lnTo>
                    <a:lnTo>
                      <a:pt x="142" y="302"/>
                    </a:lnTo>
                    <a:lnTo>
                      <a:pt x="164" y="328"/>
                    </a:lnTo>
                    <a:lnTo>
                      <a:pt x="186" y="358"/>
                    </a:lnTo>
                    <a:lnTo>
                      <a:pt x="206" y="390"/>
                    </a:lnTo>
                    <a:lnTo>
                      <a:pt x="226" y="426"/>
                    </a:lnTo>
                    <a:lnTo>
                      <a:pt x="248" y="466"/>
                    </a:lnTo>
                    <a:lnTo>
                      <a:pt x="248" y="466"/>
                    </a:lnTo>
                    <a:lnTo>
                      <a:pt x="250" y="442"/>
                    </a:lnTo>
                    <a:lnTo>
                      <a:pt x="250" y="442"/>
                    </a:lnTo>
                    <a:lnTo>
                      <a:pt x="252" y="406"/>
                    </a:lnTo>
                    <a:lnTo>
                      <a:pt x="248" y="372"/>
                    </a:lnTo>
                    <a:lnTo>
                      <a:pt x="242" y="340"/>
                    </a:lnTo>
                    <a:lnTo>
                      <a:pt x="234" y="310"/>
                    </a:lnTo>
                    <a:lnTo>
                      <a:pt x="222" y="284"/>
                    </a:lnTo>
                    <a:lnTo>
                      <a:pt x="208" y="258"/>
                    </a:lnTo>
                    <a:lnTo>
                      <a:pt x="192" y="232"/>
                    </a:lnTo>
                    <a:lnTo>
                      <a:pt x="174" y="208"/>
                    </a:lnTo>
                    <a:lnTo>
                      <a:pt x="136" y="162"/>
                    </a:lnTo>
                    <a:lnTo>
                      <a:pt x="96" y="114"/>
                    </a:lnTo>
                    <a:lnTo>
                      <a:pt x="74" y="88"/>
                    </a:lnTo>
                    <a:lnTo>
                      <a:pt x="56" y="60"/>
                    </a:lnTo>
                    <a:lnTo>
                      <a:pt x="36" y="32"/>
                    </a:lnTo>
                    <a:lnTo>
                      <a:pt x="18" y="0"/>
                    </a:lnTo>
                    <a:lnTo>
                      <a:pt x="0" y="232"/>
                    </a:lnTo>
                    <a:lnTo>
                      <a:pt x="0" y="232"/>
                    </a:lnTo>
                    <a:lnTo>
                      <a:pt x="0" y="264"/>
                    </a:lnTo>
                    <a:lnTo>
                      <a:pt x="2" y="294"/>
                    </a:lnTo>
                    <a:lnTo>
                      <a:pt x="6" y="320"/>
                    </a:lnTo>
                    <a:lnTo>
                      <a:pt x="14" y="346"/>
                    </a:lnTo>
                    <a:lnTo>
                      <a:pt x="22" y="368"/>
                    </a:lnTo>
                    <a:lnTo>
                      <a:pt x="34" y="390"/>
                    </a:lnTo>
                    <a:lnTo>
                      <a:pt x="48" y="410"/>
                    </a:lnTo>
                    <a:lnTo>
                      <a:pt x="62" y="428"/>
                    </a:lnTo>
                    <a:lnTo>
                      <a:pt x="80" y="446"/>
                    </a:lnTo>
                    <a:lnTo>
                      <a:pt x="98" y="464"/>
                    </a:lnTo>
                    <a:lnTo>
                      <a:pt x="140" y="496"/>
                    </a:lnTo>
                    <a:lnTo>
                      <a:pt x="184" y="526"/>
                    </a:lnTo>
                    <a:lnTo>
                      <a:pt x="230" y="558"/>
                    </a:lnTo>
                    <a:lnTo>
                      <a:pt x="230" y="5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40" name="Freeform 63">
                <a:extLst>
                  <a:ext uri="{FF2B5EF4-FFF2-40B4-BE49-F238E27FC236}">
                    <a16:creationId xmlns:a16="http://schemas.microsoft.com/office/drawing/2014/main" id="{6F57D6E9-997A-4426-9E6E-E043B8254A3E}"/>
                  </a:ext>
                </a:extLst>
              </p:cNvPr>
              <p:cNvSpPr>
                <a:spLocks/>
              </p:cNvSpPr>
              <p:nvPr/>
            </p:nvSpPr>
            <p:spPr bwMode="auto">
              <a:xfrm>
                <a:off x="2045" y="2274"/>
                <a:ext cx="462" cy="448"/>
              </a:xfrm>
              <a:custGeom>
                <a:avLst/>
                <a:gdLst>
                  <a:gd name="T0" fmla="*/ 408 w 462"/>
                  <a:gd name="T1" fmla="*/ 346 h 448"/>
                  <a:gd name="T2" fmla="*/ 408 w 462"/>
                  <a:gd name="T3" fmla="*/ 346 h 448"/>
                  <a:gd name="T4" fmla="*/ 396 w 462"/>
                  <a:gd name="T5" fmla="*/ 330 h 448"/>
                  <a:gd name="T6" fmla="*/ 382 w 462"/>
                  <a:gd name="T7" fmla="*/ 316 h 448"/>
                  <a:gd name="T8" fmla="*/ 352 w 462"/>
                  <a:gd name="T9" fmla="*/ 290 h 448"/>
                  <a:gd name="T10" fmla="*/ 324 w 462"/>
                  <a:gd name="T11" fmla="*/ 268 h 448"/>
                  <a:gd name="T12" fmla="*/ 292 w 462"/>
                  <a:gd name="T13" fmla="*/ 250 h 448"/>
                  <a:gd name="T14" fmla="*/ 260 w 462"/>
                  <a:gd name="T15" fmla="*/ 234 h 448"/>
                  <a:gd name="T16" fmla="*/ 226 w 462"/>
                  <a:gd name="T17" fmla="*/ 218 h 448"/>
                  <a:gd name="T18" fmla="*/ 152 w 462"/>
                  <a:gd name="T19" fmla="*/ 184 h 448"/>
                  <a:gd name="T20" fmla="*/ 152 w 462"/>
                  <a:gd name="T21" fmla="*/ 184 h 448"/>
                  <a:gd name="T22" fmla="*/ 220 w 462"/>
                  <a:gd name="T23" fmla="*/ 206 h 448"/>
                  <a:gd name="T24" fmla="*/ 250 w 462"/>
                  <a:gd name="T25" fmla="*/ 218 h 448"/>
                  <a:gd name="T26" fmla="*/ 280 w 462"/>
                  <a:gd name="T27" fmla="*/ 232 h 448"/>
                  <a:gd name="T28" fmla="*/ 308 w 462"/>
                  <a:gd name="T29" fmla="*/ 246 h 448"/>
                  <a:gd name="T30" fmla="*/ 334 w 462"/>
                  <a:gd name="T31" fmla="*/ 262 h 448"/>
                  <a:gd name="T32" fmla="*/ 362 w 462"/>
                  <a:gd name="T33" fmla="*/ 278 h 448"/>
                  <a:gd name="T34" fmla="*/ 390 w 462"/>
                  <a:gd name="T35" fmla="*/ 298 h 448"/>
                  <a:gd name="T36" fmla="*/ 390 w 462"/>
                  <a:gd name="T37" fmla="*/ 298 h 448"/>
                  <a:gd name="T38" fmla="*/ 374 w 462"/>
                  <a:gd name="T39" fmla="*/ 264 h 448"/>
                  <a:gd name="T40" fmla="*/ 358 w 462"/>
                  <a:gd name="T41" fmla="*/ 236 h 448"/>
                  <a:gd name="T42" fmla="*/ 340 w 462"/>
                  <a:gd name="T43" fmla="*/ 212 h 448"/>
                  <a:gd name="T44" fmla="*/ 318 w 462"/>
                  <a:gd name="T45" fmla="*/ 190 h 448"/>
                  <a:gd name="T46" fmla="*/ 298 w 462"/>
                  <a:gd name="T47" fmla="*/ 170 h 448"/>
                  <a:gd name="T48" fmla="*/ 274 w 462"/>
                  <a:gd name="T49" fmla="*/ 152 h 448"/>
                  <a:gd name="T50" fmla="*/ 250 w 462"/>
                  <a:gd name="T51" fmla="*/ 136 h 448"/>
                  <a:gd name="T52" fmla="*/ 224 w 462"/>
                  <a:gd name="T53" fmla="*/ 122 h 448"/>
                  <a:gd name="T54" fmla="*/ 170 w 462"/>
                  <a:gd name="T55" fmla="*/ 96 h 448"/>
                  <a:gd name="T56" fmla="*/ 114 w 462"/>
                  <a:gd name="T57" fmla="*/ 70 h 448"/>
                  <a:gd name="T58" fmla="*/ 86 w 462"/>
                  <a:gd name="T59" fmla="*/ 54 h 448"/>
                  <a:gd name="T60" fmla="*/ 56 w 462"/>
                  <a:gd name="T61" fmla="*/ 38 h 448"/>
                  <a:gd name="T62" fmla="*/ 28 w 462"/>
                  <a:gd name="T63" fmla="*/ 20 h 448"/>
                  <a:gd name="T64" fmla="*/ 0 w 462"/>
                  <a:gd name="T65" fmla="*/ 0 h 448"/>
                  <a:gd name="T66" fmla="*/ 78 w 462"/>
                  <a:gd name="T67" fmla="*/ 216 h 448"/>
                  <a:gd name="T68" fmla="*/ 78 w 462"/>
                  <a:gd name="T69" fmla="*/ 216 h 448"/>
                  <a:gd name="T70" fmla="*/ 90 w 462"/>
                  <a:gd name="T71" fmla="*/ 246 h 448"/>
                  <a:gd name="T72" fmla="*/ 106 w 462"/>
                  <a:gd name="T73" fmla="*/ 274 h 448"/>
                  <a:gd name="T74" fmla="*/ 124 w 462"/>
                  <a:gd name="T75" fmla="*/ 298 h 448"/>
                  <a:gd name="T76" fmla="*/ 142 w 462"/>
                  <a:gd name="T77" fmla="*/ 320 h 448"/>
                  <a:gd name="T78" fmla="*/ 164 w 462"/>
                  <a:gd name="T79" fmla="*/ 340 h 448"/>
                  <a:gd name="T80" fmla="*/ 186 w 462"/>
                  <a:gd name="T81" fmla="*/ 356 h 448"/>
                  <a:gd name="T82" fmla="*/ 210 w 462"/>
                  <a:gd name="T83" fmla="*/ 372 h 448"/>
                  <a:gd name="T84" fmla="*/ 236 w 462"/>
                  <a:gd name="T85" fmla="*/ 384 h 448"/>
                  <a:gd name="T86" fmla="*/ 262 w 462"/>
                  <a:gd name="T87" fmla="*/ 396 h 448"/>
                  <a:gd name="T88" fmla="*/ 290 w 462"/>
                  <a:gd name="T89" fmla="*/ 408 h 448"/>
                  <a:gd name="T90" fmla="*/ 318 w 462"/>
                  <a:gd name="T91" fmla="*/ 416 h 448"/>
                  <a:gd name="T92" fmla="*/ 346 w 462"/>
                  <a:gd name="T93" fmla="*/ 424 h 448"/>
                  <a:gd name="T94" fmla="*/ 404 w 462"/>
                  <a:gd name="T95" fmla="*/ 438 h 448"/>
                  <a:gd name="T96" fmla="*/ 462 w 462"/>
                  <a:gd name="T97" fmla="*/ 448 h 448"/>
                  <a:gd name="T98" fmla="*/ 462 w 462"/>
                  <a:gd name="T99" fmla="*/ 448 h 448"/>
                  <a:gd name="T100" fmla="*/ 444 w 462"/>
                  <a:gd name="T101" fmla="*/ 418 h 448"/>
                  <a:gd name="T102" fmla="*/ 428 w 462"/>
                  <a:gd name="T103" fmla="*/ 384 h 448"/>
                  <a:gd name="T104" fmla="*/ 408 w 462"/>
                  <a:gd name="T105" fmla="*/ 346 h 448"/>
                  <a:gd name="T106" fmla="*/ 408 w 462"/>
                  <a:gd name="T107" fmla="*/ 346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2" h="448">
                    <a:moveTo>
                      <a:pt x="408" y="346"/>
                    </a:moveTo>
                    <a:lnTo>
                      <a:pt x="408" y="346"/>
                    </a:lnTo>
                    <a:lnTo>
                      <a:pt x="396" y="330"/>
                    </a:lnTo>
                    <a:lnTo>
                      <a:pt x="382" y="316"/>
                    </a:lnTo>
                    <a:lnTo>
                      <a:pt x="352" y="290"/>
                    </a:lnTo>
                    <a:lnTo>
                      <a:pt x="324" y="268"/>
                    </a:lnTo>
                    <a:lnTo>
                      <a:pt x="292" y="250"/>
                    </a:lnTo>
                    <a:lnTo>
                      <a:pt x="260" y="234"/>
                    </a:lnTo>
                    <a:lnTo>
                      <a:pt x="226" y="218"/>
                    </a:lnTo>
                    <a:lnTo>
                      <a:pt x="152" y="184"/>
                    </a:lnTo>
                    <a:lnTo>
                      <a:pt x="152" y="184"/>
                    </a:lnTo>
                    <a:lnTo>
                      <a:pt x="220" y="206"/>
                    </a:lnTo>
                    <a:lnTo>
                      <a:pt x="250" y="218"/>
                    </a:lnTo>
                    <a:lnTo>
                      <a:pt x="280" y="232"/>
                    </a:lnTo>
                    <a:lnTo>
                      <a:pt x="308" y="246"/>
                    </a:lnTo>
                    <a:lnTo>
                      <a:pt x="334" y="262"/>
                    </a:lnTo>
                    <a:lnTo>
                      <a:pt x="362" y="278"/>
                    </a:lnTo>
                    <a:lnTo>
                      <a:pt x="390" y="298"/>
                    </a:lnTo>
                    <a:lnTo>
                      <a:pt x="390" y="298"/>
                    </a:lnTo>
                    <a:lnTo>
                      <a:pt x="374" y="264"/>
                    </a:lnTo>
                    <a:lnTo>
                      <a:pt x="358" y="236"/>
                    </a:lnTo>
                    <a:lnTo>
                      <a:pt x="340" y="212"/>
                    </a:lnTo>
                    <a:lnTo>
                      <a:pt x="318" y="190"/>
                    </a:lnTo>
                    <a:lnTo>
                      <a:pt x="298" y="170"/>
                    </a:lnTo>
                    <a:lnTo>
                      <a:pt x="274" y="152"/>
                    </a:lnTo>
                    <a:lnTo>
                      <a:pt x="250" y="136"/>
                    </a:lnTo>
                    <a:lnTo>
                      <a:pt x="224" y="122"/>
                    </a:lnTo>
                    <a:lnTo>
                      <a:pt x="170" y="96"/>
                    </a:lnTo>
                    <a:lnTo>
                      <a:pt x="114" y="70"/>
                    </a:lnTo>
                    <a:lnTo>
                      <a:pt x="86" y="54"/>
                    </a:lnTo>
                    <a:lnTo>
                      <a:pt x="56" y="38"/>
                    </a:lnTo>
                    <a:lnTo>
                      <a:pt x="28" y="20"/>
                    </a:lnTo>
                    <a:lnTo>
                      <a:pt x="0" y="0"/>
                    </a:lnTo>
                    <a:lnTo>
                      <a:pt x="78" y="216"/>
                    </a:lnTo>
                    <a:lnTo>
                      <a:pt x="78" y="216"/>
                    </a:lnTo>
                    <a:lnTo>
                      <a:pt x="90" y="246"/>
                    </a:lnTo>
                    <a:lnTo>
                      <a:pt x="106" y="274"/>
                    </a:lnTo>
                    <a:lnTo>
                      <a:pt x="124" y="298"/>
                    </a:lnTo>
                    <a:lnTo>
                      <a:pt x="142" y="320"/>
                    </a:lnTo>
                    <a:lnTo>
                      <a:pt x="164" y="340"/>
                    </a:lnTo>
                    <a:lnTo>
                      <a:pt x="186" y="356"/>
                    </a:lnTo>
                    <a:lnTo>
                      <a:pt x="210" y="372"/>
                    </a:lnTo>
                    <a:lnTo>
                      <a:pt x="236" y="384"/>
                    </a:lnTo>
                    <a:lnTo>
                      <a:pt x="262" y="396"/>
                    </a:lnTo>
                    <a:lnTo>
                      <a:pt x="290" y="408"/>
                    </a:lnTo>
                    <a:lnTo>
                      <a:pt x="318" y="416"/>
                    </a:lnTo>
                    <a:lnTo>
                      <a:pt x="346" y="424"/>
                    </a:lnTo>
                    <a:lnTo>
                      <a:pt x="404" y="438"/>
                    </a:lnTo>
                    <a:lnTo>
                      <a:pt x="462" y="448"/>
                    </a:lnTo>
                    <a:lnTo>
                      <a:pt x="462" y="448"/>
                    </a:lnTo>
                    <a:lnTo>
                      <a:pt x="444" y="418"/>
                    </a:lnTo>
                    <a:lnTo>
                      <a:pt x="428" y="384"/>
                    </a:lnTo>
                    <a:lnTo>
                      <a:pt x="408" y="346"/>
                    </a:lnTo>
                    <a:lnTo>
                      <a:pt x="408" y="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41" name="Freeform 64">
                <a:extLst>
                  <a:ext uri="{FF2B5EF4-FFF2-40B4-BE49-F238E27FC236}">
                    <a16:creationId xmlns:a16="http://schemas.microsoft.com/office/drawing/2014/main" id="{EC5E3C3B-7F54-4FDA-AF27-7591F70F40B7}"/>
                  </a:ext>
                </a:extLst>
              </p:cNvPr>
              <p:cNvSpPr>
                <a:spLocks/>
              </p:cNvSpPr>
              <p:nvPr/>
            </p:nvSpPr>
            <p:spPr bwMode="auto">
              <a:xfrm>
                <a:off x="2505" y="2088"/>
                <a:ext cx="256" cy="630"/>
              </a:xfrm>
              <a:custGeom>
                <a:avLst/>
                <a:gdLst>
                  <a:gd name="T0" fmla="*/ 38 w 256"/>
                  <a:gd name="T1" fmla="*/ 566 h 630"/>
                  <a:gd name="T2" fmla="*/ 38 w 256"/>
                  <a:gd name="T3" fmla="*/ 566 h 630"/>
                  <a:gd name="T4" fmla="*/ 62 w 256"/>
                  <a:gd name="T5" fmla="*/ 630 h 630"/>
                  <a:gd name="T6" fmla="*/ 62 w 256"/>
                  <a:gd name="T7" fmla="*/ 630 h 630"/>
                  <a:gd name="T8" fmla="*/ 74 w 256"/>
                  <a:gd name="T9" fmla="*/ 622 h 630"/>
                  <a:gd name="T10" fmla="*/ 106 w 256"/>
                  <a:gd name="T11" fmla="*/ 600 h 630"/>
                  <a:gd name="T12" fmla="*/ 146 w 256"/>
                  <a:gd name="T13" fmla="*/ 566 h 630"/>
                  <a:gd name="T14" fmla="*/ 166 w 256"/>
                  <a:gd name="T15" fmla="*/ 548 h 630"/>
                  <a:gd name="T16" fmla="*/ 184 w 256"/>
                  <a:gd name="T17" fmla="*/ 530 h 630"/>
                  <a:gd name="T18" fmla="*/ 184 w 256"/>
                  <a:gd name="T19" fmla="*/ 530 h 630"/>
                  <a:gd name="T20" fmla="*/ 208 w 256"/>
                  <a:gd name="T21" fmla="*/ 500 h 630"/>
                  <a:gd name="T22" fmla="*/ 226 w 256"/>
                  <a:gd name="T23" fmla="*/ 470 h 630"/>
                  <a:gd name="T24" fmla="*/ 238 w 256"/>
                  <a:gd name="T25" fmla="*/ 440 h 630"/>
                  <a:gd name="T26" fmla="*/ 248 w 256"/>
                  <a:gd name="T27" fmla="*/ 410 h 630"/>
                  <a:gd name="T28" fmla="*/ 254 w 256"/>
                  <a:gd name="T29" fmla="*/ 380 h 630"/>
                  <a:gd name="T30" fmla="*/ 256 w 256"/>
                  <a:gd name="T31" fmla="*/ 348 h 630"/>
                  <a:gd name="T32" fmla="*/ 256 w 256"/>
                  <a:gd name="T33" fmla="*/ 316 h 630"/>
                  <a:gd name="T34" fmla="*/ 254 w 256"/>
                  <a:gd name="T35" fmla="*/ 284 h 630"/>
                  <a:gd name="T36" fmla="*/ 246 w 256"/>
                  <a:gd name="T37" fmla="*/ 218 h 630"/>
                  <a:gd name="T38" fmla="*/ 236 w 256"/>
                  <a:gd name="T39" fmla="*/ 148 h 630"/>
                  <a:gd name="T40" fmla="*/ 232 w 256"/>
                  <a:gd name="T41" fmla="*/ 112 h 630"/>
                  <a:gd name="T42" fmla="*/ 230 w 256"/>
                  <a:gd name="T43" fmla="*/ 76 h 630"/>
                  <a:gd name="T44" fmla="*/ 230 w 256"/>
                  <a:gd name="T45" fmla="*/ 38 h 630"/>
                  <a:gd name="T46" fmla="*/ 232 w 256"/>
                  <a:gd name="T47" fmla="*/ 0 h 630"/>
                  <a:gd name="T48" fmla="*/ 78 w 256"/>
                  <a:gd name="T49" fmla="*/ 174 h 630"/>
                  <a:gd name="T50" fmla="*/ 78 w 256"/>
                  <a:gd name="T51" fmla="*/ 174 h 630"/>
                  <a:gd name="T52" fmla="*/ 62 w 256"/>
                  <a:gd name="T53" fmla="*/ 192 h 630"/>
                  <a:gd name="T54" fmla="*/ 50 w 256"/>
                  <a:gd name="T55" fmla="*/ 210 h 630"/>
                  <a:gd name="T56" fmla="*/ 38 w 256"/>
                  <a:gd name="T57" fmla="*/ 228 h 630"/>
                  <a:gd name="T58" fmla="*/ 28 w 256"/>
                  <a:gd name="T59" fmla="*/ 248 h 630"/>
                  <a:gd name="T60" fmla="*/ 20 w 256"/>
                  <a:gd name="T61" fmla="*/ 266 h 630"/>
                  <a:gd name="T62" fmla="*/ 14 w 256"/>
                  <a:gd name="T63" fmla="*/ 286 h 630"/>
                  <a:gd name="T64" fmla="*/ 8 w 256"/>
                  <a:gd name="T65" fmla="*/ 306 h 630"/>
                  <a:gd name="T66" fmla="*/ 4 w 256"/>
                  <a:gd name="T67" fmla="*/ 326 h 630"/>
                  <a:gd name="T68" fmla="*/ 2 w 256"/>
                  <a:gd name="T69" fmla="*/ 346 h 630"/>
                  <a:gd name="T70" fmla="*/ 0 w 256"/>
                  <a:gd name="T71" fmla="*/ 366 h 630"/>
                  <a:gd name="T72" fmla="*/ 2 w 256"/>
                  <a:gd name="T73" fmla="*/ 408 h 630"/>
                  <a:gd name="T74" fmla="*/ 6 w 256"/>
                  <a:gd name="T75" fmla="*/ 450 h 630"/>
                  <a:gd name="T76" fmla="*/ 16 w 256"/>
                  <a:gd name="T77" fmla="*/ 494 h 630"/>
                  <a:gd name="T78" fmla="*/ 16 w 256"/>
                  <a:gd name="T79" fmla="*/ 494 h 630"/>
                  <a:gd name="T80" fmla="*/ 36 w 256"/>
                  <a:gd name="T81" fmla="*/ 454 h 630"/>
                  <a:gd name="T82" fmla="*/ 56 w 256"/>
                  <a:gd name="T83" fmla="*/ 418 h 630"/>
                  <a:gd name="T84" fmla="*/ 76 w 256"/>
                  <a:gd name="T85" fmla="*/ 384 h 630"/>
                  <a:gd name="T86" fmla="*/ 98 w 256"/>
                  <a:gd name="T87" fmla="*/ 352 h 630"/>
                  <a:gd name="T88" fmla="*/ 124 w 256"/>
                  <a:gd name="T89" fmla="*/ 324 h 630"/>
                  <a:gd name="T90" fmla="*/ 150 w 256"/>
                  <a:gd name="T91" fmla="*/ 294 h 630"/>
                  <a:gd name="T92" fmla="*/ 180 w 256"/>
                  <a:gd name="T93" fmla="*/ 266 h 630"/>
                  <a:gd name="T94" fmla="*/ 212 w 256"/>
                  <a:gd name="T95" fmla="*/ 236 h 630"/>
                  <a:gd name="T96" fmla="*/ 212 w 256"/>
                  <a:gd name="T97" fmla="*/ 236 h 630"/>
                  <a:gd name="T98" fmla="*/ 156 w 256"/>
                  <a:gd name="T99" fmla="*/ 302 h 630"/>
                  <a:gd name="T100" fmla="*/ 130 w 256"/>
                  <a:gd name="T101" fmla="*/ 332 h 630"/>
                  <a:gd name="T102" fmla="*/ 106 w 256"/>
                  <a:gd name="T103" fmla="*/ 362 h 630"/>
                  <a:gd name="T104" fmla="*/ 84 w 256"/>
                  <a:gd name="T105" fmla="*/ 394 h 630"/>
                  <a:gd name="T106" fmla="*/ 74 w 256"/>
                  <a:gd name="T107" fmla="*/ 410 h 630"/>
                  <a:gd name="T108" fmla="*/ 66 w 256"/>
                  <a:gd name="T109" fmla="*/ 430 h 630"/>
                  <a:gd name="T110" fmla="*/ 58 w 256"/>
                  <a:gd name="T111" fmla="*/ 448 h 630"/>
                  <a:gd name="T112" fmla="*/ 52 w 256"/>
                  <a:gd name="T113" fmla="*/ 470 h 630"/>
                  <a:gd name="T114" fmla="*/ 46 w 256"/>
                  <a:gd name="T115" fmla="*/ 492 h 630"/>
                  <a:gd name="T116" fmla="*/ 40 w 256"/>
                  <a:gd name="T117" fmla="*/ 516 h 630"/>
                  <a:gd name="T118" fmla="*/ 40 w 256"/>
                  <a:gd name="T119" fmla="*/ 516 h 630"/>
                  <a:gd name="T120" fmla="*/ 38 w 256"/>
                  <a:gd name="T121" fmla="*/ 542 h 630"/>
                  <a:gd name="T122" fmla="*/ 38 w 256"/>
                  <a:gd name="T123" fmla="*/ 566 h 630"/>
                  <a:gd name="T124" fmla="*/ 38 w 256"/>
                  <a:gd name="T125" fmla="*/ 566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6" h="630">
                    <a:moveTo>
                      <a:pt x="38" y="566"/>
                    </a:moveTo>
                    <a:lnTo>
                      <a:pt x="38" y="566"/>
                    </a:lnTo>
                    <a:lnTo>
                      <a:pt x="62" y="630"/>
                    </a:lnTo>
                    <a:lnTo>
                      <a:pt x="62" y="630"/>
                    </a:lnTo>
                    <a:lnTo>
                      <a:pt x="74" y="622"/>
                    </a:lnTo>
                    <a:lnTo>
                      <a:pt x="106" y="600"/>
                    </a:lnTo>
                    <a:lnTo>
                      <a:pt x="146" y="566"/>
                    </a:lnTo>
                    <a:lnTo>
                      <a:pt x="166" y="548"/>
                    </a:lnTo>
                    <a:lnTo>
                      <a:pt x="184" y="530"/>
                    </a:lnTo>
                    <a:lnTo>
                      <a:pt x="184" y="530"/>
                    </a:lnTo>
                    <a:lnTo>
                      <a:pt x="208" y="500"/>
                    </a:lnTo>
                    <a:lnTo>
                      <a:pt x="226" y="470"/>
                    </a:lnTo>
                    <a:lnTo>
                      <a:pt x="238" y="440"/>
                    </a:lnTo>
                    <a:lnTo>
                      <a:pt x="248" y="410"/>
                    </a:lnTo>
                    <a:lnTo>
                      <a:pt x="254" y="380"/>
                    </a:lnTo>
                    <a:lnTo>
                      <a:pt x="256" y="348"/>
                    </a:lnTo>
                    <a:lnTo>
                      <a:pt x="256" y="316"/>
                    </a:lnTo>
                    <a:lnTo>
                      <a:pt x="254" y="284"/>
                    </a:lnTo>
                    <a:lnTo>
                      <a:pt x="246" y="218"/>
                    </a:lnTo>
                    <a:lnTo>
                      <a:pt x="236" y="148"/>
                    </a:lnTo>
                    <a:lnTo>
                      <a:pt x="232" y="112"/>
                    </a:lnTo>
                    <a:lnTo>
                      <a:pt x="230" y="76"/>
                    </a:lnTo>
                    <a:lnTo>
                      <a:pt x="230" y="38"/>
                    </a:lnTo>
                    <a:lnTo>
                      <a:pt x="232" y="0"/>
                    </a:lnTo>
                    <a:lnTo>
                      <a:pt x="78" y="174"/>
                    </a:lnTo>
                    <a:lnTo>
                      <a:pt x="78" y="174"/>
                    </a:lnTo>
                    <a:lnTo>
                      <a:pt x="62" y="192"/>
                    </a:lnTo>
                    <a:lnTo>
                      <a:pt x="50" y="210"/>
                    </a:lnTo>
                    <a:lnTo>
                      <a:pt x="38" y="228"/>
                    </a:lnTo>
                    <a:lnTo>
                      <a:pt x="28" y="248"/>
                    </a:lnTo>
                    <a:lnTo>
                      <a:pt x="20" y="266"/>
                    </a:lnTo>
                    <a:lnTo>
                      <a:pt x="14" y="286"/>
                    </a:lnTo>
                    <a:lnTo>
                      <a:pt x="8" y="306"/>
                    </a:lnTo>
                    <a:lnTo>
                      <a:pt x="4" y="326"/>
                    </a:lnTo>
                    <a:lnTo>
                      <a:pt x="2" y="346"/>
                    </a:lnTo>
                    <a:lnTo>
                      <a:pt x="0" y="366"/>
                    </a:lnTo>
                    <a:lnTo>
                      <a:pt x="2" y="408"/>
                    </a:lnTo>
                    <a:lnTo>
                      <a:pt x="6" y="450"/>
                    </a:lnTo>
                    <a:lnTo>
                      <a:pt x="16" y="494"/>
                    </a:lnTo>
                    <a:lnTo>
                      <a:pt x="16" y="494"/>
                    </a:lnTo>
                    <a:lnTo>
                      <a:pt x="36" y="454"/>
                    </a:lnTo>
                    <a:lnTo>
                      <a:pt x="56" y="418"/>
                    </a:lnTo>
                    <a:lnTo>
                      <a:pt x="76" y="384"/>
                    </a:lnTo>
                    <a:lnTo>
                      <a:pt x="98" y="352"/>
                    </a:lnTo>
                    <a:lnTo>
                      <a:pt x="124" y="324"/>
                    </a:lnTo>
                    <a:lnTo>
                      <a:pt x="150" y="294"/>
                    </a:lnTo>
                    <a:lnTo>
                      <a:pt x="180" y="266"/>
                    </a:lnTo>
                    <a:lnTo>
                      <a:pt x="212" y="236"/>
                    </a:lnTo>
                    <a:lnTo>
                      <a:pt x="212" y="236"/>
                    </a:lnTo>
                    <a:lnTo>
                      <a:pt x="156" y="302"/>
                    </a:lnTo>
                    <a:lnTo>
                      <a:pt x="130" y="332"/>
                    </a:lnTo>
                    <a:lnTo>
                      <a:pt x="106" y="362"/>
                    </a:lnTo>
                    <a:lnTo>
                      <a:pt x="84" y="394"/>
                    </a:lnTo>
                    <a:lnTo>
                      <a:pt x="74" y="410"/>
                    </a:lnTo>
                    <a:lnTo>
                      <a:pt x="66" y="430"/>
                    </a:lnTo>
                    <a:lnTo>
                      <a:pt x="58" y="448"/>
                    </a:lnTo>
                    <a:lnTo>
                      <a:pt x="52" y="470"/>
                    </a:lnTo>
                    <a:lnTo>
                      <a:pt x="46" y="492"/>
                    </a:lnTo>
                    <a:lnTo>
                      <a:pt x="40" y="516"/>
                    </a:lnTo>
                    <a:lnTo>
                      <a:pt x="40" y="516"/>
                    </a:lnTo>
                    <a:lnTo>
                      <a:pt x="38" y="542"/>
                    </a:lnTo>
                    <a:lnTo>
                      <a:pt x="38" y="566"/>
                    </a:lnTo>
                    <a:lnTo>
                      <a:pt x="38" y="5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42" name="Freeform 65">
                <a:extLst>
                  <a:ext uri="{FF2B5EF4-FFF2-40B4-BE49-F238E27FC236}">
                    <a16:creationId xmlns:a16="http://schemas.microsoft.com/office/drawing/2014/main" id="{FA15B8BB-5B6C-47CD-A471-440559D60845}"/>
                  </a:ext>
                </a:extLst>
              </p:cNvPr>
              <p:cNvSpPr>
                <a:spLocks/>
              </p:cNvSpPr>
              <p:nvPr/>
            </p:nvSpPr>
            <p:spPr bwMode="auto">
              <a:xfrm>
                <a:off x="2289" y="2904"/>
                <a:ext cx="677" cy="241"/>
              </a:xfrm>
              <a:custGeom>
                <a:avLst/>
                <a:gdLst>
                  <a:gd name="T0" fmla="*/ 677 w 677"/>
                  <a:gd name="T1" fmla="*/ 219 h 241"/>
                  <a:gd name="T2" fmla="*/ 624 w 677"/>
                  <a:gd name="T3" fmla="*/ 165 h 241"/>
                  <a:gd name="T4" fmla="*/ 610 w 677"/>
                  <a:gd name="T5" fmla="*/ 157 h 241"/>
                  <a:gd name="T6" fmla="*/ 590 w 677"/>
                  <a:gd name="T7" fmla="*/ 145 h 241"/>
                  <a:gd name="T8" fmla="*/ 548 w 677"/>
                  <a:gd name="T9" fmla="*/ 129 h 241"/>
                  <a:gd name="T10" fmla="*/ 508 w 677"/>
                  <a:gd name="T11" fmla="*/ 119 h 241"/>
                  <a:gd name="T12" fmla="*/ 448 w 677"/>
                  <a:gd name="T13" fmla="*/ 113 h 241"/>
                  <a:gd name="T14" fmla="*/ 366 w 677"/>
                  <a:gd name="T15" fmla="*/ 119 h 241"/>
                  <a:gd name="T16" fmla="*/ 272 w 677"/>
                  <a:gd name="T17" fmla="*/ 127 h 241"/>
                  <a:gd name="T18" fmla="*/ 316 w 677"/>
                  <a:gd name="T19" fmla="*/ 119 h 241"/>
                  <a:gd name="T20" fmla="*/ 394 w 677"/>
                  <a:gd name="T21" fmla="*/ 107 h 241"/>
                  <a:gd name="T22" fmla="*/ 466 w 677"/>
                  <a:gd name="T23" fmla="*/ 103 h 241"/>
                  <a:gd name="T24" fmla="*/ 540 w 677"/>
                  <a:gd name="T25" fmla="*/ 107 h 241"/>
                  <a:gd name="T26" fmla="*/ 574 w 677"/>
                  <a:gd name="T27" fmla="*/ 107 h 241"/>
                  <a:gd name="T28" fmla="*/ 560 w 677"/>
                  <a:gd name="T29" fmla="*/ 93 h 241"/>
                  <a:gd name="T30" fmla="*/ 534 w 677"/>
                  <a:gd name="T31" fmla="*/ 68 h 241"/>
                  <a:gd name="T32" fmla="*/ 504 w 677"/>
                  <a:gd name="T33" fmla="*/ 48 h 241"/>
                  <a:gd name="T34" fmla="*/ 452 w 677"/>
                  <a:gd name="T35" fmla="*/ 24 h 241"/>
                  <a:gd name="T36" fmla="*/ 378 w 677"/>
                  <a:gd name="T37" fmla="*/ 6 h 241"/>
                  <a:gd name="T38" fmla="*/ 300 w 677"/>
                  <a:gd name="T39" fmla="*/ 0 h 241"/>
                  <a:gd name="T40" fmla="*/ 220 w 677"/>
                  <a:gd name="T41" fmla="*/ 0 h 241"/>
                  <a:gd name="T42" fmla="*/ 140 w 677"/>
                  <a:gd name="T43" fmla="*/ 8 h 241"/>
                  <a:gd name="T44" fmla="*/ 0 w 677"/>
                  <a:gd name="T45" fmla="*/ 30 h 241"/>
                  <a:gd name="T46" fmla="*/ 40 w 677"/>
                  <a:gd name="T47" fmla="*/ 58 h 241"/>
                  <a:gd name="T48" fmla="*/ 124 w 677"/>
                  <a:gd name="T49" fmla="*/ 117 h 241"/>
                  <a:gd name="T50" fmla="*/ 196 w 677"/>
                  <a:gd name="T51" fmla="*/ 159 h 241"/>
                  <a:gd name="T52" fmla="*/ 280 w 677"/>
                  <a:gd name="T53" fmla="*/ 197 h 241"/>
                  <a:gd name="T54" fmla="*/ 378 w 677"/>
                  <a:gd name="T55" fmla="*/ 227 h 241"/>
                  <a:gd name="T56" fmla="*/ 460 w 677"/>
                  <a:gd name="T57" fmla="*/ 239 h 241"/>
                  <a:gd name="T58" fmla="*/ 518 w 677"/>
                  <a:gd name="T59" fmla="*/ 241 h 241"/>
                  <a:gd name="T60" fmla="*/ 578 w 677"/>
                  <a:gd name="T61" fmla="*/ 237 h 241"/>
                  <a:gd name="T62" fmla="*/ 644 w 677"/>
                  <a:gd name="T63" fmla="*/ 227 h 241"/>
                  <a:gd name="T64" fmla="*/ 677 w 677"/>
                  <a:gd name="T65" fmla="*/ 21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7" h="241">
                    <a:moveTo>
                      <a:pt x="677" y="219"/>
                    </a:moveTo>
                    <a:lnTo>
                      <a:pt x="677" y="219"/>
                    </a:lnTo>
                    <a:lnTo>
                      <a:pt x="663" y="203"/>
                    </a:lnTo>
                    <a:lnTo>
                      <a:pt x="624" y="165"/>
                    </a:lnTo>
                    <a:lnTo>
                      <a:pt x="624" y="165"/>
                    </a:lnTo>
                    <a:lnTo>
                      <a:pt x="610" y="157"/>
                    </a:lnTo>
                    <a:lnTo>
                      <a:pt x="610" y="157"/>
                    </a:lnTo>
                    <a:lnTo>
                      <a:pt x="590" y="145"/>
                    </a:lnTo>
                    <a:lnTo>
                      <a:pt x="568" y="135"/>
                    </a:lnTo>
                    <a:lnTo>
                      <a:pt x="548" y="129"/>
                    </a:lnTo>
                    <a:lnTo>
                      <a:pt x="528" y="123"/>
                    </a:lnTo>
                    <a:lnTo>
                      <a:pt x="508" y="119"/>
                    </a:lnTo>
                    <a:lnTo>
                      <a:pt x="488" y="115"/>
                    </a:lnTo>
                    <a:lnTo>
                      <a:pt x="448" y="113"/>
                    </a:lnTo>
                    <a:lnTo>
                      <a:pt x="408" y="115"/>
                    </a:lnTo>
                    <a:lnTo>
                      <a:pt x="366" y="119"/>
                    </a:lnTo>
                    <a:lnTo>
                      <a:pt x="320" y="123"/>
                    </a:lnTo>
                    <a:lnTo>
                      <a:pt x="272" y="127"/>
                    </a:lnTo>
                    <a:lnTo>
                      <a:pt x="272" y="127"/>
                    </a:lnTo>
                    <a:lnTo>
                      <a:pt x="316" y="119"/>
                    </a:lnTo>
                    <a:lnTo>
                      <a:pt x="356" y="111"/>
                    </a:lnTo>
                    <a:lnTo>
                      <a:pt x="394" y="107"/>
                    </a:lnTo>
                    <a:lnTo>
                      <a:pt x="430" y="103"/>
                    </a:lnTo>
                    <a:lnTo>
                      <a:pt x="466" y="103"/>
                    </a:lnTo>
                    <a:lnTo>
                      <a:pt x="502" y="103"/>
                    </a:lnTo>
                    <a:lnTo>
                      <a:pt x="540" y="107"/>
                    </a:lnTo>
                    <a:lnTo>
                      <a:pt x="578" y="111"/>
                    </a:lnTo>
                    <a:lnTo>
                      <a:pt x="574" y="107"/>
                    </a:lnTo>
                    <a:lnTo>
                      <a:pt x="574" y="107"/>
                    </a:lnTo>
                    <a:lnTo>
                      <a:pt x="560" y="93"/>
                    </a:lnTo>
                    <a:lnTo>
                      <a:pt x="548" y="81"/>
                    </a:lnTo>
                    <a:lnTo>
                      <a:pt x="534" y="68"/>
                    </a:lnTo>
                    <a:lnTo>
                      <a:pt x="518" y="58"/>
                    </a:lnTo>
                    <a:lnTo>
                      <a:pt x="504" y="48"/>
                    </a:lnTo>
                    <a:lnTo>
                      <a:pt x="486" y="38"/>
                    </a:lnTo>
                    <a:lnTo>
                      <a:pt x="452" y="24"/>
                    </a:lnTo>
                    <a:lnTo>
                      <a:pt x="416" y="14"/>
                    </a:lnTo>
                    <a:lnTo>
                      <a:pt x="378" y="6"/>
                    </a:lnTo>
                    <a:lnTo>
                      <a:pt x="340" y="2"/>
                    </a:lnTo>
                    <a:lnTo>
                      <a:pt x="300" y="0"/>
                    </a:lnTo>
                    <a:lnTo>
                      <a:pt x="260" y="0"/>
                    </a:lnTo>
                    <a:lnTo>
                      <a:pt x="220" y="0"/>
                    </a:lnTo>
                    <a:lnTo>
                      <a:pt x="180" y="4"/>
                    </a:lnTo>
                    <a:lnTo>
                      <a:pt x="140" y="8"/>
                    </a:lnTo>
                    <a:lnTo>
                      <a:pt x="66" y="18"/>
                    </a:lnTo>
                    <a:lnTo>
                      <a:pt x="0" y="30"/>
                    </a:lnTo>
                    <a:lnTo>
                      <a:pt x="0" y="30"/>
                    </a:lnTo>
                    <a:lnTo>
                      <a:pt x="40" y="58"/>
                    </a:lnTo>
                    <a:lnTo>
                      <a:pt x="94" y="95"/>
                    </a:lnTo>
                    <a:lnTo>
                      <a:pt x="124" y="117"/>
                    </a:lnTo>
                    <a:lnTo>
                      <a:pt x="158" y="137"/>
                    </a:lnTo>
                    <a:lnTo>
                      <a:pt x="196" y="159"/>
                    </a:lnTo>
                    <a:lnTo>
                      <a:pt x="236" y="179"/>
                    </a:lnTo>
                    <a:lnTo>
                      <a:pt x="280" y="197"/>
                    </a:lnTo>
                    <a:lnTo>
                      <a:pt x="328" y="213"/>
                    </a:lnTo>
                    <a:lnTo>
                      <a:pt x="378" y="227"/>
                    </a:lnTo>
                    <a:lnTo>
                      <a:pt x="432" y="235"/>
                    </a:lnTo>
                    <a:lnTo>
                      <a:pt x="460" y="239"/>
                    </a:lnTo>
                    <a:lnTo>
                      <a:pt x="488" y="239"/>
                    </a:lnTo>
                    <a:lnTo>
                      <a:pt x="518" y="241"/>
                    </a:lnTo>
                    <a:lnTo>
                      <a:pt x="548" y="239"/>
                    </a:lnTo>
                    <a:lnTo>
                      <a:pt x="578" y="237"/>
                    </a:lnTo>
                    <a:lnTo>
                      <a:pt x="610" y="233"/>
                    </a:lnTo>
                    <a:lnTo>
                      <a:pt x="644" y="227"/>
                    </a:lnTo>
                    <a:lnTo>
                      <a:pt x="677" y="219"/>
                    </a:lnTo>
                    <a:lnTo>
                      <a:pt x="677"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43" name="Freeform 66">
                <a:extLst>
                  <a:ext uri="{FF2B5EF4-FFF2-40B4-BE49-F238E27FC236}">
                    <a16:creationId xmlns:a16="http://schemas.microsoft.com/office/drawing/2014/main" id="{9C6186E6-A485-4037-8019-4F8E3D20CDED}"/>
                  </a:ext>
                </a:extLst>
              </p:cNvPr>
              <p:cNvSpPr>
                <a:spLocks/>
              </p:cNvSpPr>
              <p:nvPr/>
            </p:nvSpPr>
            <p:spPr bwMode="auto">
              <a:xfrm>
                <a:off x="2793" y="2412"/>
                <a:ext cx="253" cy="613"/>
              </a:xfrm>
              <a:custGeom>
                <a:avLst/>
                <a:gdLst>
                  <a:gd name="T0" fmla="*/ 138 w 253"/>
                  <a:gd name="T1" fmla="*/ 595 h 613"/>
                  <a:gd name="T2" fmla="*/ 138 w 253"/>
                  <a:gd name="T3" fmla="*/ 595 h 613"/>
                  <a:gd name="T4" fmla="*/ 149 w 253"/>
                  <a:gd name="T5" fmla="*/ 613 h 613"/>
                  <a:gd name="T6" fmla="*/ 149 w 253"/>
                  <a:gd name="T7" fmla="*/ 613 h 613"/>
                  <a:gd name="T8" fmla="*/ 167 w 253"/>
                  <a:gd name="T9" fmla="*/ 593 h 613"/>
                  <a:gd name="T10" fmla="*/ 187 w 253"/>
                  <a:gd name="T11" fmla="*/ 566 h 613"/>
                  <a:gd name="T12" fmla="*/ 205 w 253"/>
                  <a:gd name="T13" fmla="*/ 536 h 613"/>
                  <a:gd name="T14" fmla="*/ 223 w 253"/>
                  <a:gd name="T15" fmla="*/ 506 h 613"/>
                  <a:gd name="T16" fmla="*/ 223 w 253"/>
                  <a:gd name="T17" fmla="*/ 506 h 613"/>
                  <a:gd name="T18" fmla="*/ 237 w 253"/>
                  <a:gd name="T19" fmla="*/ 474 h 613"/>
                  <a:gd name="T20" fmla="*/ 247 w 253"/>
                  <a:gd name="T21" fmla="*/ 442 h 613"/>
                  <a:gd name="T22" fmla="*/ 251 w 253"/>
                  <a:gd name="T23" fmla="*/ 410 h 613"/>
                  <a:gd name="T24" fmla="*/ 253 w 253"/>
                  <a:gd name="T25" fmla="*/ 380 h 613"/>
                  <a:gd name="T26" fmla="*/ 249 w 253"/>
                  <a:gd name="T27" fmla="*/ 350 h 613"/>
                  <a:gd name="T28" fmla="*/ 245 w 253"/>
                  <a:gd name="T29" fmla="*/ 320 h 613"/>
                  <a:gd name="T30" fmla="*/ 235 w 253"/>
                  <a:gd name="T31" fmla="*/ 290 h 613"/>
                  <a:gd name="T32" fmla="*/ 225 w 253"/>
                  <a:gd name="T33" fmla="*/ 260 h 613"/>
                  <a:gd name="T34" fmla="*/ 201 w 253"/>
                  <a:gd name="T35" fmla="*/ 200 h 613"/>
                  <a:gd name="T36" fmla="*/ 177 w 253"/>
                  <a:gd name="T37" fmla="*/ 136 h 613"/>
                  <a:gd name="T38" fmla="*/ 163 w 253"/>
                  <a:gd name="T39" fmla="*/ 104 h 613"/>
                  <a:gd name="T40" fmla="*/ 153 w 253"/>
                  <a:gd name="T41" fmla="*/ 70 h 613"/>
                  <a:gd name="T42" fmla="*/ 143 w 253"/>
                  <a:gd name="T43" fmla="*/ 36 h 613"/>
                  <a:gd name="T44" fmla="*/ 134 w 253"/>
                  <a:gd name="T45" fmla="*/ 0 h 613"/>
                  <a:gd name="T46" fmla="*/ 32 w 253"/>
                  <a:gd name="T47" fmla="*/ 200 h 613"/>
                  <a:gd name="T48" fmla="*/ 32 w 253"/>
                  <a:gd name="T49" fmla="*/ 200 h 613"/>
                  <a:gd name="T50" fmla="*/ 20 w 253"/>
                  <a:gd name="T51" fmla="*/ 226 h 613"/>
                  <a:gd name="T52" fmla="*/ 12 w 253"/>
                  <a:gd name="T53" fmla="*/ 252 h 613"/>
                  <a:gd name="T54" fmla="*/ 6 w 253"/>
                  <a:gd name="T55" fmla="*/ 278 h 613"/>
                  <a:gd name="T56" fmla="*/ 2 w 253"/>
                  <a:gd name="T57" fmla="*/ 304 h 613"/>
                  <a:gd name="T58" fmla="*/ 0 w 253"/>
                  <a:gd name="T59" fmla="*/ 330 h 613"/>
                  <a:gd name="T60" fmla="*/ 2 w 253"/>
                  <a:gd name="T61" fmla="*/ 354 h 613"/>
                  <a:gd name="T62" fmla="*/ 4 w 253"/>
                  <a:gd name="T63" fmla="*/ 380 h 613"/>
                  <a:gd name="T64" fmla="*/ 10 w 253"/>
                  <a:gd name="T65" fmla="*/ 404 h 613"/>
                  <a:gd name="T66" fmla="*/ 16 w 253"/>
                  <a:gd name="T67" fmla="*/ 428 h 613"/>
                  <a:gd name="T68" fmla="*/ 24 w 253"/>
                  <a:gd name="T69" fmla="*/ 454 h 613"/>
                  <a:gd name="T70" fmla="*/ 36 w 253"/>
                  <a:gd name="T71" fmla="*/ 478 h 613"/>
                  <a:gd name="T72" fmla="*/ 48 w 253"/>
                  <a:gd name="T73" fmla="*/ 502 h 613"/>
                  <a:gd name="T74" fmla="*/ 74 w 253"/>
                  <a:gd name="T75" fmla="*/ 550 h 613"/>
                  <a:gd name="T76" fmla="*/ 106 w 253"/>
                  <a:gd name="T77" fmla="*/ 599 h 613"/>
                  <a:gd name="T78" fmla="*/ 106 w 253"/>
                  <a:gd name="T79" fmla="*/ 599 h 613"/>
                  <a:gd name="T80" fmla="*/ 100 w 253"/>
                  <a:gd name="T81" fmla="*/ 558 h 613"/>
                  <a:gd name="T82" fmla="*/ 98 w 253"/>
                  <a:gd name="T83" fmla="*/ 522 h 613"/>
                  <a:gd name="T84" fmla="*/ 96 w 253"/>
                  <a:gd name="T85" fmla="*/ 488 h 613"/>
                  <a:gd name="T86" fmla="*/ 98 w 253"/>
                  <a:gd name="T87" fmla="*/ 454 h 613"/>
                  <a:gd name="T88" fmla="*/ 102 w 253"/>
                  <a:gd name="T89" fmla="*/ 418 h 613"/>
                  <a:gd name="T90" fmla="*/ 108 w 253"/>
                  <a:gd name="T91" fmla="*/ 384 h 613"/>
                  <a:gd name="T92" fmla="*/ 116 w 253"/>
                  <a:gd name="T93" fmla="*/ 346 h 613"/>
                  <a:gd name="T94" fmla="*/ 126 w 253"/>
                  <a:gd name="T95" fmla="*/ 306 h 613"/>
                  <a:gd name="T96" fmla="*/ 126 w 253"/>
                  <a:gd name="T97" fmla="*/ 306 h 613"/>
                  <a:gd name="T98" fmla="*/ 116 w 253"/>
                  <a:gd name="T99" fmla="*/ 384 h 613"/>
                  <a:gd name="T100" fmla="*/ 110 w 253"/>
                  <a:gd name="T101" fmla="*/ 420 h 613"/>
                  <a:gd name="T102" fmla="*/ 108 w 253"/>
                  <a:gd name="T103" fmla="*/ 454 h 613"/>
                  <a:gd name="T104" fmla="*/ 108 w 253"/>
                  <a:gd name="T105" fmla="*/ 488 h 613"/>
                  <a:gd name="T106" fmla="*/ 112 w 253"/>
                  <a:gd name="T107" fmla="*/ 522 h 613"/>
                  <a:gd name="T108" fmla="*/ 116 w 253"/>
                  <a:gd name="T109" fmla="*/ 540 h 613"/>
                  <a:gd name="T110" fmla="*/ 122 w 253"/>
                  <a:gd name="T111" fmla="*/ 558 h 613"/>
                  <a:gd name="T112" fmla="*/ 130 w 253"/>
                  <a:gd name="T113" fmla="*/ 577 h 613"/>
                  <a:gd name="T114" fmla="*/ 138 w 253"/>
                  <a:gd name="T115" fmla="*/ 595 h 613"/>
                  <a:gd name="T116" fmla="*/ 138 w 253"/>
                  <a:gd name="T117" fmla="*/ 595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3" h="613">
                    <a:moveTo>
                      <a:pt x="138" y="595"/>
                    </a:moveTo>
                    <a:lnTo>
                      <a:pt x="138" y="595"/>
                    </a:lnTo>
                    <a:lnTo>
                      <a:pt x="149" y="613"/>
                    </a:lnTo>
                    <a:lnTo>
                      <a:pt x="149" y="613"/>
                    </a:lnTo>
                    <a:lnTo>
                      <a:pt x="167" y="593"/>
                    </a:lnTo>
                    <a:lnTo>
                      <a:pt x="187" y="566"/>
                    </a:lnTo>
                    <a:lnTo>
                      <a:pt x="205" y="536"/>
                    </a:lnTo>
                    <a:lnTo>
                      <a:pt x="223" y="506"/>
                    </a:lnTo>
                    <a:lnTo>
                      <a:pt x="223" y="506"/>
                    </a:lnTo>
                    <a:lnTo>
                      <a:pt x="237" y="474"/>
                    </a:lnTo>
                    <a:lnTo>
                      <a:pt x="247" y="442"/>
                    </a:lnTo>
                    <a:lnTo>
                      <a:pt x="251" y="410"/>
                    </a:lnTo>
                    <a:lnTo>
                      <a:pt x="253" y="380"/>
                    </a:lnTo>
                    <a:lnTo>
                      <a:pt x="249" y="350"/>
                    </a:lnTo>
                    <a:lnTo>
                      <a:pt x="245" y="320"/>
                    </a:lnTo>
                    <a:lnTo>
                      <a:pt x="235" y="290"/>
                    </a:lnTo>
                    <a:lnTo>
                      <a:pt x="225" y="260"/>
                    </a:lnTo>
                    <a:lnTo>
                      <a:pt x="201" y="200"/>
                    </a:lnTo>
                    <a:lnTo>
                      <a:pt x="177" y="136"/>
                    </a:lnTo>
                    <a:lnTo>
                      <a:pt x="163" y="104"/>
                    </a:lnTo>
                    <a:lnTo>
                      <a:pt x="153" y="70"/>
                    </a:lnTo>
                    <a:lnTo>
                      <a:pt x="143" y="36"/>
                    </a:lnTo>
                    <a:lnTo>
                      <a:pt x="134" y="0"/>
                    </a:lnTo>
                    <a:lnTo>
                      <a:pt x="32" y="200"/>
                    </a:lnTo>
                    <a:lnTo>
                      <a:pt x="32" y="200"/>
                    </a:lnTo>
                    <a:lnTo>
                      <a:pt x="20" y="226"/>
                    </a:lnTo>
                    <a:lnTo>
                      <a:pt x="12" y="252"/>
                    </a:lnTo>
                    <a:lnTo>
                      <a:pt x="6" y="278"/>
                    </a:lnTo>
                    <a:lnTo>
                      <a:pt x="2" y="304"/>
                    </a:lnTo>
                    <a:lnTo>
                      <a:pt x="0" y="330"/>
                    </a:lnTo>
                    <a:lnTo>
                      <a:pt x="2" y="354"/>
                    </a:lnTo>
                    <a:lnTo>
                      <a:pt x="4" y="380"/>
                    </a:lnTo>
                    <a:lnTo>
                      <a:pt x="10" y="404"/>
                    </a:lnTo>
                    <a:lnTo>
                      <a:pt x="16" y="428"/>
                    </a:lnTo>
                    <a:lnTo>
                      <a:pt x="24" y="454"/>
                    </a:lnTo>
                    <a:lnTo>
                      <a:pt x="36" y="478"/>
                    </a:lnTo>
                    <a:lnTo>
                      <a:pt x="48" y="502"/>
                    </a:lnTo>
                    <a:lnTo>
                      <a:pt x="74" y="550"/>
                    </a:lnTo>
                    <a:lnTo>
                      <a:pt x="106" y="599"/>
                    </a:lnTo>
                    <a:lnTo>
                      <a:pt x="106" y="599"/>
                    </a:lnTo>
                    <a:lnTo>
                      <a:pt x="100" y="558"/>
                    </a:lnTo>
                    <a:lnTo>
                      <a:pt x="98" y="522"/>
                    </a:lnTo>
                    <a:lnTo>
                      <a:pt x="96" y="488"/>
                    </a:lnTo>
                    <a:lnTo>
                      <a:pt x="98" y="454"/>
                    </a:lnTo>
                    <a:lnTo>
                      <a:pt x="102" y="418"/>
                    </a:lnTo>
                    <a:lnTo>
                      <a:pt x="108" y="384"/>
                    </a:lnTo>
                    <a:lnTo>
                      <a:pt x="116" y="346"/>
                    </a:lnTo>
                    <a:lnTo>
                      <a:pt x="126" y="306"/>
                    </a:lnTo>
                    <a:lnTo>
                      <a:pt x="126" y="306"/>
                    </a:lnTo>
                    <a:lnTo>
                      <a:pt x="116" y="384"/>
                    </a:lnTo>
                    <a:lnTo>
                      <a:pt x="110" y="420"/>
                    </a:lnTo>
                    <a:lnTo>
                      <a:pt x="108" y="454"/>
                    </a:lnTo>
                    <a:lnTo>
                      <a:pt x="108" y="488"/>
                    </a:lnTo>
                    <a:lnTo>
                      <a:pt x="112" y="522"/>
                    </a:lnTo>
                    <a:lnTo>
                      <a:pt x="116" y="540"/>
                    </a:lnTo>
                    <a:lnTo>
                      <a:pt x="122" y="558"/>
                    </a:lnTo>
                    <a:lnTo>
                      <a:pt x="130" y="577"/>
                    </a:lnTo>
                    <a:lnTo>
                      <a:pt x="138" y="595"/>
                    </a:lnTo>
                    <a:lnTo>
                      <a:pt x="138" y="5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44" name="Freeform 67">
                <a:extLst>
                  <a:ext uri="{FF2B5EF4-FFF2-40B4-BE49-F238E27FC236}">
                    <a16:creationId xmlns:a16="http://schemas.microsoft.com/office/drawing/2014/main" id="{EAA66D49-527D-478A-9FF1-6A8A4621C93A}"/>
                  </a:ext>
                </a:extLst>
              </p:cNvPr>
              <p:cNvSpPr>
                <a:spLocks/>
              </p:cNvSpPr>
              <p:nvPr/>
            </p:nvSpPr>
            <p:spPr bwMode="auto">
              <a:xfrm>
                <a:off x="2727" y="3175"/>
                <a:ext cx="717" cy="284"/>
              </a:xfrm>
              <a:custGeom>
                <a:avLst/>
                <a:gdLst>
                  <a:gd name="T0" fmla="*/ 695 w 717"/>
                  <a:gd name="T1" fmla="*/ 112 h 284"/>
                  <a:gd name="T2" fmla="*/ 681 w 717"/>
                  <a:gd name="T3" fmla="*/ 106 h 284"/>
                  <a:gd name="T4" fmla="*/ 637 w 717"/>
                  <a:gd name="T5" fmla="*/ 98 h 284"/>
                  <a:gd name="T6" fmla="*/ 595 w 717"/>
                  <a:gd name="T7" fmla="*/ 98 h 284"/>
                  <a:gd name="T8" fmla="*/ 557 w 717"/>
                  <a:gd name="T9" fmla="*/ 102 h 284"/>
                  <a:gd name="T10" fmla="*/ 483 w 717"/>
                  <a:gd name="T11" fmla="*/ 122 h 284"/>
                  <a:gd name="T12" fmla="*/ 407 w 717"/>
                  <a:gd name="T13" fmla="*/ 152 h 284"/>
                  <a:gd name="T14" fmla="*/ 363 w 717"/>
                  <a:gd name="T15" fmla="*/ 168 h 284"/>
                  <a:gd name="T16" fmla="*/ 437 w 717"/>
                  <a:gd name="T17" fmla="*/ 132 h 284"/>
                  <a:gd name="T18" fmla="*/ 505 w 717"/>
                  <a:gd name="T19" fmla="*/ 104 h 284"/>
                  <a:gd name="T20" fmla="*/ 573 w 717"/>
                  <a:gd name="T21" fmla="*/ 86 h 284"/>
                  <a:gd name="T22" fmla="*/ 647 w 717"/>
                  <a:gd name="T23" fmla="*/ 74 h 284"/>
                  <a:gd name="T24" fmla="*/ 611 w 717"/>
                  <a:gd name="T25" fmla="*/ 50 h 284"/>
                  <a:gd name="T26" fmla="*/ 573 w 717"/>
                  <a:gd name="T27" fmla="*/ 30 h 284"/>
                  <a:gd name="T28" fmla="*/ 537 w 717"/>
                  <a:gd name="T29" fmla="*/ 14 h 284"/>
                  <a:gd name="T30" fmla="*/ 499 w 717"/>
                  <a:gd name="T31" fmla="*/ 4 h 284"/>
                  <a:gd name="T32" fmla="*/ 429 w 717"/>
                  <a:gd name="T33" fmla="*/ 0 h 284"/>
                  <a:gd name="T34" fmla="*/ 361 w 717"/>
                  <a:gd name="T35" fmla="*/ 10 h 284"/>
                  <a:gd name="T36" fmla="*/ 295 w 717"/>
                  <a:gd name="T37" fmla="*/ 32 h 284"/>
                  <a:gd name="T38" fmla="*/ 156 w 717"/>
                  <a:gd name="T39" fmla="*/ 90 h 284"/>
                  <a:gd name="T40" fmla="*/ 80 w 717"/>
                  <a:gd name="T41" fmla="*/ 118 h 284"/>
                  <a:gd name="T42" fmla="*/ 0 w 717"/>
                  <a:gd name="T43" fmla="*/ 140 h 284"/>
                  <a:gd name="T44" fmla="*/ 231 w 717"/>
                  <a:gd name="T45" fmla="*/ 250 h 284"/>
                  <a:gd name="T46" fmla="*/ 263 w 717"/>
                  <a:gd name="T47" fmla="*/ 264 h 284"/>
                  <a:gd name="T48" fmla="*/ 327 w 717"/>
                  <a:gd name="T49" fmla="*/ 282 h 284"/>
                  <a:gd name="T50" fmla="*/ 391 w 717"/>
                  <a:gd name="T51" fmla="*/ 284 h 284"/>
                  <a:gd name="T52" fmla="*/ 453 w 717"/>
                  <a:gd name="T53" fmla="*/ 276 h 284"/>
                  <a:gd name="T54" fmla="*/ 513 w 717"/>
                  <a:gd name="T55" fmla="*/ 256 h 284"/>
                  <a:gd name="T56" fmla="*/ 573 w 717"/>
                  <a:gd name="T57" fmla="*/ 228 h 284"/>
                  <a:gd name="T58" fmla="*/ 631 w 717"/>
                  <a:gd name="T59" fmla="*/ 192 h 284"/>
                  <a:gd name="T60" fmla="*/ 717 w 717"/>
                  <a:gd name="T61" fmla="*/ 130 h 284"/>
                  <a:gd name="T62" fmla="*/ 695 w 717"/>
                  <a:gd name="T63" fmla="*/ 11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7" h="284">
                    <a:moveTo>
                      <a:pt x="695" y="112"/>
                    </a:moveTo>
                    <a:lnTo>
                      <a:pt x="695" y="112"/>
                    </a:lnTo>
                    <a:lnTo>
                      <a:pt x="681" y="106"/>
                    </a:lnTo>
                    <a:lnTo>
                      <a:pt x="681" y="106"/>
                    </a:lnTo>
                    <a:lnTo>
                      <a:pt x="657" y="102"/>
                    </a:lnTo>
                    <a:lnTo>
                      <a:pt x="637" y="98"/>
                    </a:lnTo>
                    <a:lnTo>
                      <a:pt x="615" y="98"/>
                    </a:lnTo>
                    <a:lnTo>
                      <a:pt x="595" y="98"/>
                    </a:lnTo>
                    <a:lnTo>
                      <a:pt x="577" y="100"/>
                    </a:lnTo>
                    <a:lnTo>
                      <a:pt x="557" y="102"/>
                    </a:lnTo>
                    <a:lnTo>
                      <a:pt x="521" y="110"/>
                    </a:lnTo>
                    <a:lnTo>
                      <a:pt x="483" y="122"/>
                    </a:lnTo>
                    <a:lnTo>
                      <a:pt x="445" y="136"/>
                    </a:lnTo>
                    <a:lnTo>
                      <a:pt x="407" y="152"/>
                    </a:lnTo>
                    <a:lnTo>
                      <a:pt x="363" y="168"/>
                    </a:lnTo>
                    <a:lnTo>
                      <a:pt x="363" y="168"/>
                    </a:lnTo>
                    <a:lnTo>
                      <a:pt x="401" y="150"/>
                    </a:lnTo>
                    <a:lnTo>
                      <a:pt x="437" y="132"/>
                    </a:lnTo>
                    <a:lnTo>
                      <a:pt x="471" y="116"/>
                    </a:lnTo>
                    <a:lnTo>
                      <a:pt x="505" y="104"/>
                    </a:lnTo>
                    <a:lnTo>
                      <a:pt x="539" y="94"/>
                    </a:lnTo>
                    <a:lnTo>
                      <a:pt x="573" y="86"/>
                    </a:lnTo>
                    <a:lnTo>
                      <a:pt x="609" y="78"/>
                    </a:lnTo>
                    <a:lnTo>
                      <a:pt x="647" y="74"/>
                    </a:lnTo>
                    <a:lnTo>
                      <a:pt x="647" y="74"/>
                    </a:lnTo>
                    <a:lnTo>
                      <a:pt x="611" y="50"/>
                    </a:lnTo>
                    <a:lnTo>
                      <a:pt x="573" y="30"/>
                    </a:lnTo>
                    <a:lnTo>
                      <a:pt x="573" y="30"/>
                    </a:lnTo>
                    <a:lnTo>
                      <a:pt x="555" y="22"/>
                    </a:lnTo>
                    <a:lnTo>
                      <a:pt x="537" y="14"/>
                    </a:lnTo>
                    <a:lnTo>
                      <a:pt x="517" y="10"/>
                    </a:lnTo>
                    <a:lnTo>
                      <a:pt x="499" y="4"/>
                    </a:lnTo>
                    <a:lnTo>
                      <a:pt x="465" y="0"/>
                    </a:lnTo>
                    <a:lnTo>
                      <a:pt x="429" y="0"/>
                    </a:lnTo>
                    <a:lnTo>
                      <a:pt x="395" y="4"/>
                    </a:lnTo>
                    <a:lnTo>
                      <a:pt x="361" y="10"/>
                    </a:lnTo>
                    <a:lnTo>
                      <a:pt x="329" y="20"/>
                    </a:lnTo>
                    <a:lnTo>
                      <a:pt x="295" y="32"/>
                    </a:lnTo>
                    <a:lnTo>
                      <a:pt x="227" y="60"/>
                    </a:lnTo>
                    <a:lnTo>
                      <a:pt x="156" y="90"/>
                    </a:lnTo>
                    <a:lnTo>
                      <a:pt x="118" y="106"/>
                    </a:lnTo>
                    <a:lnTo>
                      <a:pt x="80" y="118"/>
                    </a:lnTo>
                    <a:lnTo>
                      <a:pt x="42" y="130"/>
                    </a:lnTo>
                    <a:lnTo>
                      <a:pt x="0" y="140"/>
                    </a:lnTo>
                    <a:lnTo>
                      <a:pt x="0" y="140"/>
                    </a:lnTo>
                    <a:lnTo>
                      <a:pt x="231" y="250"/>
                    </a:lnTo>
                    <a:lnTo>
                      <a:pt x="231" y="250"/>
                    </a:lnTo>
                    <a:lnTo>
                      <a:pt x="263" y="264"/>
                    </a:lnTo>
                    <a:lnTo>
                      <a:pt x="295" y="274"/>
                    </a:lnTo>
                    <a:lnTo>
                      <a:pt x="327" y="282"/>
                    </a:lnTo>
                    <a:lnTo>
                      <a:pt x="359" y="284"/>
                    </a:lnTo>
                    <a:lnTo>
                      <a:pt x="391" y="284"/>
                    </a:lnTo>
                    <a:lnTo>
                      <a:pt x="421" y="282"/>
                    </a:lnTo>
                    <a:lnTo>
                      <a:pt x="453" y="276"/>
                    </a:lnTo>
                    <a:lnTo>
                      <a:pt x="483" y="268"/>
                    </a:lnTo>
                    <a:lnTo>
                      <a:pt x="513" y="256"/>
                    </a:lnTo>
                    <a:lnTo>
                      <a:pt x="543" y="244"/>
                    </a:lnTo>
                    <a:lnTo>
                      <a:pt x="573" y="228"/>
                    </a:lnTo>
                    <a:lnTo>
                      <a:pt x="601" y="212"/>
                    </a:lnTo>
                    <a:lnTo>
                      <a:pt x="631" y="192"/>
                    </a:lnTo>
                    <a:lnTo>
                      <a:pt x="659" y="172"/>
                    </a:lnTo>
                    <a:lnTo>
                      <a:pt x="717" y="130"/>
                    </a:lnTo>
                    <a:lnTo>
                      <a:pt x="717" y="130"/>
                    </a:lnTo>
                    <a:lnTo>
                      <a:pt x="695" y="112"/>
                    </a:lnTo>
                    <a:lnTo>
                      <a:pt x="695"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45" name="Freeform 68">
                <a:extLst>
                  <a:ext uri="{FF2B5EF4-FFF2-40B4-BE49-F238E27FC236}">
                    <a16:creationId xmlns:a16="http://schemas.microsoft.com/office/drawing/2014/main" id="{8F290F93-CC32-4E9E-869D-A555E87D9011}"/>
                  </a:ext>
                </a:extLst>
              </p:cNvPr>
              <p:cNvSpPr>
                <a:spLocks/>
              </p:cNvSpPr>
              <p:nvPr/>
            </p:nvSpPr>
            <p:spPr bwMode="auto">
              <a:xfrm>
                <a:off x="3108" y="2630"/>
                <a:ext cx="382" cy="587"/>
              </a:xfrm>
              <a:custGeom>
                <a:avLst/>
                <a:gdLst>
                  <a:gd name="T0" fmla="*/ 18 w 382"/>
                  <a:gd name="T1" fmla="*/ 254 h 587"/>
                  <a:gd name="T2" fmla="*/ 22 w 382"/>
                  <a:gd name="T3" fmla="*/ 284 h 587"/>
                  <a:gd name="T4" fmla="*/ 36 w 382"/>
                  <a:gd name="T5" fmla="*/ 340 h 587"/>
                  <a:gd name="T6" fmla="*/ 56 w 382"/>
                  <a:gd name="T7" fmla="*/ 391 h 587"/>
                  <a:gd name="T8" fmla="*/ 86 w 382"/>
                  <a:gd name="T9" fmla="*/ 435 h 587"/>
                  <a:gd name="T10" fmla="*/ 122 w 382"/>
                  <a:gd name="T11" fmla="*/ 473 h 587"/>
                  <a:gd name="T12" fmla="*/ 162 w 382"/>
                  <a:gd name="T13" fmla="*/ 509 h 587"/>
                  <a:gd name="T14" fmla="*/ 210 w 382"/>
                  <a:gd name="T15" fmla="*/ 539 h 587"/>
                  <a:gd name="T16" fmla="*/ 286 w 382"/>
                  <a:gd name="T17" fmla="*/ 581 h 587"/>
                  <a:gd name="T18" fmla="*/ 264 w 382"/>
                  <a:gd name="T19" fmla="*/ 551 h 587"/>
                  <a:gd name="T20" fmla="*/ 226 w 382"/>
                  <a:gd name="T21" fmla="*/ 487 h 587"/>
                  <a:gd name="T22" fmla="*/ 192 w 382"/>
                  <a:gd name="T23" fmla="*/ 419 h 587"/>
                  <a:gd name="T24" fmla="*/ 164 w 382"/>
                  <a:gd name="T25" fmla="*/ 346 h 587"/>
                  <a:gd name="T26" fmla="*/ 152 w 382"/>
                  <a:gd name="T27" fmla="*/ 308 h 587"/>
                  <a:gd name="T28" fmla="*/ 188 w 382"/>
                  <a:gd name="T29" fmla="*/ 389 h 587"/>
                  <a:gd name="T30" fmla="*/ 224 w 382"/>
                  <a:gd name="T31" fmla="*/ 459 h 587"/>
                  <a:gd name="T32" fmla="*/ 258 w 382"/>
                  <a:gd name="T33" fmla="*/ 505 h 587"/>
                  <a:gd name="T34" fmla="*/ 284 w 382"/>
                  <a:gd name="T35" fmla="*/ 535 h 587"/>
                  <a:gd name="T36" fmla="*/ 318 w 382"/>
                  <a:gd name="T37" fmla="*/ 561 h 587"/>
                  <a:gd name="T38" fmla="*/ 338 w 382"/>
                  <a:gd name="T39" fmla="*/ 573 h 587"/>
                  <a:gd name="T40" fmla="*/ 372 w 382"/>
                  <a:gd name="T41" fmla="*/ 587 h 587"/>
                  <a:gd name="T42" fmla="*/ 376 w 382"/>
                  <a:gd name="T43" fmla="*/ 557 h 587"/>
                  <a:gd name="T44" fmla="*/ 382 w 382"/>
                  <a:gd name="T45" fmla="*/ 481 h 587"/>
                  <a:gd name="T46" fmla="*/ 380 w 382"/>
                  <a:gd name="T47" fmla="*/ 443 h 587"/>
                  <a:gd name="T48" fmla="*/ 376 w 382"/>
                  <a:gd name="T49" fmla="*/ 403 h 587"/>
                  <a:gd name="T50" fmla="*/ 366 w 382"/>
                  <a:gd name="T51" fmla="*/ 365 h 587"/>
                  <a:gd name="T52" fmla="*/ 336 w 382"/>
                  <a:gd name="T53" fmla="*/ 302 h 587"/>
                  <a:gd name="T54" fmla="*/ 292 w 382"/>
                  <a:gd name="T55" fmla="*/ 248 h 587"/>
                  <a:gd name="T56" fmla="*/ 240 w 382"/>
                  <a:gd name="T57" fmla="*/ 200 h 587"/>
                  <a:gd name="T58" fmla="*/ 120 w 382"/>
                  <a:gd name="T59" fmla="*/ 110 h 587"/>
                  <a:gd name="T60" fmla="*/ 58 w 382"/>
                  <a:gd name="T61" fmla="*/ 60 h 587"/>
                  <a:gd name="T62" fmla="*/ 0 w 382"/>
                  <a:gd name="T63"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2" h="587">
                    <a:moveTo>
                      <a:pt x="0" y="0"/>
                    </a:moveTo>
                    <a:lnTo>
                      <a:pt x="18" y="254"/>
                    </a:lnTo>
                    <a:lnTo>
                      <a:pt x="18" y="254"/>
                    </a:lnTo>
                    <a:lnTo>
                      <a:pt x="22" y="284"/>
                    </a:lnTo>
                    <a:lnTo>
                      <a:pt x="28" y="312"/>
                    </a:lnTo>
                    <a:lnTo>
                      <a:pt x="36" y="340"/>
                    </a:lnTo>
                    <a:lnTo>
                      <a:pt x="46" y="367"/>
                    </a:lnTo>
                    <a:lnTo>
                      <a:pt x="56" y="391"/>
                    </a:lnTo>
                    <a:lnTo>
                      <a:pt x="70" y="413"/>
                    </a:lnTo>
                    <a:lnTo>
                      <a:pt x="86" y="435"/>
                    </a:lnTo>
                    <a:lnTo>
                      <a:pt x="102" y="455"/>
                    </a:lnTo>
                    <a:lnTo>
                      <a:pt x="122" y="473"/>
                    </a:lnTo>
                    <a:lnTo>
                      <a:pt x="142" y="491"/>
                    </a:lnTo>
                    <a:lnTo>
                      <a:pt x="162" y="509"/>
                    </a:lnTo>
                    <a:lnTo>
                      <a:pt x="186" y="525"/>
                    </a:lnTo>
                    <a:lnTo>
                      <a:pt x="210" y="539"/>
                    </a:lnTo>
                    <a:lnTo>
                      <a:pt x="234" y="555"/>
                    </a:lnTo>
                    <a:lnTo>
                      <a:pt x="286" y="581"/>
                    </a:lnTo>
                    <a:lnTo>
                      <a:pt x="286" y="581"/>
                    </a:lnTo>
                    <a:lnTo>
                      <a:pt x="264" y="551"/>
                    </a:lnTo>
                    <a:lnTo>
                      <a:pt x="244" y="519"/>
                    </a:lnTo>
                    <a:lnTo>
                      <a:pt x="226" y="487"/>
                    </a:lnTo>
                    <a:lnTo>
                      <a:pt x="208" y="453"/>
                    </a:lnTo>
                    <a:lnTo>
                      <a:pt x="192" y="419"/>
                    </a:lnTo>
                    <a:lnTo>
                      <a:pt x="178" y="383"/>
                    </a:lnTo>
                    <a:lnTo>
                      <a:pt x="164" y="346"/>
                    </a:lnTo>
                    <a:lnTo>
                      <a:pt x="152" y="308"/>
                    </a:lnTo>
                    <a:lnTo>
                      <a:pt x="152" y="308"/>
                    </a:lnTo>
                    <a:lnTo>
                      <a:pt x="170" y="348"/>
                    </a:lnTo>
                    <a:lnTo>
                      <a:pt x="188" y="389"/>
                    </a:lnTo>
                    <a:lnTo>
                      <a:pt x="206" y="425"/>
                    </a:lnTo>
                    <a:lnTo>
                      <a:pt x="224" y="459"/>
                    </a:lnTo>
                    <a:lnTo>
                      <a:pt x="246" y="491"/>
                    </a:lnTo>
                    <a:lnTo>
                      <a:pt x="258" y="505"/>
                    </a:lnTo>
                    <a:lnTo>
                      <a:pt x="270" y="521"/>
                    </a:lnTo>
                    <a:lnTo>
                      <a:pt x="284" y="535"/>
                    </a:lnTo>
                    <a:lnTo>
                      <a:pt x="300" y="547"/>
                    </a:lnTo>
                    <a:lnTo>
                      <a:pt x="318" y="561"/>
                    </a:lnTo>
                    <a:lnTo>
                      <a:pt x="338" y="573"/>
                    </a:lnTo>
                    <a:lnTo>
                      <a:pt x="338" y="573"/>
                    </a:lnTo>
                    <a:lnTo>
                      <a:pt x="356" y="581"/>
                    </a:lnTo>
                    <a:lnTo>
                      <a:pt x="372" y="587"/>
                    </a:lnTo>
                    <a:lnTo>
                      <a:pt x="372" y="587"/>
                    </a:lnTo>
                    <a:lnTo>
                      <a:pt x="376" y="557"/>
                    </a:lnTo>
                    <a:lnTo>
                      <a:pt x="380" y="521"/>
                    </a:lnTo>
                    <a:lnTo>
                      <a:pt x="382" y="481"/>
                    </a:lnTo>
                    <a:lnTo>
                      <a:pt x="380" y="443"/>
                    </a:lnTo>
                    <a:lnTo>
                      <a:pt x="380" y="443"/>
                    </a:lnTo>
                    <a:lnTo>
                      <a:pt x="378" y="421"/>
                    </a:lnTo>
                    <a:lnTo>
                      <a:pt x="376" y="403"/>
                    </a:lnTo>
                    <a:lnTo>
                      <a:pt x="372" y="383"/>
                    </a:lnTo>
                    <a:lnTo>
                      <a:pt x="366" y="365"/>
                    </a:lnTo>
                    <a:lnTo>
                      <a:pt x="352" y="332"/>
                    </a:lnTo>
                    <a:lnTo>
                      <a:pt x="336" y="302"/>
                    </a:lnTo>
                    <a:lnTo>
                      <a:pt x="316" y="274"/>
                    </a:lnTo>
                    <a:lnTo>
                      <a:pt x="292" y="248"/>
                    </a:lnTo>
                    <a:lnTo>
                      <a:pt x="266" y="224"/>
                    </a:lnTo>
                    <a:lnTo>
                      <a:pt x="240" y="200"/>
                    </a:lnTo>
                    <a:lnTo>
                      <a:pt x="182" y="156"/>
                    </a:lnTo>
                    <a:lnTo>
                      <a:pt x="120" y="110"/>
                    </a:lnTo>
                    <a:lnTo>
                      <a:pt x="88" y="86"/>
                    </a:lnTo>
                    <a:lnTo>
                      <a:pt x="58" y="60"/>
                    </a:lnTo>
                    <a:lnTo>
                      <a:pt x="28" y="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46" name="Freeform 69">
                <a:extLst>
                  <a:ext uri="{FF2B5EF4-FFF2-40B4-BE49-F238E27FC236}">
                    <a16:creationId xmlns:a16="http://schemas.microsoft.com/office/drawing/2014/main" id="{13DB7BE0-C68B-449D-8418-8DE2BBE6136E}"/>
                  </a:ext>
                </a:extLst>
              </p:cNvPr>
              <p:cNvSpPr>
                <a:spLocks/>
              </p:cNvSpPr>
              <p:nvPr/>
            </p:nvSpPr>
            <p:spPr bwMode="auto">
              <a:xfrm>
                <a:off x="3528" y="2920"/>
                <a:ext cx="272" cy="401"/>
              </a:xfrm>
              <a:custGeom>
                <a:avLst/>
                <a:gdLst>
                  <a:gd name="T0" fmla="*/ 166 w 272"/>
                  <a:gd name="T1" fmla="*/ 97 h 401"/>
                  <a:gd name="T2" fmla="*/ 0 w 272"/>
                  <a:gd name="T3" fmla="*/ 0 h 401"/>
                  <a:gd name="T4" fmla="*/ 0 w 272"/>
                  <a:gd name="T5" fmla="*/ 0 h 401"/>
                  <a:gd name="T6" fmla="*/ 12 w 272"/>
                  <a:gd name="T7" fmla="*/ 26 h 401"/>
                  <a:gd name="T8" fmla="*/ 22 w 272"/>
                  <a:gd name="T9" fmla="*/ 54 h 401"/>
                  <a:gd name="T10" fmla="*/ 30 w 272"/>
                  <a:gd name="T11" fmla="*/ 81 h 401"/>
                  <a:gd name="T12" fmla="*/ 38 w 272"/>
                  <a:gd name="T13" fmla="*/ 107 h 401"/>
                  <a:gd name="T14" fmla="*/ 48 w 272"/>
                  <a:gd name="T15" fmla="*/ 159 h 401"/>
                  <a:gd name="T16" fmla="*/ 60 w 272"/>
                  <a:gd name="T17" fmla="*/ 207 h 401"/>
                  <a:gd name="T18" fmla="*/ 68 w 272"/>
                  <a:gd name="T19" fmla="*/ 231 h 401"/>
                  <a:gd name="T20" fmla="*/ 76 w 272"/>
                  <a:gd name="T21" fmla="*/ 253 h 401"/>
                  <a:gd name="T22" fmla="*/ 86 w 272"/>
                  <a:gd name="T23" fmla="*/ 275 h 401"/>
                  <a:gd name="T24" fmla="*/ 100 w 272"/>
                  <a:gd name="T25" fmla="*/ 297 h 401"/>
                  <a:gd name="T26" fmla="*/ 114 w 272"/>
                  <a:gd name="T27" fmla="*/ 317 h 401"/>
                  <a:gd name="T28" fmla="*/ 132 w 272"/>
                  <a:gd name="T29" fmla="*/ 335 h 401"/>
                  <a:gd name="T30" fmla="*/ 154 w 272"/>
                  <a:gd name="T31" fmla="*/ 353 h 401"/>
                  <a:gd name="T32" fmla="*/ 180 w 272"/>
                  <a:gd name="T33" fmla="*/ 371 h 401"/>
                  <a:gd name="T34" fmla="*/ 180 w 272"/>
                  <a:gd name="T35" fmla="*/ 371 h 401"/>
                  <a:gd name="T36" fmla="*/ 214 w 272"/>
                  <a:gd name="T37" fmla="*/ 389 h 401"/>
                  <a:gd name="T38" fmla="*/ 244 w 272"/>
                  <a:gd name="T39" fmla="*/ 401 h 401"/>
                  <a:gd name="T40" fmla="*/ 244 w 272"/>
                  <a:gd name="T41" fmla="*/ 401 h 401"/>
                  <a:gd name="T42" fmla="*/ 238 w 272"/>
                  <a:gd name="T43" fmla="*/ 371 h 401"/>
                  <a:gd name="T44" fmla="*/ 232 w 272"/>
                  <a:gd name="T45" fmla="*/ 345 h 401"/>
                  <a:gd name="T46" fmla="*/ 220 w 272"/>
                  <a:gd name="T47" fmla="*/ 321 h 401"/>
                  <a:gd name="T48" fmla="*/ 208 w 272"/>
                  <a:gd name="T49" fmla="*/ 299 h 401"/>
                  <a:gd name="T50" fmla="*/ 192 w 272"/>
                  <a:gd name="T51" fmla="*/ 279 h 401"/>
                  <a:gd name="T52" fmla="*/ 176 w 272"/>
                  <a:gd name="T53" fmla="*/ 257 h 401"/>
                  <a:gd name="T54" fmla="*/ 138 w 272"/>
                  <a:gd name="T55" fmla="*/ 211 h 401"/>
                  <a:gd name="T56" fmla="*/ 138 w 272"/>
                  <a:gd name="T57" fmla="*/ 211 h 401"/>
                  <a:gd name="T58" fmla="*/ 162 w 272"/>
                  <a:gd name="T59" fmla="*/ 235 h 401"/>
                  <a:gd name="T60" fmla="*/ 182 w 272"/>
                  <a:gd name="T61" fmla="*/ 255 h 401"/>
                  <a:gd name="T62" fmla="*/ 200 w 272"/>
                  <a:gd name="T63" fmla="*/ 277 h 401"/>
                  <a:gd name="T64" fmla="*/ 216 w 272"/>
                  <a:gd name="T65" fmla="*/ 299 h 401"/>
                  <a:gd name="T66" fmla="*/ 230 w 272"/>
                  <a:gd name="T67" fmla="*/ 321 h 401"/>
                  <a:gd name="T68" fmla="*/ 244 w 272"/>
                  <a:gd name="T69" fmla="*/ 345 h 401"/>
                  <a:gd name="T70" fmla="*/ 256 w 272"/>
                  <a:gd name="T71" fmla="*/ 371 h 401"/>
                  <a:gd name="T72" fmla="*/ 268 w 272"/>
                  <a:gd name="T73" fmla="*/ 399 h 401"/>
                  <a:gd name="T74" fmla="*/ 268 w 272"/>
                  <a:gd name="T75" fmla="*/ 399 h 401"/>
                  <a:gd name="T76" fmla="*/ 270 w 272"/>
                  <a:gd name="T77" fmla="*/ 353 h 401"/>
                  <a:gd name="T78" fmla="*/ 272 w 272"/>
                  <a:gd name="T79" fmla="*/ 311 h 401"/>
                  <a:gd name="T80" fmla="*/ 270 w 272"/>
                  <a:gd name="T81" fmla="*/ 269 h 401"/>
                  <a:gd name="T82" fmla="*/ 268 w 272"/>
                  <a:gd name="T83" fmla="*/ 249 h 401"/>
                  <a:gd name="T84" fmla="*/ 266 w 272"/>
                  <a:gd name="T85" fmla="*/ 229 h 401"/>
                  <a:gd name="T86" fmla="*/ 260 w 272"/>
                  <a:gd name="T87" fmla="*/ 211 h 401"/>
                  <a:gd name="T88" fmla="*/ 254 w 272"/>
                  <a:gd name="T89" fmla="*/ 193 h 401"/>
                  <a:gd name="T90" fmla="*/ 246 w 272"/>
                  <a:gd name="T91" fmla="*/ 175 h 401"/>
                  <a:gd name="T92" fmla="*/ 234 w 272"/>
                  <a:gd name="T93" fmla="*/ 157 h 401"/>
                  <a:gd name="T94" fmla="*/ 222 w 272"/>
                  <a:gd name="T95" fmla="*/ 141 h 401"/>
                  <a:gd name="T96" fmla="*/ 206 w 272"/>
                  <a:gd name="T97" fmla="*/ 127 h 401"/>
                  <a:gd name="T98" fmla="*/ 186 w 272"/>
                  <a:gd name="T99" fmla="*/ 111 h 401"/>
                  <a:gd name="T100" fmla="*/ 166 w 272"/>
                  <a:gd name="T101" fmla="*/ 97 h 401"/>
                  <a:gd name="T102" fmla="*/ 166 w 272"/>
                  <a:gd name="T103" fmla="*/ 97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2" h="401">
                    <a:moveTo>
                      <a:pt x="166" y="97"/>
                    </a:moveTo>
                    <a:lnTo>
                      <a:pt x="0" y="0"/>
                    </a:lnTo>
                    <a:lnTo>
                      <a:pt x="0" y="0"/>
                    </a:lnTo>
                    <a:lnTo>
                      <a:pt x="12" y="26"/>
                    </a:lnTo>
                    <a:lnTo>
                      <a:pt x="22" y="54"/>
                    </a:lnTo>
                    <a:lnTo>
                      <a:pt x="30" y="81"/>
                    </a:lnTo>
                    <a:lnTo>
                      <a:pt x="38" y="107"/>
                    </a:lnTo>
                    <a:lnTo>
                      <a:pt x="48" y="159"/>
                    </a:lnTo>
                    <a:lnTo>
                      <a:pt x="60" y="207"/>
                    </a:lnTo>
                    <a:lnTo>
                      <a:pt x="68" y="231"/>
                    </a:lnTo>
                    <a:lnTo>
                      <a:pt x="76" y="253"/>
                    </a:lnTo>
                    <a:lnTo>
                      <a:pt x="86" y="275"/>
                    </a:lnTo>
                    <a:lnTo>
                      <a:pt x="100" y="297"/>
                    </a:lnTo>
                    <a:lnTo>
                      <a:pt x="114" y="317"/>
                    </a:lnTo>
                    <a:lnTo>
                      <a:pt x="132" y="335"/>
                    </a:lnTo>
                    <a:lnTo>
                      <a:pt x="154" y="353"/>
                    </a:lnTo>
                    <a:lnTo>
                      <a:pt x="180" y="371"/>
                    </a:lnTo>
                    <a:lnTo>
                      <a:pt x="180" y="371"/>
                    </a:lnTo>
                    <a:lnTo>
                      <a:pt x="214" y="389"/>
                    </a:lnTo>
                    <a:lnTo>
                      <a:pt x="244" y="401"/>
                    </a:lnTo>
                    <a:lnTo>
                      <a:pt x="244" y="401"/>
                    </a:lnTo>
                    <a:lnTo>
                      <a:pt x="238" y="371"/>
                    </a:lnTo>
                    <a:lnTo>
                      <a:pt x="232" y="345"/>
                    </a:lnTo>
                    <a:lnTo>
                      <a:pt x="220" y="321"/>
                    </a:lnTo>
                    <a:lnTo>
                      <a:pt x="208" y="299"/>
                    </a:lnTo>
                    <a:lnTo>
                      <a:pt x="192" y="279"/>
                    </a:lnTo>
                    <a:lnTo>
                      <a:pt x="176" y="257"/>
                    </a:lnTo>
                    <a:lnTo>
                      <a:pt x="138" y="211"/>
                    </a:lnTo>
                    <a:lnTo>
                      <a:pt x="138" y="211"/>
                    </a:lnTo>
                    <a:lnTo>
                      <a:pt x="162" y="235"/>
                    </a:lnTo>
                    <a:lnTo>
                      <a:pt x="182" y="255"/>
                    </a:lnTo>
                    <a:lnTo>
                      <a:pt x="200" y="277"/>
                    </a:lnTo>
                    <a:lnTo>
                      <a:pt x="216" y="299"/>
                    </a:lnTo>
                    <a:lnTo>
                      <a:pt x="230" y="321"/>
                    </a:lnTo>
                    <a:lnTo>
                      <a:pt x="244" y="345"/>
                    </a:lnTo>
                    <a:lnTo>
                      <a:pt x="256" y="371"/>
                    </a:lnTo>
                    <a:lnTo>
                      <a:pt x="268" y="399"/>
                    </a:lnTo>
                    <a:lnTo>
                      <a:pt x="268" y="399"/>
                    </a:lnTo>
                    <a:lnTo>
                      <a:pt x="270" y="353"/>
                    </a:lnTo>
                    <a:lnTo>
                      <a:pt x="272" y="311"/>
                    </a:lnTo>
                    <a:lnTo>
                      <a:pt x="270" y="269"/>
                    </a:lnTo>
                    <a:lnTo>
                      <a:pt x="268" y="249"/>
                    </a:lnTo>
                    <a:lnTo>
                      <a:pt x="266" y="229"/>
                    </a:lnTo>
                    <a:lnTo>
                      <a:pt x="260" y="211"/>
                    </a:lnTo>
                    <a:lnTo>
                      <a:pt x="254" y="193"/>
                    </a:lnTo>
                    <a:lnTo>
                      <a:pt x="246" y="175"/>
                    </a:lnTo>
                    <a:lnTo>
                      <a:pt x="234" y="157"/>
                    </a:lnTo>
                    <a:lnTo>
                      <a:pt x="222" y="141"/>
                    </a:lnTo>
                    <a:lnTo>
                      <a:pt x="206" y="127"/>
                    </a:lnTo>
                    <a:lnTo>
                      <a:pt x="186" y="111"/>
                    </a:lnTo>
                    <a:lnTo>
                      <a:pt x="166" y="97"/>
                    </a:lnTo>
                    <a:lnTo>
                      <a:pt x="166"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47" name="Freeform 70">
                <a:extLst>
                  <a:ext uri="{FF2B5EF4-FFF2-40B4-BE49-F238E27FC236}">
                    <a16:creationId xmlns:a16="http://schemas.microsoft.com/office/drawing/2014/main" id="{90E97644-069D-49C4-9B98-83FBF3A8EDC7}"/>
                  </a:ext>
                </a:extLst>
              </p:cNvPr>
              <p:cNvSpPr>
                <a:spLocks/>
              </p:cNvSpPr>
              <p:nvPr/>
            </p:nvSpPr>
            <p:spPr bwMode="auto">
              <a:xfrm>
                <a:off x="3424" y="3305"/>
                <a:ext cx="312" cy="122"/>
              </a:xfrm>
              <a:custGeom>
                <a:avLst/>
                <a:gdLst>
                  <a:gd name="T0" fmla="*/ 270 w 312"/>
                  <a:gd name="T1" fmla="*/ 100 h 122"/>
                  <a:gd name="T2" fmla="*/ 270 w 312"/>
                  <a:gd name="T3" fmla="*/ 100 h 122"/>
                  <a:gd name="T4" fmla="*/ 294 w 312"/>
                  <a:gd name="T5" fmla="*/ 84 h 122"/>
                  <a:gd name="T6" fmla="*/ 312 w 312"/>
                  <a:gd name="T7" fmla="*/ 70 h 122"/>
                  <a:gd name="T8" fmla="*/ 312 w 312"/>
                  <a:gd name="T9" fmla="*/ 70 h 122"/>
                  <a:gd name="T10" fmla="*/ 292 w 312"/>
                  <a:gd name="T11" fmla="*/ 66 h 122"/>
                  <a:gd name="T12" fmla="*/ 274 w 312"/>
                  <a:gd name="T13" fmla="*/ 62 h 122"/>
                  <a:gd name="T14" fmla="*/ 234 w 312"/>
                  <a:gd name="T15" fmla="*/ 56 h 122"/>
                  <a:gd name="T16" fmla="*/ 196 w 312"/>
                  <a:gd name="T17" fmla="*/ 56 h 122"/>
                  <a:gd name="T18" fmla="*/ 156 w 312"/>
                  <a:gd name="T19" fmla="*/ 56 h 122"/>
                  <a:gd name="T20" fmla="*/ 156 w 312"/>
                  <a:gd name="T21" fmla="*/ 56 h 122"/>
                  <a:gd name="T22" fmla="*/ 168 w 312"/>
                  <a:gd name="T23" fmla="*/ 54 h 122"/>
                  <a:gd name="T24" fmla="*/ 206 w 312"/>
                  <a:gd name="T25" fmla="*/ 52 h 122"/>
                  <a:gd name="T26" fmla="*/ 206 w 312"/>
                  <a:gd name="T27" fmla="*/ 52 h 122"/>
                  <a:gd name="T28" fmla="*/ 234 w 312"/>
                  <a:gd name="T29" fmla="*/ 48 h 122"/>
                  <a:gd name="T30" fmla="*/ 260 w 312"/>
                  <a:gd name="T31" fmla="*/ 48 h 122"/>
                  <a:gd name="T32" fmla="*/ 284 w 312"/>
                  <a:gd name="T33" fmla="*/ 50 h 122"/>
                  <a:gd name="T34" fmla="*/ 310 w 312"/>
                  <a:gd name="T35" fmla="*/ 56 h 122"/>
                  <a:gd name="T36" fmla="*/ 310 w 312"/>
                  <a:gd name="T37" fmla="*/ 56 h 122"/>
                  <a:gd name="T38" fmla="*/ 262 w 312"/>
                  <a:gd name="T39" fmla="*/ 26 h 122"/>
                  <a:gd name="T40" fmla="*/ 238 w 312"/>
                  <a:gd name="T41" fmla="*/ 14 h 122"/>
                  <a:gd name="T42" fmla="*/ 214 w 312"/>
                  <a:gd name="T43" fmla="*/ 4 h 122"/>
                  <a:gd name="T44" fmla="*/ 202 w 312"/>
                  <a:gd name="T45" fmla="*/ 2 h 122"/>
                  <a:gd name="T46" fmla="*/ 190 w 312"/>
                  <a:gd name="T47" fmla="*/ 0 h 122"/>
                  <a:gd name="T48" fmla="*/ 176 w 312"/>
                  <a:gd name="T49" fmla="*/ 0 h 122"/>
                  <a:gd name="T50" fmla="*/ 164 w 312"/>
                  <a:gd name="T51" fmla="*/ 0 h 122"/>
                  <a:gd name="T52" fmla="*/ 150 w 312"/>
                  <a:gd name="T53" fmla="*/ 4 h 122"/>
                  <a:gd name="T54" fmla="*/ 136 w 312"/>
                  <a:gd name="T55" fmla="*/ 8 h 122"/>
                  <a:gd name="T56" fmla="*/ 122 w 312"/>
                  <a:gd name="T57" fmla="*/ 14 h 122"/>
                  <a:gd name="T58" fmla="*/ 108 w 312"/>
                  <a:gd name="T59" fmla="*/ 20 h 122"/>
                  <a:gd name="T60" fmla="*/ 0 w 312"/>
                  <a:gd name="T61" fmla="*/ 84 h 122"/>
                  <a:gd name="T62" fmla="*/ 0 w 312"/>
                  <a:gd name="T63" fmla="*/ 84 h 122"/>
                  <a:gd name="T64" fmla="*/ 20 w 312"/>
                  <a:gd name="T65" fmla="*/ 86 h 122"/>
                  <a:gd name="T66" fmla="*/ 38 w 312"/>
                  <a:gd name="T67" fmla="*/ 90 h 122"/>
                  <a:gd name="T68" fmla="*/ 72 w 312"/>
                  <a:gd name="T69" fmla="*/ 98 h 122"/>
                  <a:gd name="T70" fmla="*/ 106 w 312"/>
                  <a:gd name="T71" fmla="*/ 108 h 122"/>
                  <a:gd name="T72" fmla="*/ 138 w 312"/>
                  <a:gd name="T73" fmla="*/ 116 h 122"/>
                  <a:gd name="T74" fmla="*/ 170 w 312"/>
                  <a:gd name="T75" fmla="*/ 122 h 122"/>
                  <a:gd name="T76" fmla="*/ 186 w 312"/>
                  <a:gd name="T77" fmla="*/ 122 h 122"/>
                  <a:gd name="T78" fmla="*/ 202 w 312"/>
                  <a:gd name="T79" fmla="*/ 122 h 122"/>
                  <a:gd name="T80" fmla="*/ 218 w 312"/>
                  <a:gd name="T81" fmla="*/ 120 h 122"/>
                  <a:gd name="T82" fmla="*/ 234 w 312"/>
                  <a:gd name="T83" fmla="*/ 116 h 122"/>
                  <a:gd name="T84" fmla="*/ 252 w 312"/>
                  <a:gd name="T85" fmla="*/ 110 h 122"/>
                  <a:gd name="T86" fmla="*/ 270 w 312"/>
                  <a:gd name="T87" fmla="*/ 100 h 122"/>
                  <a:gd name="T88" fmla="*/ 270 w 312"/>
                  <a:gd name="T89" fmla="*/ 10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2" h="122">
                    <a:moveTo>
                      <a:pt x="270" y="100"/>
                    </a:moveTo>
                    <a:lnTo>
                      <a:pt x="270" y="100"/>
                    </a:lnTo>
                    <a:lnTo>
                      <a:pt x="294" y="84"/>
                    </a:lnTo>
                    <a:lnTo>
                      <a:pt x="312" y="70"/>
                    </a:lnTo>
                    <a:lnTo>
                      <a:pt x="312" y="70"/>
                    </a:lnTo>
                    <a:lnTo>
                      <a:pt x="292" y="66"/>
                    </a:lnTo>
                    <a:lnTo>
                      <a:pt x="274" y="62"/>
                    </a:lnTo>
                    <a:lnTo>
                      <a:pt x="234" y="56"/>
                    </a:lnTo>
                    <a:lnTo>
                      <a:pt x="196" y="56"/>
                    </a:lnTo>
                    <a:lnTo>
                      <a:pt x="156" y="56"/>
                    </a:lnTo>
                    <a:lnTo>
                      <a:pt x="156" y="56"/>
                    </a:lnTo>
                    <a:lnTo>
                      <a:pt x="168" y="54"/>
                    </a:lnTo>
                    <a:lnTo>
                      <a:pt x="206" y="52"/>
                    </a:lnTo>
                    <a:lnTo>
                      <a:pt x="206" y="52"/>
                    </a:lnTo>
                    <a:lnTo>
                      <a:pt x="234" y="48"/>
                    </a:lnTo>
                    <a:lnTo>
                      <a:pt x="260" y="48"/>
                    </a:lnTo>
                    <a:lnTo>
                      <a:pt x="284" y="50"/>
                    </a:lnTo>
                    <a:lnTo>
                      <a:pt x="310" y="56"/>
                    </a:lnTo>
                    <a:lnTo>
                      <a:pt x="310" y="56"/>
                    </a:lnTo>
                    <a:lnTo>
                      <a:pt x="262" y="26"/>
                    </a:lnTo>
                    <a:lnTo>
                      <a:pt x="238" y="14"/>
                    </a:lnTo>
                    <a:lnTo>
                      <a:pt x="214" y="4"/>
                    </a:lnTo>
                    <a:lnTo>
                      <a:pt x="202" y="2"/>
                    </a:lnTo>
                    <a:lnTo>
                      <a:pt x="190" y="0"/>
                    </a:lnTo>
                    <a:lnTo>
                      <a:pt x="176" y="0"/>
                    </a:lnTo>
                    <a:lnTo>
                      <a:pt x="164" y="0"/>
                    </a:lnTo>
                    <a:lnTo>
                      <a:pt x="150" y="4"/>
                    </a:lnTo>
                    <a:lnTo>
                      <a:pt x="136" y="8"/>
                    </a:lnTo>
                    <a:lnTo>
                      <a:pt x="122" y="14"/>
                    </a:lnTo>
                    <a:lnTo>
                      <a:pt x="108" y="20"/>
                    </a:lnTo>
                    <a:lnTo>
                      <a:pt x="0" y="84"/>
                    </a:lnTo>
                    <a:lnTo>
                      <a:pt x="0" y="84"/>
                    </a:lnTo>
                    <a:lnTo>
                      <a:pt x="20" y="86"/>
                    </a:lnTo>
                    <a:lnTo>
                      <a:pt x="38" y="90"/>
                    </a:lnTo>
                    <a:lnTo>
                      <a:pt x="72" y="98"/>
                    </a:lnTo>
                    <a:lnTo>
                      <a:pt x="106" y="108"/>
                    </a:lnTo>
                    <a:lnTo>
                      <a:pt x="138" y="116"/>
                    </a:lnTo>
                    <a:lnTo>
                      <a:pt x="170" y="122"/>
                    </a:lnTo>
                    <a:lnTo>
                      <a:pt x="186" y="122"/>
                    </a:lnTo>
                    <a:lnTo>
                      <a:pt x="202" y="122"/>
                    </a:lnTo>
                    <a:lnTo>
                      <a:pt x="218" y="120"/>
                    </a:lnTo>
                    <a:lnTo>
                      <a:pt x="234" y="116"/>
                    </a:lnTo>
                    <a:lnTo>
                      <a:pt x="252" y="110"/>
                    </a:lnTo>
                    <a:lnTo>
                      <a:pt x="270" y="100"/>
                    </a:lnTo>
                    <a:lnTo>
                      <a:pt x="270"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48" name="Freeform 71">
                <a:extLst>
                  <a:ext uri="{FF2B5EF4-FFF2-40B4-BE49-F238E27FC236}">
                    <a16:creationId xmlns:a16="http://schemas.microsoft.com/office/drawing/2014/main" id="{A4F99237-331A-4786-88AF-1DFBF4A22FB0}"/>
                  </a:ext>
                </a:extLst>
              </p:cNvPr>
              <p:cNvSpPr>
                <a:spLocks/>
              </p:cNvSpPr>
              <p:nvPr/>
            </p:nvSpPr>
            <p:spPr bwMode="auto">
              <a:xfrm>
                <a:off x="3780" y="3413"/>
                <a:ext cx="4" cy="2"/>
              </a:xfrm>
              <a:custGeom>
                <a:avLst/>
                <a:gdLst>
                  <a:gd name="T0" fmla="*/ 0 w 4"/>
                  <a:gd name="T1" fmla="*/ 0 h 2"/>
                  <a:gd name="T2" fmla="*/ 0 w 4"/>
                  <a:gd name="T3" fmla="*/ 0 h 2"/>
                  <a:gd name="T4" fmla="*/ 0 w 4"/>
                  <a:gd name="T5" fmla="*/ 2 h 2"/>
                  <a:gd name="T6" fmla="*/ 0 w 4"/>
                  <a:gd name="T7" fmla="*/ 2 h 2"/>
                  <a:gd name="T8" fmla="*/ 4 w 4"/>
                  <a:gd name="T9" fmla="*/ 0 h 2"/>
                  <a:gd name="T10" fmla="*/ 0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0" y="0"/>
                    </a:moveTo>
                    <a:lnTo>
                      <a:pt x="0" y="0"/>
                    </a:lnTo>
                    <a:lnTo>
                      <a:pt x="0" y="2"/>
                    </a:lnTo>
                    <a:lnTo>
                      <a:pt x="0" y="2"/>
                    </a:lnTo>
                    <a:lnTo>
                      <a:pt x="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49" name="Freeform 72">
                <a:extLst>
                  <a:ext uri="{FF2B5EF4-FFF2-40B4-BE49-F238E27FC236}">
                    <a16:creationId xmlns:a16="http://schemas.microsoft.com/office/drawing/2014/main" id="{D7723E1B-7A81-4933-93C3-6D4CEFF81F19}"/>
                  </a:ext>
                </a:extLst>
              </p:cNvPr>
              <p:cNvSpPr>
                <a:spLocks/>
              </p:cNvSpPr>
              <p:nvPr/>
            </p:nvSpPr>
            <p:spPr bwMode="auto">
              <a:xfrm>
                <a:off x="3500" y="3415"/>
                <a:ext cx="286" cy="390"/>
              </a:xfrm>
              <a:custGeom>
                <a:avLst/>
                <a:gdLst>
                  <a:gd name="T0" fmla="*/ 108 w 286"/>
                  <a:gd name="T1" fmla="*/ 202 h 390"/>
                  <a:gd name="T2" fmla="*/ 108 w 286"/>
                  <a:gd name="T3" fmla="*/ 202 h 390"/>
                  <a:gd name="T4" fmla="*/ 116 w 286"/>
                  <a:gd name="T5" fmla="*/ 184 h 390"/>
                  <a:gd name="T6" fmla="*/ 142 w 286"/>
                  <a:gd name="T7" fmla="*/ 134 h 390"/>
                  <a:gd name="T8" fmla="*/ 142 w 286"/>
                  <a:gd name="T9" fmla="*/ 134 h 390"/>
                  <a:gd name="T10" fmla="*/ 162 w 286"/>
                  <a:gd name="T11" fmla="*/ 100 h 390"/>
                  <a:gd name="T12" fmla="*/ 182 w 286"/>
                  <a:gd name="T13" fmla="*/ 68 h 390"/>
                  <a:gd name="T14" fmla="*/ 202 w 286"/>
                  <a:gd name="T15" fmla="*/ 40 h 390"/>
                  <a:gd name="T16" fmla="*/ 214 w 286"/>
                  <a:gd name="T17" fmla="*/ 28 h 390"/>
                  <a:gd name="T18" fmla="*/ 228 w 286"/>
                  <a:gd name="T19" fmla="*/ 14 h 390"/>
                  <a:gd name="T20" fmla="*/ 228 w 286"/>
                  <a:gd name="T21" fmla="*/ 14 h 390"/>
                  <a:gd name="T22" fmla="*/ 192 w 286"/>
                  <a:gd name="T23" fmla="*/ 26 h 390"/>
                  <a:gd name="T24" fmla="*/ 158 w 286"/>
                  <a:gd name="T25" fmla="*/ 40 h 390"/>
                  <a:gd name="T26" fmla="*/ 128 w 286"/>
                  <a:gd name="T27" fmla="*/ 56 h 390"/>
                  <a:gd name="T28" fmla="*/ 114 w 286"/>
                  <a:gd name="T29" fmla="*/ 66 h 390"/>
                  <a:gd name="T30" fmla="*/ 102 w 286"/>
                  <a:gd name="T31" fmla="*/ 76 h 390"/>
                  <a:gd name="T32" fmla="*/ 88 w 286"/>
                  <a:gd name="T33" fmla="*/ 86 h 390"/>
                  <a:gd name="T34" fmla="*/ 78 w 286"/>
                  <a:gd name="T35" fmla="*/ 98 h 390"/>
                  <a:gd name="T36" fmla="*/ 66 w 286"/>
                  <a:gd name="T37" fmla="*/ 112 h 390"/>
                  <a:gd name="T38" fmla="*/ 58 w 286"/>
                  <a:gd name="T39" fmla="*/ 126 h 390"/>
                  <a:gd name="T40" fmla="*/ 50 w 286"/>
                  <a:gd name="T41" fmla="*/ 142 h 390"/>
                  <a:gd name="T42" fmla="*/ 42 w 286"/>
                  <a:gd name="T43" fmla="*/ 160 h 390"/>
                  <a:gd name="T44" fmla="*/ 36 w 286"/>
                  <a:gd name="T45" fmla="*/ 180 h 390"/>
                  <a:gd name="T46" fmla="*/ 32 w 286"/>
                  <a:gd name="T47" fmla="*/ 202 h 390"/>
                  <a:gd name="T48" fmla="*/ 0 w 286"/>
                  <a:gd name="T49" fmla="*/ 390 h 390"/>
                  <a:gd name="T50" fmla="*/ 0 w 286"/>
                  <a:gd name="T51" fmla="*/ 390 h 390"/>
                  <a:gd name="T52" fmla="*/ 22 w 286"/>
                  <a:gd name="T53" fmla="*/ 370 h 390"/>
                  <a:gd name="T54" fmla="*/ 44 w 286"/>
                  <a:gd name="T55" fmla="*/ 352 h 390"/>
                  <a:gd name="T56" fmla="*/ 66 w 286"/>
                  <a:gd name="T57" fmla="*/ 334 h 390"/>
                  <a:gd name="T58" fmla="*/ 86 w 286"/>
                  <a:gd name="T59" fmla="*/ 318 h 390"/>
                  <a:gd name="T60" fmla="*/ 130 w 286"/>
                  <a:gd name="T61" fmla="*/ 290 h 390"/>
                  <a:gd name="T62" fmla="*/ 172 w 286"/>
                  <a:gd name="T63" fmla="*/ 260 h 390"/>
                  <a:gd name="T64" fmla="*/ 192 w 286"/>
                  <a:gd name="T65" fmla="*/ 246 h 390"/>
                  <a:gd name="T66" fmla="*/ 210 w 286"/>
                  <a:gd name="T67" fmla="*/ 230 h 390"/>
                  <a:gd name="T68" fmla="*/ 226 w 286"/>
                  <a:gd name="T69" fmla="*/ 212 h 390"/>
                  <a:gd name="T70" fmla="*/ 242 w 286"/>
                  <a:gd name="T71" fmla="*/ 192 h 390"/>
                  <a:gd name="T72" fmla="*/ 254 w 286"/>
                  <a:gd name="T73" fmla="*/ 172 h 390"/>
                  <a:gd name="T74" fmla="*/ 266 w 286"/>
                  <a:gd name="T75" fmla="*/ 148 h 390"/>
                  <a:gd name="T76" fmla="*/ 274 w 286"/>
                  <a:gd name="T77" fmla="*/ 122 h 390"/>
                  <a:gd name="T78" fmla="*/ 282 w 286"/>
                  <a:gd name="T79" fmla="*/ 92 h 390"/>
                  <a:gd name="T80" fmla="*/ 282 w 286"/>
                  <a:gd name="T81" fmla="*/ 92 h 390"/>
                  <a:gd name="T82" fmla="*/ 286 w 286"/>
                  <a:gd name="T83" fmla="*/ 58 h 390"/>
                  <a:gd name="T84" fmla="*/ 284 w 286"/>
                  <a:gd name="T85" fmla="*/ 30 h 390"/>
                  <a:gd name="T86" fmla="*/ 284 w 286"/>
                  <a:gd name="T87" fmla="*/ 12 h 390"/>
                  <a:gd name="T88" fmla="*/ 280 w 286"/>
                  <a:gd name="T89" fmla="*/ 0 h 390"/>
                  <a:gd name="T90" fmla="*/ 280 w 286"/>
                  <a:gd name="T91" fmla="*/ 0 h 390"/>
                  <a:gd name="T92" fmla="*/ 254 w 286"/>
                  <a:gd name="T93" fmla="*/ 20 h 390"/>
                  <a:gd name="T94" fmla="*/ 230 w 286"/>
                  <a:gd name="T95" fmla="*/ 42 h 390"/>
                  <a:gd name="T96" fmla="*/ 206 w 286"/>
                  <a:gd name="T97" fmla="*/ 66 h 390"/>
                  <a:gd name="T98" fmla="*/ 184 w 286"/>
                  <a:gd name="T99" fmla="*/ 92 h 390"/>
                  <a:gd name="T100" fmla="*/ 162 w 286"/>
                  <a:gd name="T101" fmla="*/ 118 h 390"/>
                  <a:gd name="T102" fmla="*/ 144 w 286"/>
                  <a:gd name="T103" fmla="*/ 146 h 390"/>
                  <a:gd name="T104" fmla="*/ 124 w 286"/>
                  <a:gd name="T105" fmla="*/ 174 h 390"/>
                  <a:gd name="T106" fmla="*/ 108 w 286"/>
                  <a:gd name="T107" fmla="*/ 202 h 390"/>
                  <a:gd name="T108" fmla="*/ 108 w 286"/>
                  <a:gd name="T109" fmla="*/ 20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6" h="390">
                    <a:moveTo>
                      <a:pt x="108" y="202"/>
                    </a:moveTo>
                    <a:lnTo>
                      <a:pt x="108" y="202"/>
                    </a:lnTo>
                    <a:lnTo>
                      <a:pt x="116" y="184"/>
                    </a:lnTo>
                    <a:lnTo>
                      <a:pt x="142" y="134"/>
                    </a:lnTo>
                    <a:lnTo>
                      <a:pt x="142" y="134"/>
                    </a:lnTo>
                    <a:lnTo>
                      <a:pt x="162" y="100"/>
                    </a:lnTo>
                    <a:lnTo>
                      <a:pt x="182" y="68"/>
                    </a:lnTo>
                    <a:lnTo>
                      <a:pt x="202" y="40"/>
                    </a:lnTo>
                    <a:lnTo>
                      <a:pt x="214" y="28"/>
                    </a:lnTo>
                    <a:lnTo>
                      <a:pt x="228" y="14"/>
                    </a:lnTo>
                    <a:lnTo>
                      <a:pt x="228" y="14"/>
                    </a:lnTo>
                    <a:lnTo>
                      <a:pt x="192" y="26"/>
                    </a:lnTo>
                    <a:lnTo>
                      <a:pt x="158" y="40"/>
                    </a:lnTo>
                    <a:lnTo>
                      <a:pt x="128" y="56"/>
                    </a:lnTo>
                    <a:lnTo>
                      <a:pt x="114" y="66"/>
                    </a:lnTo>
                    <a:lnTo>
                      <a:pt x="102" y="76"/>
                    </a:lnTo>
                    <a:lnTo>
                      <a:pt x="88" y="86"/>
                    </a:lnTo>
                    <a:lnTo>
                      <a:pt x="78" y="98"/>
                    </a:lnTo>
                    <a:lnTo>
                      <a:pt x="66" y="112"/>
                    </a:lnTo>
                    <a:lnTo>
                      <a:pt x="58" y="126"/>
                    </a:lnTo>
                    <a:lnTo>
                      <a:pt x="50" y="142"/>
                    </a:lnTo>
                    <a:lnTo>
                      <a:pt x="42" y="160"/>
                    </a:lnTo>
                    <a:lnTo>
                      <a:pt x="36" y="180"/>
                    </a:lnTo>
                    <a:lnTo>
                      <a:pt x="32" y="202"/>
                    </a:lnTo>
                    <a:lnTo>
                      <a:pt x="0" y="390"/>
                    </a:lnTo>
                    <a:lnTo>
                      <a:pt x="0" y="390"/>
                    </a:lnTo>
                    <a:lnTo>
                      <a:pt x="22" y="370"/>
                    </a:lnTo>
                    <a:lnTo>
                      <a:pt x="44" y="352"/>
                    </a:lnTo>
                    <a:lnTo>
                      <a:pt x="66" y="334"/>
                    </a:lnTo>
                    <a:lnTo>
                      <a:pt x="86" y="318"/>
                    </a:lnTo>
                    <a:lnTo>
                      <a:pt x="130" y="290"/>
                    </a:lnTo>
                    <a:lnTo>
                      <a:pt x="172" y="260"/>
                    </a:lnTo>
                    <a:lnTo>
                      <a:pt x="192" y="246"/>
                    </a:lnTo>
                    <a:lnTo>
                      <a:pt x="210" y="230"/>
                    </a:lnTo>
                    <a:lnTo>
                      <a:pt x="226" y="212"/>
                    </a:lnTo>
                    <a:lnTo>
                      <a:pt x="242" y="192"/>
                    </a:lnTo>
                    <a:lnTo>
                      <a:pt x="254" y="172"/>
                    </a:lnTo>
                    <a:lnTo>
                      <a:pt x="266" y="148"/>
                    </a:lnTo>
                    <a:lnTo>
                      <a:pt x="274" y="122"/>
                    </a:lnTo>
                    <a:lnTo>
                      <a:pt x="282" y="92"/>
                    </a:lnTo>
                    <a:lnTo>
                      <a:pt x="282" y="92"/>
                    </a:lnTo>
                    <a:lnTo>
                      <a:pt x="286" y="58"/>
                    </a:lnTo>
                    <a:lnTo>
                      <a:pt x="284" y="30"/>
                    </a:lnTo>
                    <a:lnTo>
                      <a:pt x="284" y="12"/>
                    </a:lnTo>
                    <a:lnTo>
                      <a:pt x="280" y="0"/>
                    </a:lnTo>
                    <a:lnTo>
                      <a:pt x="280" y="0"/>
                    </a:lnTo>
                    <a:lnTo>
                      <a:pt x="254" y="20"/>
                    </a:lnTo>
                    <a:lnTo>
                      <a:pt x="230" y="42"/>
                    </a:lnTo>
                    <a:lnTo>
                      <a:pt x="206" y="66"/>
                    </a:lnTo>
                    <a:lnTo>
                      <a:pt x="184" y="92"/>
                    </a:lnTo>
                    <a:lnTo>
                      <a:pt x="162" y="118"/>
                    </a:lnTo>
                    <a:lnTo>
                      <a:pt x="144" y="146"/>
                    </a:lnTo>
                    <a:lnTo>
                      <a:pt x="124" y="174"/>
                    </a:lnTo>
                    <a:lnTo>
                      <a:pt x="108" y="202"/>
                    </a:lnTo>
                    <a:lnTo>
                      <a:pt x="108"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50" name="Freeform 73">
                <a:extLst>
                  <a:ext uri="{FF2B5EF4-FFF2-40B4-BE49-F238E27FC236}">
                    <a16:creationId xmlns:a16="http://schemas.microsoft.com/office/drawing/2014/main" id="{CB741B7C-0091-453F-96B4-54C3CD8C4818}"/>
                  </a:ext>
                </a:extLst>
              </p:cNvPr>
              <p:cNvSpPr>
                <a:spLocks/>
              </p:cNvSpPr>
              <p:nvPr/>
            </p:nvSpPr>
            <p:spPr bwMode="auto">
              <a:xfrm>
                <a:off x="2403" y="1091"/>
                <a:ext cx="480" cy="238"/>
              </a:xfrm>
              <a:custGeom>
                <a:avLst/>
                <a:gdLst>
                  <a:gd name="T0" fmla="*/ 274 w 480"/>
                  <a:gd name="T1" fmla="*/ 0 h 238"/>
                  <a:gd name="T2" fmla="*/ 274 w 480"/>
                  <a:gd name="T3" fmla="*/ 0 h 238"/>
                  <a:gd name="T4" fmla="*/ 240 w 480"/>
                  <a:gd name="T5" fmla="*/ 0 h 238"/>
                  <a:gd name="T6" fmla="*/ 208 w 480"/>
                  <a:gd name="T7" fmla="*/ 6 h 238"/>
                  <a:gd name="T8" fmla="*/ 180 w 480"/>
                  <a:gd name="T9" fmla="*/ 14 h 238"/>
                  <a:gd name="T10" fmla="*/ 154 w 480"/>
                  <a:gd name="T11" fmla="*/ 24 h 238"/>
                  <a:gd name="T12" fmla="*/ 132 w 480"/>
                  <a:gd name="T13" fmla="*/ 40 h 238"/>
                  <a:gd name="T14" fmla="*/ 110 w 480"/>
                  <a:gd name="T15" fmla="*/ 58 h 238"/>
                  <a:gd name="T16" fmla="*/ 92 w 480"/>
                  <a:gd name="T17" fmla="*/ 76 h 238"/>
                  <a:gd name="T18" fmla="*/ 74 w 480"/>
                  <a:gd name="T19" fmla="*/ 100 h 238"/>
                  <a:gd name="T20" fmla="*/ 74 w 480"/>
                  <a:gd name="T21" fmla="*/ 100 h 238"/>
                  <a:gd name="T22" fmla="*/ 100 w 480"/>
                  <a:gd name="T23" fmla="*/ 92 h 238"/>
                  <a:gd name="T24" fmla="*/ 124 w 480"/>
                  <a:gd name="T25" fmla="*/ 86 h 238"/>
                  <a:gd name="T26" fmla="*/ 148 w 480"/>
                  <a:gd name="T27" fmla="*/ 82 h 238"/>
                  <a:gd name="T28" fmla="*/ 172 w 480"/>
                  <a:gd name="T29" fmla="*/ 80 h 238"/>
                  <a:gd name="T30" fmla="*/ 194 w 480"/>
                  <a:gd name="T31" fmla="*/ 80 h 238"/>
                  <a:gd name="T32" fmla="*/ 216 w 480"/>
                  <a:gd name="T33" fmla="*/ 80 h 238"/>
                  <a:gd name="T34" fmla="*/ 266 w 480"/>
                  <a:gd name="T35" fmla="*/ 86 h 238"/>
                  <a:gd name="T36" fmla="*/ 266 w 480"/>
                  <a:gd name="T37" fmla="*/ 86 h 238"/>
                  <a:gd name="T38" fmla="*/ 212 w 480"/>
                  <a:gd name="T39" fmla="*/ 86 h 238"/>
                  <a:gd name="T40" fmla="*/ 186 w 480"/>
                  <a:gd name="T41" fmla="*/ 86 h 238"/>
                  <a:gd name="T42" fmla="*/ 162 w 480"/>
                  <a:gd name="T43" fmla="*/ 88 h 238"/>
                  <a:gd name="T44" fmla="*/ 138 w 480"/>
                  <a:gd name="T45" fmla="*/ 92 h 238"/>
                  <a:gd name="T46" fmla="*/ 112 w 480"/>
                  <a:gd name="T47" fmla="*/ 100 h 238"/>
                  <a:gd name="T48" fmla="*/ 86 w 480"/>
                  <a:gd name="T49" fmla="*/ 112 h 238"/>
                  <a:gd name="T50" fmla="*/ 56 w 480"/>
                  <a:gd name="T51" fmla="*/ 130 h 238"/>
                  <a:gd name="T52" fmla="*/ 52 w 480"/>
                  <a:gd name="T53" fmla="*/ 134 h 238"/>
                  <a:gd name="T54" fmla="*/ 52 w 480"/>
                  <a:gd name="T55" fmla="*/ 134 h 238"/>
                  <a:gd name="T56" fmla="*/ 26 w 480"/>
                  <a:gd name="T57" fmla="*/ 176 h 238"/>
                  <a:gd name="T58" fmla="*/ 0 w 480"/>
                  <a:gd name="T59" fmla="*/ 222 h 238"/>
                  <a:gd name="T60" fmla="*/ 0 w 480"/>
                  <a:gd name="T61" fmla="*/ 222 h 238"/>
                  <a:gd name="T62" fmla="*/ 28 w 480"/>
                  <a:gd name="T63" fmla="*/ 228 h 238"/>
                  <a:gd name="T64" fmla="*/ 60 w 480"/>
                  <a:gd name="T65" fmla="*/ 234 h 238"/>
                  <a:gd name="T66" fmla="*/ 102 w 480"/>
                  <a:gd name="T67" fmla="*/ 238 h 238"/>
                  <a:gd name="T68" fmla="*/ 102 w 480"/>
                  <a:gd name="T69" fmla="*/ 238 h 238"/>
                  <a:gd name="T70" fmla="*/ 134 w 480"/>
                  <a:gd name="T71" fmla="*/ 236 h 238"/>
                  <a:gd name="T72" fmla="*/ 164 w 480"/>
                  <a:gd name="T73" fmla="*/ 234 h 238"/>
                  <a:gd name="T74" fmla="*/ 192 w 480"/>
                  <a:gd name="T75" fmla="*/ 228 h 238"/>
                  <a:gd name="T76" fmla="*/ 218 w 480"/>
                  <a:gd name="T77" fmla="*/ 218 h 238"/>
                  <a:gd name="T78" fmla="*/ 242 w 480"/>
                  <a:gd name="T79" fmla="*/ 206 h 238"/>
                  <a:gd name="T80" fmla="*/ 264 w 480"/>
                  <a:gd name="T81" fmla="*/ 192 h 238"/>
                  <a:gd name="T82" fmla="*/ 284 w 480"/>
                  <a:gd name="T83" fmla="*/ 178 h 238"/>
                  <a:gd name="T84" fmla="*/ 304 w 480"/>
                  <a:gd name="T85" fmla="*/ 160 h 238"/>
                  <a:gd name="T86" fmla="*/ 344 w 480"/>
                  <a:gd name="T87" fmla="*/ 124 h 238"/>
                  <a:gd name="T88" fmla="*/ 384 w 480"/>
                  <a:gd name="T89" fmla="*/ 84 h 238"/>
                  <a:gd name="T90" fmla="*/ 406 w 480"/>
                  <a:gd name="T91" fmla="*/ 66 h 238"/>
                  <a:gd name="T92" fmla="*/ 430 w 480"/>
                  <a:gd name="T93" fmla="*/ 46 h 238"/>
                  <a:gd name="T94" fmla="*/ 454 w 480"/>
                  <a:gd name="T95" fmla="*/ 28 h 238"/>
                  <a:gd name="T96" fmla="*/ 480 w 480"/>
                  <a:gd name="T97" fmla="*/ 10 h 238"/>
                  <a:gd name="T98" fmla="*/ 274 w 480"/>
                  <a:gd name="T99"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0" h="238">
                    <a:moveTo>
                      <a:pt x="274" y="0"/>
                    </a:moveTo>
                    <a:lnTo>
                      <a:pt x="274" y="0"/>
                    </a:lnTo>
                    <a:lnTo>
                      <a:pt x="240" y="0"/>
                    </a:lnTo>
                    <a:lnTo>
                      <a:pt x="208" y="6"/>
                    </a:lnTo>
                    <a:lnTo>
                      <a:pt x="180" y="14"/>
                    </a:lnTo>
                    <a:lnTo>
                      <a:pt x="154" y="24"/>
                    </a:lnTo>
                    <a:lnTo>
                      <a:pt x="132" y="40"/>
                    </a:lnTo>
                    <a:lnTo>
                      <a:pt x="110" y="58"/>
                    </a:lnTo>
                    <a:lnTo>
                      <a:pt x="92" y="76"/>
                    </a:lnTo>
                    <a:lnTo>
                      <a:pt x="74" y="100"/>
                    </a:lnTo>
                    <a:lnTo>
                      <a:pt x="74" y="100"/>
                    </a:lnTo>
                    <a:lnTo>
                      <a:pt x="100" y="92"/>
                    </a:lnTo>
                    <a:lnTo>
                      <a:pt x="124" y="86"/>
                    </a:lnTo>
                    <a:lnTo>
                      <a:pt x="148" y="82"/>
                    </a:lnTo>
                    <a:lnTo>
                      <a:pt x="172" y="80"/>
                    </a:lnTo>
                    <a:lnTo>
                      <a:pt x="194" y="80"/>
                    </a:lnTo>
                    <a:lnTo>
                      <a:pt x="216" y="80"/>
                    </a:lnTo>
                    <a:lnTo>
                      <a:pt x="266" y="86"/>
                    </a:lnTo>
                    <a:lnTo>
                      <a:pt x="266" y="86"/>
                    </a:lnTo>
                    <a:lnTo>
                      <a:pt x="212" y="86"/>
                    </a:lnTo>
                    <a:lnTo>
                      <a:pt x="186" y="86"/>
                    </a:lnTo>
                    <a:lnTo>
                      <a:pt x="162" y="88"/>
                    </a:lnTo>
                    <a:lnTo>
                      <a:pt x="138" y="92"/>
                    </a:lnTo>
                    <a:lnTo>
                      <a:pt x="112" y="100"/>
                    </a:lnTo>
                    <a:lnTo>
                      <a:pt x="86" y="112"/>
                    </a:lnTo>
                    <a:lnTo>
                      <a:pt x="56" y="130"/>
                    </a:lnTo>
                    <a:lnTo>
                      <a:pt x="52" y="134"/>
                    </a:lnTo>
                    <a:lnTo>
                      <a:pt x="52" y="134"/>
                    </a:lnTo>
                    <a:lnTo>
                      <a:pt x="26" y="176"/>
                    </a:lnTo>
                    <a:lnTo>
                      <a:pt x="0" y="222"/>
                    </a:lnTo>
                    <a:lnTo>
                      <a:pt x="0" y="222"/>
                    </a:lnTo>
                    <a:lnTo>
                      <a:pt x="28" y="228"/>
                    </a:lnTo>
                    <a:lnTo>
                      <a:pt x="60" y="234"/>
                    </a:lnTo>
                    <a:lnTo>
                      <a:pt x="102" y="238"/>
                    </a:lnTo>
                    <a:lnTo>
                      <a:pt x="102" y="238"/>
                    </a:lnTo>
                    <a:lnTo>
                      <a:pt x="134" y="236"/>
                    </a:lnTo>
                    <a:lnTo>
                      <a:pt x="164" y="234"/>
                    </a:lnTo>
                    <a:lnTo>
                      <a:pt x="192" y="228"/>
                    </a:lnTo>
                    <a:lnTo>
                      <a:pt x="218" y="218"/>
                    </a:lnTo>
                    <a:lnTo>
                      <a:pt x="242" y="206"/>
                    </a:lnTo>
                    <a:lnTo>
                      <a:pt x="264" y="192"/>
                    </a:lnTo>
                    <a:lnTo>
                      <a:pt x="284" y="178"/>
                    </a:lnTo>
                    <a:lnTo>
                      <a:pt x="304" y="160"/>
                    </a:lnTo>
                    <a:lnTo>
                      <a:pt x="344" y="124"/>
                    </a:lnTo>
                    <a:lnTo>
                      <a:pt x="384" y="84"/>
                    </a:lnTo>
                    <a:lnTo>
                      <a:pt x="406" y="66"/>
                    </a:lnTo>
                    <a:lnTo>
                      <a:pt x="430" y="46"/>
                    </a:lnTo>
                    <a:lnTo>
                      <a:pt x="454" y="28"/>
                    </a:lnTo>
                    <a:lnTo>
                      <a:pt x="480" y="10"/>
                    </a:lnTo>
                    <a:lnTo>
                      <a:pt x="2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51" name="Freeform 74">
                <a:extLst>
                  <a:ext uri="{FF2B5EF4-FFF2-40B4-BE49-F238E27FC236}">
                    <a16:creationId xmlns:a16="http://schemas.microsoft.com/office/drawing/2014/main" id="{78786AAD-99E7-4264-9822-DF5BB852E33D}"/>
                  </a:ext>
                </a:extLst>
              </p:cNvPr>
              <p:cNvSpPr>
                <a:spLocks/>
              </p:cNvSpPr>
              <p:nvPr/>
            </p:nvSpPr>
            <p:spPr bwMode="auto">
              <a:xfrm>
                <a:off x="2305" y="749"/>
                <a:ext cx="212" cy="516"/>
              </a:xfrm>
              <a:custGeom>
                <a:avLst/>
                <a:gdLst>
                  <a:gd name="T0" fmla="*/ 48 w 212"/>
                  <a:gd name="T1" fmla="*/ 516 h 516"/>
                  <a:gd name="T2" fmla="*/ 48 w 212"/>
                  <a:gd name="T3" fmla="*/ 516 h 516"/>
                  <a:gd name="T4" fmla="*/ 100 w 212"/>
                  <a:gd name="T5" fmla="*/ 466 h 516"/>
                  <a:gd name="T6" fmla="*/ 100 w 212"/>
                  <a:gd name="T7" fmla="*/ 466 h 516"/>
                  <a:gd name="T8" fmla="*/ 110 w 212"/>
                  <a:gd name="T9" fmla="*/ 446 h 516"/>
                  <a:gd name="T10" fmla="*/ 110 w 212"/>
                  <a:gd name="T11" fmla="*/ 446 h 516"/>
                  <a:gd name="T12" fmla="*/ 124 w 212"/>
                  <a:gd name="T13" fmla="*/ 410 h 516"/>
                  <a:gd name="T14" fmla="*/ 132 w 212"/>
                  <a:gd name="T15" fmla="*/ 376 h 516"/>
                  <a:gd name="T16" fmla="*/ 138 w 212"/>
                  <a:gd name="T17" fmla="*/ 346 h 516"/>
                  <a:gd name="T18" fmla="*/ 140 w 212"/>
                  <a:gd name="T19" fmla="*/ 316 h 516"/>
                  <a:gd name="T20" fmla="*/ 140 w 212"/>
                  <a:gd name="T21" fmla="*/ 286 h 516"/>
                  <a:gd name="T22" fmla="*/ 140 w 212"/>
                  <a:gd name="T23" fmla="*/ 256 h 516"/>
                  <a:gd name="T24" fmla="*/ 138 w 212"/>
                  <a:gd name="T25" fmla="*/ 190 h 516"/>
                  <a:gd name="T26" fmla="*/ 138 w 212"/>
                  <a:gd name="T27" fmla="*/ 190 h 516"/>
                  <a:gd name="T28" fmla="*/ 144 w 212"/>
                  <a:gd name="T29" fmla="*/ 252 h 516"/>
                  <a:gd name="T30" fmla="*/ 146 w 212"/>
                  <a:gd name="T31" fmla="*/ 280 h 516"/>
                  <a:gd name="T32" fmla="*/ 146 w 212"/>
                  <a:gd name="T33" fmla="*/ 310 h 516"/>
                  <a:gd name="T34" fmla="*/ 146 w 212"/>
                  <a:gd name="T35" fmla="*/ 338 h 516"/>
                  <a:gd name="T36" fmla="*/ 144 w 212"/>
                  <a:gd name="T37" fmla="*/ 370 h 516"/>
                  <a:gd name="T38" fmla="*/ 138 w 212"/>
                  <a:gd name="T39" fmla="*/ 402 h 516"/>
                  <a:gd name="T40" fmla="*/ 132 w 212"/>
                  <a:gd name="T41" fmla="*/ 436 h 516"/>
                  <a:gd name="T42" fmla="*/ 132 w 212"/>
                  <a:gd name="T43" fmla="*/ 436 h 516"/>
                  <a:gd name="T44" fmla="*/ 154 w 212"/>
                  <a:gd name="T45" fmla="*/ 412 h 516"/>
                  <a:gd name="T46" fmla="*/ 174 w 212"/>
                  <a:gd name="T47" fmla="*/ 386 h 516"/>
                  <a:gd name="T48" fmla="*/ 190 w 212"/>
                  <a:gd name="T49" fmla="*/ 360 h 516"/>
                  <a:gd name="T50" fmla="*/ 202 w 212"/>
                  <a:gd name="T51" fmla="*/ 332 h 516"/>
                  <a:gd name="T52" fmla="*/ 206 w 212"/>
                  <a:gd name="T53" fmla="*/ 318 h 516"/>
                  <a:gd name="T54" fmla="*/ 210 w 212"/>
                  <a:gd name="T55" fmla="*/ 302 h 516"/>
                  <a:gd name="T56" fmla="*/ 212 w 212"/>
                  <a:gd name="T57" fmla="*/ 288 h 516"/>
                  <a:gd name="T58" fmla="*/ 212 w 212"/>
                  <a:gd name="T59" fmla="*/ 270 h 516"/>
                  <a:gd name="T60" fmla="*/ 212 w 212"/>
                  <a:gd name="T61" fmla="*/ 254 h 516"/>
                  <a:gd name="T62" fmla="*/ 210 w 212"/>
                  <a:gd name="T63" fmla="*/ 236 h 516"/>
                  <a:gd name="T64" fmla="*/ 206 w 212"/>
                  <a:gd name="T65" fmla="*/ 218 h 516"/>
                  <a:gd name="T66" fmla="*/ 202 w 212"/>
                  <a:gd name="T67" fmla="*/ 198 h 516"/>
                  <a:gd name="T68" fmla="*/ 146 w 212"/>
                  <a:gd name="T69" fmla="*/ 0 h 516"/>
                  <a:gd name="T70" fmla="*/ 146 w 212"/>
                  <a:gd name="T71" fmla="*/ 0 h 516"/>
                  <a:gd name="T72" fmla="*/ 134 w 212"/>
                  <a:gd name="T73" fmla="*/ 30 h 516"/>
                  <a:gd name="T74" fmla="*/ 122 w 212"/>
                  <a:gd name="T75" fmla="*/ 58 h 516"/>
                  <a:gd name="T76" fmla="*/ 110 w 212"/>
                  <a:gd name="T77" fmla="*/ 84 h 516"/>
                  <a:gd name="T78" fmla="*/ 96 w 212"/>
                  <a:gd name="T79" fmla="*/ 110 h 516"/>
                  <a:gd name="T80" fmla="*/ 66 w 212"/>
                  <a:gd name="T81" fmla="*/ 158 h 516"/>
                  <a:gd name="T82" fmla="*/ 40 w 212"/>
                  <a:gd name="T83" fmla="*/ 204 h 516"/>
                  <a:gd name="T84" fmla="*/ 28 w 212"/>
                  <a:gd name="T85" fmla="*/ 228 h 516"/>
                  <a:gd name="T86" fmla="*/ 18 w 212"/>
                  <a:gd name="T87" fmla="*/ 252 h 516"/>
                  <a:gd name="T88" fmla="*/ 8 w 212"/>
                  <a:gd name="T89" fmla="*/ 276 h 516"/>
                  <a:gd name="T90" fmla="*/ 2 w 212"/>
                  <a:gd name="T91" fmla="*/ 302 h 516"/>
                  <a:gd name="T92" fmla="*/ 0 w 212"/>
                  <a:gd name="T93" fmla="*/ 330 h 516"/>
                  <a:gd name="T94" fmla="*/ 0 w 212"/>
                  <a:gd name="T95" fmla="*/ 358 h 516"/>
                  <a:gd name="T96" fmla="*/ 4 w 212"/>
                  <a:gd name="T97" fmla="*/ 388 h 516"/>
                  <a:gd name="T98" fmla="*/ 10 w 212"/>
                  <a:gd name="T99" fmla="*/ 420 h 516"/>
                  <a:gd name="T100" fmla="*/ 10 w 212"/>
                  <a:gd name="T101" fmla="*/ 420 h 516"/>
                  <a:gd name="T102" fmla="*/ 24 w 212"/>
                  <a:gd name="T103" fmla="*/ 460 h 516"/>
                  <a:gd name="T104" fmla="*/ 36 w 212"/>
                  <a:gd name="T105" fmla="*/ 490 h 516"/>
                  <a:gd name="T106" fmla="*/ 48 w 212"/>
                  <a:gd name="T107" fmla="*/ 516 h 516"/>
                  <a:gd name="T108" fmla="*/ 48 w 212"/>
                  <a:gd name="T109" fmla="*/ 516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2" h="516">
                    <a:moveTo>
                      <a:pt x="48" y="516"/>
                    </a:moveTo>
                    <a:lnTo>
                      <a:pt x="48" y="516"/>
                    </a:lnTo>
                    <a:lnTo>
                      <a:pt x="100" y="466"/>
                    </a:lnTo>
                    <a:lnTo>
                      <a:pt x="100" y="466"/>
                    </a:lnTo>
                    <a:lnTo>
                      <a:pt x="110" y="446"/>
                    </a:lnTo>
                    <a:lnTo>
                      <a:pt x="110" y="446"/>
                    </a:lnTo>
                    <a:lnTo>
                      <a:pt x="124" y="410"/>
                    </a:lnTo>
                    <a:lnTo>
                      <a:pt x="132" y="376"/>
                    </a:lnTo>
                    <a:lnTo>
                      <a:pt x="138" y="346"/>
                    </a:lnTo>
                    <a:lnTo>
                      <a:pt x="140" y="316"/>
                    </a:lnTo>
                    <a:lnTo>
                      <a:pt x="140" y="286"/>
                    </a:lnTo>
                    <a:lnTo>
                      <a:pt x="140" y="256"/>
                    </a:lnTo>
                    <a:lnTo>
                      <a:pt x="138" y="190"/>
                    </a:lnTo>
                    <a:lnTo>
                      <a:pt x="138" y="190"/>
                    </a:lnTo>
                    <a:lnTo>
                      <a:pt x="144" y="252"/>
                    </a:lnTo>
                    <a:lnTo>
                      <a:pt x="146" y="280"/>
                    </a:lnTo>
                    <a:lnTo>
                      <a:pt x="146" y="310"/>
                    </a:lnTo>
                    <a:lnTo>
                      <a:pt x="146" y="338"/>
                    </a:lnTo>
                    <a:lnTo>
                      <a:pt x="144" y="370"/>
                    </a:lnTo>
                    <a:lnTo>
                      <a:pt x="138" y="402"/>
                    </a:lnTo>
                    <a:lnTo>
                      <a:pt x="132" y="436"/>
                    </a:lnTo>
                    <a:lnTo>
                      <a:pt x="132" y="436"/>
                    </a:lnTo>
                    <a:lnTo>
                      <a:pt x="154" y="412"/>
                    </a:lnTo>
                    <a:lnTo>
                      <a:pt x="174" y="386"/>
                    </a:lnTo>
                    <a:lnTo>
                      <a:pt x="190" y="360"/>
                    </a:lnTo>
                    <a:lnTo>
                      <a:pt x="202" y="332"/>
                    </a:lnTo>
                    <a:lnTo>
                      <a:pt x="206" y="318"/>
                    </a:lnTo>
                    <a:lnTo>
                      <a:pt x="210" y="302"/>
                    </a:lnTo>
                    <a:lnTo>
                      <a:pt x="212" y="288"/>
                    </a:lnTo>
                    <a:lnTo>
                      <a:pt x="212" y="270"/>
                    </a:lnTo>
                    <a:lnTo>
                      <a:pt x="212" y="254"/>
                    </a:lnTo>
                    <a:lnTo>
                      <a:pt x="210" y="236"/>
                    </a:lnTo>
                    <a:lnTo>
                      <a:pt x="206" y="218"/>
                    </a:lnTo>
                    <a:lnTo>
                      <a:pt x="202" y="198"/>
                    </a:lnTo>
                    <a:lnTo>
                      <a:pt x="146" y="0"/>
                    </a:lnTo>
                    <a:lnTo>
                      <a:pt x="146" y="0"/>
                    </a:lnTo>
                    <a:lnTo>
                      <a:pt x="134" y="30"/>
                    </a:lnTo>
                    <a:lnTo>
                      <a:pt x="122" y="58"/>
                    </a:lnTo>
                    <a:lnTo>
                      <a:pt x="110" y="84"/>
                    </a:lnTo>
                    <a:lnTo>
                      <a:pt x="96" y="110"/>
                    </a:lnTo>
                    <a:lnTo>
                      <a:pt x="66" y="158"/>
                    </a:lnTo>
                    <a:lnTo>
                      <a:pt x="40" y="204"/>
                    </a:lnTo>
                    <a:lnTo>
                      <a:pt x="28" y="228"/>
                    </a:lnTo>
                    <a:lnTo>
                      <a:pt x="18" y="252"/>
                    </a:lnTo>
                    <a:lnTo>
                      <a:pt x="8" y="276"/>
                    </a:lnTo>
                    <a:lnTo>
                      <a:pt x="2" y="302"/>
                    </a:lnTo>
                    <a:lnTo>
                      <a:pt x="0" y="330"/>
                    </a:lnTo>
                    <a:lnTo>
                      <a:pt x="0" y="358"/>
                    </a:lnTo>
                    <a:lnTo>
                      <a:pt x="4" y="388"/>
                    </a:lnTo>
                    <a:lnTo>
                      <a:pt x="10" y="420"/>
                    </a:lnTo>
                    <a:lnTo>
                      <a:pt x="10" y="420"/>
                    </a:lnTo>
                    <a:lnTo>
                      <a:pt x="24" y="460"/>
                    </a:lnTo>
                    <a:lnTo>
                      <a:pt x="36" y="490"/>
                    </a:lnTo>
                    <a:lnTo>
                      <a:pt x="48" y="516"/>
                    </a:lnTo>
                    <a:lnTo>
                      <a:pt x="48" y="5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52" name="Freeform 75">
                <a:extLst>
                  <a:ext uri="{FF2B5EF4-FFF2-40B4-BE49-F238E27FC236}">
                    <a16:creationId xmlns:a16="http://schemas.microsoft.com/office/drawing/2014/main" id="{03678C9E-6208-420E-BA98-9B2174590274}"/>
                  </a:ext>
                </a:extLst>
              </p:cNvPr>
              <p:cNvSpPr>
                <a:spLocks/>
              </p:cNvSpPr>
              <p:nvPr/>
            </p:nvSpPr>
            <p:spPr bwMode="auto">
              <a:xfrm>
                <a:off x="4500" y="555"/>
                <a:ext cx="397" cy="240"/>
              </a:xfrm>
              <a:custGeom>
                <a:avLst/>
                <a:gdLst>
                  <a:gd name="T0" fmla="*/ 303 w 397"/>
                  <a:gd name="T1" fmla="*/ 240 h 240"/>
                  <a:gd name="T2" fmla="*/ 303 w 397"/>
                  <a:gd name="T3" fmla="*/ 240 h 240"/>
                  <a:gd name="T4" fmla="*/ 255 w 397"/>
                  <a:gd name="T5" fmla="*/ 208 h 240"/>
                  <a:gd name="T6" fmla="*/ 232 w 397"/>
                  <a:gd name="T7" fmla="*/ 192 h 240"/>
                  <a:gd name="T8" fmla="*/ 214 w 397"/>
                  <a:gd name="T9" fmla="*/ 176 h 240"/>
                  <a:gd name="T10" fmla="*/ 196 w 397"/>
                  <a:gd name="T11" fmla="*/ 158 h 240"/>
                  <a:gd name="T12" fmla="*/ 178 w 397"/>
                  <a:gd name="T13" fmla="*/ 140 h 240"/>
                  <a:gd name="T14" fmla="*/ 144 w 397"/>
                  <a:gd name="T15" fmla="*/ 100 h 240"/>
                  <a:gd name="T16" fmla="*/ 144 w 397"/>
                  <a:gd name="T17" fmla="*/ 100 h 240"/>
                  <a:gd name="T18" fmla="*/ 182 w 397"/>
                  <a:gd name="T19" fmla="*/ 138 h 240"/>
                  <a:gd name="T20" fmla="*/ 200 w 397"/>
                  <a:gd name="T21" fmla="*/ 156 h 240"/>
                  <a:gd name="T22" fmla="*/ 218 w 397"/>
                  <a:gd name="T23" fmla="*/ 172 h 240"/>
                  <a:gd name="T24" fmla="*/ 238 w 397"/>
                  <a:gd name="T25" fmla="*/ 188 h 240"/>
                  <a:gd name="T26" fmla="*/ 261 w 397"/>
                  <a:gd name="T27" fmla="*/ 202 h 240"/>
                  <a:gd name="T28" fmla="*/ 287 w 397"/>
                  <a:gd name="T29" fmla="*/ 216 h 240"/>
                  <a:gd name="T30" fmla="*/ 317 w 397"/>
                  <a:gd name="T31" fmla="*/ 228 h 240"/>
                  <a:gd name="T32" fmla="*/ 317 w 397"/>
                  <a:gd name="T33" fmla="*/ 228 h 240"/>
                  <a:gd name="T34" fmla="*/ 333 w 397"/>
                  <a:gd name="T35" fmla="*/ 234 h 240"/>
                  <a:gd name="T36" fmla="*/ 347 w 397"/>
                  <a:gd name="T37" fmla="*/ 238 h 240"/>
                  <a:gd name="T38" fmla="*/ 347 w 397"/>
                  <a:gd name="T39" fmla="*/ 238 h 240"/>
                  <a:gd name="T40" fmla="*/ 397 w 397"/>
                  <a:gd name="T41" fmla="*/ 234 h 240"/>
                  <a:gd name="T42" fmla="*/ 397 w 397"/>
                  <a:gd name="T43" fmla="*/ 234 h 240"/>
                  <a:gd name="T44" fmla="*/ 387 w 397"/>
                  <a:gd name="T45" fmla="*/ 212 h 240"/>
                  <a:gd name="T46" fmla="*/ 375 w 397"/>
                  <a:gd name="T47" fmla="*/ 186 h 240"/>
                  <a:gd name="T48" fmla="*/ 355 w 397"/>
                  <a:gd name="T49" fmla="*/ 156 h 240"/>
                  <a:gd name="T50" fmla="*/ 355 w 397"/>
                  <a:gd name="T51" fmla="*/ 156 h 240"/>
                  <a:gd name="T52" fmla="*/ 339 w 397"/>
                  <a:gd name="T53" fmla="*/ 134 h 240"/>
                  <a:gd name="T54" fmla="*/ 321 w 397"/>
                  <a:gd name="T55" fmla="*/ 114 h 240"/>
                  <a:gd name="T56" fmla="*/ 303 w 397"/>
                  <a:gd name="T57" fmla="*/ 98 h 240"/>
                  <a:gd name="T58" fmla="*/ 285 w 397"/>
                  <a:gd name="T59" fmla="*/ 86 h 240"/>
                  <a:gd name="T60" fmla="*/ 263 w 397"/>
                  <a:gd name="T61" fmla="*/ 74 h 240"/>
                  <a:gd name="T62" fmla="*/ 242 w 397"/>
                  <a:gd name="T63" fmla="*/ 66 h 240"/>
                  <a:gd name="T64" fmla="*/ 220 w 397"/>
                  <a:gd name="T65" fmla="*/ 58 h 240"/>
                  <a:gd name="T66" fmla="*/ 198 w 397"/>
                  <a:gd name="T67" fmla="*/ 52 h 240"/>
                  <a:gd name="T68" fmla="*/ 152 w 397"/>
                  <a:gd name="T69" fmla="*/ 42 h 240"/>
                  <a:gd name="T70" fmla="*/ 102 w 397"/>
                  <a:gd name="T71" fmla="*/ 32 h 240"/>
                  <a:gd name="T72" fmla="*/ 52 w 397"/>
                  <a:gd name="T73" fmla="*/ 20 h 240"/>
                  <a:gd name="T74" fmla="*/ 26 w 397"/>
                  <a:gd name="T75" fmla="*/ 12 h 240"/>
                  <a:gd name="T76" fmla="*/ 0 w 397"/>
                  <a:gd name="T77" fmla="*/ 0 h 240"/>
                  <a:gd name="T78" fmla="*/ 96 w 397"/>
                  <a:gd name="T79" fmla="*/ 146 h 240"/>
                  <a:gd name="T80" fmla="*/ 96 w 397"/>
                  <a:gd name="T81" fmla="*/ 146 h 240"/>
                  <a:gd name="T82" fmla="*/ 106 w 397"/>
                  <a:gd name="T83" fmla="*/ 162 h 240"/>
                  <a:gd name="T84" fmla="*/ 118 w 397"/>
                  <a:gd name="T85" fmla="*/ 174 h 240"/>
                  <a:gd name="T86" fmla="*/ 128 w 397"/>
                  <a:gd name="T87" fmla="*/ 186 h 240"/>
                  <a:gd name="T88" fmla="*/ 140 w 397"/>
                  <a:gd name="T89" fmla="*/ 196 h 240"/>
                  <a:gd name="T90" fmla="*/ 152 w 397"/>
                  <a:gd name="T91" fmla="*/ 206 h 240"/>
                  <a:gd name="T92" fmla="*/ 164 w 397"/>
                  <a:gd name="T93" fmla="*/ 212 h 240"/>
                  <a:gd name="T94" fmla="*/ 188 w 397"/>
                  <a:gd name="T95" fmla="*/ 224 h 240"/>
                  <a:gd name="T96" fmla="*/ 216 w 397"/>
                  <a:gd name="T97" fmla="*/ 232 h 240"/>
                  <a:gd name="T98" fmla="*/ 244 w 397"/>
                  <a:gd name="T99" fmla="*/ 238 h 240"/>
                  <a:gd name="T100" fmla="*/ 273 w 397"/>
                  <a:gd name="T101" fmla="*/ 240 h 240"/>
                  <a:gd name="T102" fmla="*/ 303 w 397"/>
                  <a:gd name="T103" fmla="*/ 240 h 240"/>
                  <a:gd name="T104" fmla="*/ 303 w 397"/>
                  <a:gd name="T10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7" h="240">
                    <a:moveTo>
                      <a:pt x="303" y="240"/>
                    </a:moveTo>
                    <a:lnTo>
                      <a:pt x="303" y="240"/>
                    </a:lnTo>
                    <a:lnTo>
                      <a:pt x="255" y="208"/>
                    </a:lnTo>
                    <a:lnTo>
                      <a:pt x="232" y="192"/>
                    </a:lnTo>
                    <a:lnTo>
                      <a:pt x="214" y="176"/>
                    </a:lnTo>
                    <a:lnTo>
                      <a:pt x="196" y="158"/>
                    </a:lnTo>
                    <a:lnTo>
                      <a:pt x="178" y="140"/>
                    </a:lnTo>
                    <a:lnTo>
                      <a:pt x="144" y="100"/>
                    </a:lnTo>
                    <a:lnTo>
                      <a:pt x="144" y="100"/>
                    </a:lnTo>
                    <a:lnTo>
                      <a:pt x="182" y="138"/>
                    </a:lnTo>
                    <a:lnTo>
                      <a:pt x="200" y="156"/>
                    </a:lnTo>
                    <a:lnTo>
                      <a:pt x="218" y="172"/>
                    </a:lnTo>
                    <a:lnTo>
                      <a:pt x="238" y="188"/>
                    </a:lnTo>
                    <a:lnTo>
                      <a:pt x="261" y="202"/>
                    </a:lnTo>
                    <a:lnTo>
                      <a:pt x="287" y="216"/>
                    </a:lnTo>
                    <a:lnTo>
                      <a:pt x="317" y="228"/>
                    </a:lnTo>
                    <a:lnTo>
                      <a:pt x="317" y="228"/>
                    </a:lnTo>
                    <a:lnTo>
                      <a:pt x="333" y="234"/>
                    </a:lnTo>
                    <a:lnTo>
                      <a:pt x="347" y="238"/>
                    </a:lnTo>
                    <a:lnTo>
                      <a:pt x="347" y="238"/>
                    </a:lnTo>
                    <a:lnTo>
                      <a:pt x="397" y="234"/>
                    </a:lnTo>
                    <a:lnTo>
                      <a:pt x="397" y="234"/>
                    </a:lnTo>
                    <a:lnTo>
                      <a:pt x="387" y="212"/>
                    </a:lnTo>
                    <a:lnTo>
                      <a:pt x="375" y="186"/>
                    </a:lnTo>
                    <a:lnTo>
                      <a:pt x="355" y="156"/>
                    </a:lnTo>
                    <a:lnTo>
                      <a:pt x="355" y="156"/>
                    </a:lnTo>
                    <a:lnTo>
                      <a:pt x="339" y="134"/>
                    </a:lnTo>
                    <a:lnTo>
                      <a:pt x="321" y="114"/>
                    </a:lnTo>
                    <a:lnTo>
                      <a:pt x="303" y="98"/>
                    </a:lnTo>
                    <a:lnTo>
                      <a:pt x="285" y="86"/>
                    </a:lnTo>
                    <a:lnTo>
                      <a:pt x="263" y="74"/>
                    </a:lnTo>
                    <a:lnTo>
                      <a:pt x="242" y="66"/>
                    </a:lnTo>
                    <a:lnTo>
                      <a:pt x="220" y="58"/>
                    </a:lnTo>
                    <a:lnTo>
                      <a:pt x="198" y="52"/>
                    </a:lnTo>
                    <a:lnTo>
                      <a:pt x="152" y="42"/>
                    </a:lnTo>
                    <a:lnTo>
                      <a:pt x="102" y="32"/>
                    </a:lnTo>
                    <a:lnTo>
                      <a:pt x="52" y="20"/>
                    </a:lnTo>
                    <a:lnTo>
                      <a:pt x="26" y="12"/>
                    </a:lnTo>
                    <a:lnTo>
                      <a:pt x="0" y="0"/>
                    </a:lnTo>
                    <a:lnTo>
                      <a:pt x="96" y="146"/>
                    </a:lnTo>
                    <a:lnTo>
                      <a:pt x="96" y="146"/>
                    </a:lnTo>
                    <a:lnTo>
                      <a:pt x="106" y="162"/>
                    </a:lnTo>
                    <a:lnTo>
                      <a:pt x="118" y="174"/>
                    </a:lnTo>
                    <a:lnTo>
                      <a:pt x="128" y="186"/>
                    </a:lnTo>
                    <a:lnTo>
                      <a:pt x="140" y="196"/>
                    </a:lnTo>
                    <a:lnTo>
                      <a:pt x="152" y="206"/>
                    </a:lnTo>
                    <a:lnTo>
                      <a:pt x="164" y="212"/>
                    </a:lnTo>
                    <a:lnTo>
                      <a:pt x="188" y="224"/>
                    </a:lnTo>
                    <a:lnTo>
                      <a:pt x="216" y="232"/>
                    </a:lnTo>
                    <a:lnTo>
                      <a:pt x="244" y="238"/>
                    </a:lnTo>
                    <a:lnTo>
                      <a:pt x="273" y="240"/>
                    </a:lnTo>
                    <a:lnTo>
                      <a:pt x="303" y="240"/>
                    </a:lnTo>
                    <a:lnTo>
                      <a:pt x="30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53" name="Freeform 76">
                <a:extLst>
                  <a:ext uri="{FF2B5EF4-FFF2-40B4-BE49-F238E27FC236}">
                    <a16:creationId xmlns:a16="http://schemas.microsoft.com/office/drawing/2014/main" id="{3DD1E5A1-7B9F-4731-A1F3-7BABA0AE243F}"/>
                  </a:ext>
                </a:extLst>
              </p:cNvPr>
              <p:cNvSpPr>
                <a:spLocks/>
              </p:cNvSpPr>
              <p:nvPr/>
            </p:nvSpPr>
            <p:spPr bwMode="auto">
              <a:xfrm>
                <a:off x="4630" y="825"/>
                <a:ext cx="429" cy="176"/>
              </a:xfrm>
              <a:custGeom>
                <a:avLst/>
                <a:gdLst>
                  <a:gd name="T0" fmla="*/ 345 w 429"/>
                  <a:gd name="T1" fmla="*/ 50 h 176"/>
                  <a:gd name="T2" fmla="*/ 345 w 429"/>
                  <a:gd name="T3" fmla="*/ 50 h 176"/>
                  <a:gd name="T4" fmla="*/ 327 w 429"/>
                  <a:gd name="T5" fmla="*/ 36 h 176"/>
                  <a:gd name="T6" fmla="*/ 307 w 429"/>
                  <a:gd name="T7" fmla="*/ 24 h 176"/>
                  <a:gd name="T8" fmla="*/ 287 w 429"/>
                  <a:gd name="T9" fmla="*/ 14 h 176"/>
                  <a:gd name="T10" fmla="*/ 265 w 429"/>
                  <a:gd name="T11" fmla="*/ 6 h 176"/>
                  <a:gd name="T12" fmla="*/ 243 w 429"/>
                  <a:gd name="T13" fmla="*/ 2 h 176"/>
                  <a:gd name="T14" fmla="*/ 219 w 429"/>
                  <a:gd name="T15" fmla="*/ 0 h 176"/>
                  <a:gd name="T16" fmla="*/ 193 w 429"/>
                  <a:gd name="T17" fmla="*/ 2 h 176"/>
                  <a:gd name="T18" fmla="*/ 163 w 429"/>
                  <a:gd name="T19" fmla="*/ 10 h 176"/>
                  <a:gd name="T20" fmla="*/ 0 w 429"/>
                  <a:gd name="T21" fmla="*/ 56 h 176"/>
                  <a:gd name="T22" fmla="*/ 0 w 429"/>
                  <a:gd name="T23" fmla="*/ 56 h 176"/>
                  <a:gd name="T24" fmla="*/ 24 w 429"/>
                  <a:gd name="T25" fmla="*/ 66 h 176"/>
                  <a:gd name="T26" fmla="*/ 48 w 429"/>
                  <a:gd name="T27" fmla="*/ 76 h 176"/>
                  <a:gd name="T28" fmla="*/ 90 w 429"/>
                  <a:gd name="T29" fmla="*/ 98 h 176"/>
                  <a:gd name="T30" fmla="*/ 131 w 429"/>
                  <a:gd name="T31" fmla="*/ 122 h 176"/>
                  <a:gd name="T32" fmla="*/ 171 w 429"/>
                  <a:gd name="T33" fmla="*/ 144 h 176"/>
                  <a:gd name="T34" fmla="*/ 189 w 429"/>
                  <a:gd name="T35" fmla="*/ 154 h 176"/>
                  <a:gd name="T36" fmla="*/ 209 w 429"/>
                  <a:gd name="T37" fmla="*/ 162 h 176"/>
                  <a:gd name="T38" fmla="*/ 231 w 429"/>
                  <a:gd name="T39" fmla="*/ 170 h 176"/>
                  <a:gd name="T40" fmla="*/ 251 w 429"/>
                  <a:gd name="T41" fmla="*/ 174 h 176"/>
                  <a:gd name="T42" fmla="*/ 273 w 429"/>
                  <a:gd name="T43" fmla="*/ 176 h 176"/>
                  <a:gd name="T44" fmla="*/ 297 w 429"/>
                  <a:gd name="T45" fmla="*/ 176 h 176"/>
                  <a:gd name="T46" fmla="*/ 323 w 429"/>
                  <a:gd name="T47" fmla="*/ 174 h 176"/>
                  <a:gd name="T48" fmla="*/ 349 w 429"/>
                  <a:gd name="T49" fmla="*/ 168 h 176"/>
                  <a:gd name="T50" fmla="*/ 349 w 429"/>
                  <a:gd name="T51" fmla="*/ 168 h 176"/>
                  <a:gd name="T52" fmla="*/ 383 w 429"/>
                  <a:gd name="T53" fmla="*/ 156 h 176"/>
                  <a:gd name="T54" fmla="*/ 407 w 429"/>
                  <a:gd name="T55" fmla="*/ 146 h 176"/>
                  <a:gd name="T56" fmla="*/ 429 w 429"/>
                  <a:gd name="T57" fmla="*/ 136 h 176"/>
                  <a:gd name="T58" fmla="*/ 429 w 429"/>
                  <a:gd name="T59" fmla="*/ 136 h 176"/>
                  <a:gd name="T60" fmla="*/ 399 w 429"/>
                  <a:gd name="T61" fmla="*/ 104 h 176"/>
                  <a:gd name="T62" fmla="*/ 371 w 429"/>
                  <a:gd name="T63" fmla="*/ 74 h 176"/>
                  <a:gd name="T64" fmla="*/ 365 w 429"/>
                  <a:gd name="T65" fmla="*/ 72 h 176"/>
                  <a:gd name="T66" fmla="*/ 365 w 429"/>
                  <a:gd name="T67" fmla="*/ 72 h 176"/>
                  <a:gd name="T68" fmla="*/ 339 w 429"/>
                  <a:gd name="T69" fmla="*/ 64 h 176"/>
                  <a:gd name="T70" fmla="*/ 313 w 429"/>
                  <a:gd name="T71" fmla="*/ 60 h 176"/>
                  <a:gd name="T72" fmla="*/ 291 w 429"/>
                  <a:gd name="T73" fmla="*/ 58 h 176"/>
                  <a:gd name="T74" fmla="*/ 271 w 429"/>
                  <a:gd name="T75" fmla="*/ 60 h 176"/>
                  <a:gd name="T76" fmla="*/ 251 w 429"/>
                  <a:gd name="T77" fmla="*/ 62 h 176"/>
                  <a:gd name="T78" fmla="*/ 231 w 429"/>
                  <a:gd name="T79" fmla="*/ 66 h 176"/>
                  <a:gd name="T80" fmla="*/ 189 w 429"/>
                  <a:gd name="T81" fmla="*/ 78 h 176"/>
                  <a:gd name="T82" fmla="*/ 189 w 429"/>
                  <a:gd name="T83" fmla="*/ 78 h 176"/>
                  <a:gd name="T84" fmla="*/ 227 w 429"/>
                  <a:gd name="T85" fmla="*/ 62 h 176"/>
                  <a:gd name="T86" fmla="*/ 245 w 429"/>
                  <a:gd name="T87" fmla="*/ 58 h 176"/>
                  <a:gd name="T88" fmla="*/ 263 w 429"/>
                  <a:gd name="T89" fmla="*/ 54 h 176"/>
                  <a:gd name="T90" fmla="*/ 281 w 429"/>
                  <a:gd name="T91" fmla="*/ 50 h 176"/>
                  <a:gd name="T92" fmla="*/ 301 w 429"/>
                  <a:gd name="T93" fmla="*/ 50 h 176"/>
                  <a:gd name="T94" fmla="*/ 323 w 429"/>
                  <a:gd name="T95" fmla="*/ 50 h 176"/>
                  <a:gd name="T96" fmla="*/ 345 w 429"/>
                  <a:gd name="T97" fmla="*/ 50 h 176"/>
                  <a:gd name="T98" fmla="*/ 345 w 429"/>
                  <a:gd name="T99" fmla="*/ 5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9" h="176">
                    <a:moveTo>
                      <a:pt x="345" y="50"/>
                    </a:moveTo>
                    <a:lnTo>
                      <a:pt x="345" y="50"/>
                    </a:lnTo>
                    <a:lnTo>
                      <a:pt x="327" y="36"/>
                    </a:lnTo>
                    <a:lnTo>
                      <a:pt x="307" y="24"/>
                    </a:lnTo>
                    <a:lnTo>
                      <a:pt x="287" y="14"/>
                    </a:lnTo>
                    <a:lnTo>
                      <a:pt x="265" y="6"/>
                    </a:lnTo>
                    <a:lnTo>
                      <a:pt x="243" y="2"/>
                    </a:lnTo>
                    <a:lnTo>
                      <a:pt x="219" y="0"/>
                    </a:lnTo>
                    <a:lnTo>
                      <a:pt x="193" y="2"/>
                    </a:lnTo>
                    <a:lnTo>
                      <a:pt x="163" y="10"/>
                    </a:lnTo>
                    <a:lnTo>
                      <a:pt x="0" y="56"/>
                    </a:lnTo>
                    <a:lnTo>
                      <a:pt x="0" y="56"/>
                    </a:lnTo>
                    <a:lnTo>
                      <a:pt x="24" y="66"/>
                    </a:lnTo>
                    <a:lnTo>
                      <a:pt x="48" y="76"/>
                    </a:lnTo>
                    <a:lnTo>
                      <a:pt x="90" y="98"/>
                    </a:lnTo>
                    <a:lnTo>
                      <a:pt x="131" y="122"/>
                    </a:lnTo>
                    <a:lnTo>
                      <a:pt x="171" y="144"/>
                    </a:lnTo>
                    <a:lnTo>
                      <a:pt x="189" y="154"/>
                    </a:lnTo>
                    <a:lnTo>
                      <a:pt x="209" y="162"/>
                    </a:lnTo>
                    <a:lnTo>
                      <a:pt x="231" y="170"/>
                    </a:lnTo>
                    <a:lnTo>
                      <a:pt x="251" y="174"/>
                    </a:lnTo>
                    <a:lnTo>
                      <a:pt x="273" y="176"/>
                    </a:lnTo>
                    <a:lnTo>
                      <a:pt x="297" y="176"/>
                    </a:lnTo>
                    <a:lnTo>
                      <a:pt x="323" y="174"/>
                    </a:lnTo>
                    <a:lnTo>
                      <a:pt x="349" y="168"/>
                    </a:lnTo>
                    <a:lnTo>
                      <a:pt x="349" y="168"/>
                    </a:lnTo>
                    <a:lnTo>
                      <a:pt x="383" y="156"/>
                    </a:lnTo>
                    <a:lnTo>
                      <a:pt x="407" y="146"/>
                    </a:lnTo>
                    <a:lnTo>
                      <a:pt x="429" y="136"/>
                    </a:lnTo>
                    <a:lnTo>
                      <a:pt x="429" y="136"/>
                    </a:lnTo>
                    <a:lnTo>
                      <a:pt x="399" y="104"/>
                    </a:lnTo>
                    <a:lnTo>
                      <a:pt x="371" y="74"/>
                    </a:lnTo>
                    <a:lnTo>
                      <a:pt x="365" y="72"/>
                    </a:lnTo>
                    <a:lnTo>
                      <a:pt x="365" y="72"/>
                    </a:lnTo>
                    <a:lnTo>
                      <a:pt x="339" y="64"/>
                    </a:lnTo>
                    <a:lnTo>
                      <a:pt x="313" y="60"/>
                    </a:lnTo>
                    <a:lnTo>
                      <a:pt x="291" y="58"/>
                    </a:lnTo>
                    <a:lnTo>
                      <a:pt x="271" y="60"/>
                    </a:lnTo>
                    <a:lnTo>
                      <a:pt x="251" y="62"/>
                    </a:lnTo>
                    <a:lnTo>
                      <a:pt x="231" y="66"/>
                    </a:lnTo>
                    <a:lnTo>
                      <a:pt x="189" y="78"/>
                    </a:lnTo>
                    <a:lnTo>
                      <a:pt x="189" y="78"/>
                    </a:lnTo>
                    <a:lnTo>
                      <a:pt x="227" y="62"/>
                    </a:lnTo>
                    <a:lnTo>
                      <a:pt x="245" y="58"/>
                    </a:lnTo>
                    <a:lnTo>
                      <a:pt x="263" y="54"/>
                    </a:lnTo>
                    <a:lnTo>
                      <a:pt x="281" y="50"/>
                    </a:lnTo>
                    <a:lnTo>
                      <a:pt x="301" y="50"/>
                    </a:lnTo>
                    <a:lnTo>
                      <a:pt x="323" y="50"/>
                    </a:lnTo>
                    <a:lnTo>
                      <a:pt x="345" y="50"/>
                    </a:lnTo>
                    <a:lnTo>
                      <a:pt x="345"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54" name="Freeform 77">
                <a:extLst>
                  <a:ext uri="{FF2B5EF4-FFF2-40B4-BE49-F238E27FC236}">
                    <a16:creationId xmlns:a16="http://schemas.microsoft.com/office/drawing/2014/main" id="{B5905FAE-AB49-4AE6-8A2A-FE96F9B205CD}"/>
                  </a:ext>
                </a:extLst>
              </p:cNvPr>
              <p:cNvSpPr>
                <a:spLocks/>
              </p:cNvSpPr>
              <p:nvPr/>
            </p:nvSpPr>
            <p:spPr bwMode="auto">
              <a:xfrm>
                <a:off x="4905" y="515"/>
                <a:ext cx="196" cy="398"/>
              </a:xfrm>
              <a:custGeom>
                <a:avLst/>
                <a:gdLst>
                  <a:gd name="T0" fmla="*/ 100 w 196"/>
                  <a:gd name="T1" fmla="*/ 348 h 398"/>
                  <a:gd name="T2" fmla="*/ 100 w 196"/>
                  <a:gd name="T3" fmla="*/ 348 h 398"/>
                  <a:gd name="T4" fmla="*/ 80 w 196"/>
                  <a:gd name="T5" fmla="*/ 298 h 398"/>
                  <a:gd name="T6" fmla="*/ 72 w 196"/>
                  <a:gd name="T7" fmla="*/ 274 h 398"/>
                  <a:gd name="T8" fmla="*/ 66 w 196"/>
                  <a:gd name="T9" fmla="*/ 250 h 398"/>
                  <a:gd name="T10" fmla="*/ 56 w 196"/>
                  <a:gd name="T11" fmla="*/ 202 h 398"/>
                  <a:gd name="T12" fmla="*/ 50 w 196"/>
                  <a:gd name="T13" fmla="*/ 152 h 398"/>
                  <a:gd name="T14" fmla="*/ 50 w 196"/>
                  <a:gd name="T15" fmla="*/ 152 h 398"/>
                  <a:gd name="T16" fmla="*/ 62 w 196"/>
                  <a:gd name="T17" fmla="*/ 204 h 398"/>
                  <a:gd name="T18" fmla="*/ 66 w 196"/>
                  <a:gd name="T19" fmla="*/ 230 h 398"/>
                  <a:gd name="T20" fmla="*/ 72 w 196"/>
                  <a:gd name="T21" fmla="*/ 252 h 398"/>
                  <a:gd name="T22" fmla="*/ 80 w 196"/>
                  <a:gd name="T23" fmla="*/ 276 h 398"/>
                  <a:gd name="T24" fmla="*/ 90 w 196"/>
                  <a:gd name="T25" fmla="*/ 300 h 398"/>
                  <a:gd name="T26" fmla="*/ 104 w 196"/>
                  <a:gd name="T27" fmla="*/ 326 h 398"/>
                  <a:gd name="T28" fmla="*/ 122 w 196"/>
                  <a:gd name="T29" fmla="*/ 354 h 398"/>
                  <a:gd name="T30" fmla="*/ 122 w 196"/>
                  <a:gd name="T31" fmla="*/ 354 h 398"/>
                  <a:gd name="T32" fmla="*/ 132 w 196"/>
                  <a:gd name="T33" fmla="*/ 368 h 398"/>
                  <a:gd name="T34" fmla="*/ 132 w 196"/>
                  <a:gd name="T35" fmla="*/ 368 h 398"/>
                  <a:gd name="T36" fmla="*/ 184 w 196"/>
                  <a:gd name="T37" fmla="*/ 398 h 398"/>
                  <a:gd name="T38" fmla="*/ 184 w 196"/>
                  <a:gd name="T39" fmla="*/ 398 h 398"/>
                  <a:gd name="T40" fmla="*/ 190 w 196"/>
                  <a:gd name="T41" fmla="*/ 374 h 398"/>
                  <a:gd name="T42" fmla="*/ 194 w 196"/>
                  <a:gd name="T43" fmla="*/ 348 h 398"/>
                  <a:gd name="T44" fmla="*/ 196 w 196"/>
                  <a:gd name="T45" fmla="*/ 312 h 398"/>
                  <a:gd name="T46" fmla="*/ 196 w 196"/>
                  <a:gd name="T47" fmla="*/ 312 h 398"/>
                  <a:gd name="T48" fmla="*/ 196 w 196"/>
                  <a:gd name="T49" fmla="*/ 286 h 398"/>
                  <a:gd name="T50" fmla="*/ 194 w 196"/>
                  <a:gd name="T51" fmla="*/ 260 h 398"/>
                  <a:gd name="T52" fmla="*/ 188 w 196"/>
                  <a:gd name="T53" fmla="*/ 238 h 398"/>
                  <a:gd name="T54" fmla="*/ 180 w 196"/>
                  <a:gd name="T55" fmla="*/ 216 h 398"/>
                  <a:gd name="T56" fmla="*/ 170 w 196"/>
                  <a:gd name="T57" fmla="*/ 196 h 398"/>
                  <a:gd name="T58" fmla="*/ 160 w 196"/>
                  <a:gd name="T59" fmla="*/ 178 h 398"/>
                  <a:gd name="T60" fmla="*/ 146 w 196"/>
                  <a:gd name="T61" fmla="*/ 162 h 398"/>
                  <a:gd name="T62" fmla="*/ 132 w 196"/>
                  <a:gd name="T63" fmla="*/ 144 h 398"/>
                  <a:gd name="T64" fmla="*/ 102 w 196"/>
                  <a:gd name="T65" fmla="*/ 112 h 398"/>
                  <a:gd name="T66" fmla="*/ 70 w 196"/>
                  <a:gd name="T67" fmla="*/ 78 h 398"/>
                  <a:gd name="T68" fmla="*/ 38 w 196"/>
                  <a:gd name="T69" fmla="*/ 42 h 398"/>
                  <a:gd name="T70" fmla="*/ 22 w 196"/>
                  <a:gd name="T71" fmla="*/ 22 h 398"/>
                  <a:gd name="T72" fmla="*/ 8 w 196"/>
                  <a:gd name="T73" fmla="*/ 0 h 398"/>
                  <a:gd name="T74" fmla="*/ 0 w 196"/>
                  <a:gd name="T75" fmla="*/ 170 h 398"/>
                  <a:gd name="T76" fmla="*/ 0 w 196"/>
                  <a:gd name="T77" fmla="*/ 170 h 398"/>
                  <a:gd name="T78" fmla="*/ 0 w 196"/>
                  <a:gd name="T79" fmla="*/ 202 h 398"/>
                  <a:gd name="T80" fmla="*/ 6 w 196"/>
                  <a:gd name="T81" fmla="*/ 230 h 398"/>
                  <a:gd name="T82" fmla="*/ 14 w 196"/>
                  <a:gd name="T83" fmla="*/ 256 h 398"/>
                  <a:gd name="T84" fmla="*/ 26 w 196"/>
                  <a:gd name="T85" fmla="*/ 278 h 398"/>
                  <a:gd name="T86" fmla="*/ 40 w 196"/>
                  <a:gd name="T87" fmla="*/ 298 h 398"/>
                  <a:gd name="T88" fmla="*/ 58 w 196"/>
                  <a:gd name="T89" fmla="*/ 316 h 398"/>
                  <a:gd name="T90" fmla="*/ 78 w 196"/>
                  <a:gd name="T91" fmla="*/ 334 h 398"/>
                  <a:gd name="T92" fmla="*/ 100 w 196"/>
                  <a:gd name="T93" fmla="*/ 348 h 398"/>
                  <a:gd name="T94" fmla="*/ 100 w 196"/>
                  <a:gd name="T95" fmla="*/ 34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6" h="398">
                    <a:moveTo>
                      <a:pt x="100" y="348"/>
                    </a:moveTo>
                    <a:lnTo>
                      <a:pt x="100" y="348"/>
                    </a:lnTo>
                    <a:lnTo>
                      <a:pt x="80" y="298"/>
                    </a:lnTo>
                    <a:lnTo>
                      <a:pt x="72" y="274"/>
                    </a:lnTo>
                    <a:lnTo>
                      <a:pt x="66" y="250"/>
                    </a:lnTo>
                    <a:lnTo>
                      <a:pt x="56" y="202"/>
                    </a:lnTo>
                    <a:lnTo>
                      <a:pt x="50" y="152"/>
                    </a:lnTo>
                    <a:lnTo>
                      <a:pt x="50" y="152"/>
                    </a:lnTo>
                    <a:lnTo>
                      <a:pt x="62" y="204"/>
                    </a:lnTo>
                    <a:lnTo>
                      <a:pt x="66" y="230"/>
                    </a:lnTo>
                    <a:lnTo>
                      <a:pt x="72" y="252"/>
                    </a:lnTo>
                    <a:lnTo>
                      <a:pt x="80" y="276"/>
                    </a:lnTo>
                    <a:lnTo>
                      <a:pt x="90" y="300"/>
                    </a:lnTo>
                    <a:lnTo>
                      <a:pt x="104" y="326"/>
                    </a:lnTo>
                    <a:lnTo>
                      <a:pt x="122" y="354"/>
                    </a:lnTo>
                    <a:lnTo>
                      <a:pt x="122" y="354"/>
                    </a:lnTo>
                    <a:lnTo>
                      <a:pt x="132" y="368"/>
                    </a:lnTo>
                    <a:lnTo>
                      <a:pt x="132" y="368"/>
                    </a:lnTo>
                    <a:lnTo>
                      <a:pt x="184" y="398"/>
                    </a:lnTo>
                    <a:lnTo>
                      <a:pt x="184" y="398"/>
                    </a:lnTo>
                    <a:lnTo>
                      <a:pt x="190" y="374"/>
                    </a:lnTo>
                    <a:lnTo>
                      <a:pt x="194" y="348"/>
                    </a:lnTo>
                    <a:lnTo>
                      <a:pt x="196" y="312"/>
                    </a:lnTo>
                    <a:lnTo>
                      <a:pt x="196" y="312"/>
                    </a:lnTo>
                    <a:lnTo>
                      <a:pt x="196" y="286"/>
                    </a:lnTo>
                    <a:lnTo>
                      <a:pt x="194" y="260"/>
                    </a:lnTo>
                    <a:lnTo>
                      <a:pt x="188" y="238"/>
                    </a:lnTo>
                    <a:lnTo>
                      <a:pt x="180" y="216"/>
                    </a:lnTo>
                    <a:lnTo>
                      <a:pt x="170" y="196"/>
                    </a:lnTo>
                    <a:lnTo>
                      <a:pt x="160" y="178"/>
                    </a:lnTo>
                    <a:lnTo>
                      <a:pt x="146" y="162"/>
                    </a:lnTo>
                    <a:lnTo>
                      <a:pt x="132" y="144"/>
                    </a:lnTo>
                    <a:lnTo>
                      <a:pt x="102" y="112"/>
                    </a:lnTo>
                    <a:lnTo>
                      <a:pt x="70" y="78"/>
                    </a:lnTo>
                    <a:lnTo>
                      <a:pt x="38" y="42"/>
                    </a:lnTo>
                    <a:lnTo>
                      <a:pt x="22" y="22"/>
                    </a:lnTo>
                    <a:lnTo>
                      <a:pt x="8" y="0"/>
                    </a:lnTo>
                    <a:lnTo>
                      <a:pt x="0" y="170"/>
                    </a:lnTo>
                    <a:lnTo>
                      <a:pt x="0" y="170"/>
                    </a:lnTo>
                    <a:lnTo>
                      <a:pt x="0" y="202"/>
                    </a:lnTo>
                    <a:lnTo>
                      <a:pt x="6" y="230"/>
                    </a:lnTo>
                    <a:lnTo>
                      <a:pt x="14" y="256"/>
                    </a:lnTo>
                    <a:lnTo>
                      <a:pt x="26" y="278"/>
                    </a:lnTo>
                    <a:lnTo>
                      <a:pt x="40" y="298"/>
                    </a:lnTo>
                    <a:lnTo>
                      <a:pt x="58" y="316"/>
                    </a:lnTo>
                    <a:lnTo>
                      <a:pt x="78" y="334"/>
                    </a:lnTo>
                    <a:lnTo>
                      <a:pt x="100" y="348"/>
                    </a:lnTo>
                    <a:lnTo>
                      <a:pt x="100" y="3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55" name="Freeform 78">
                <a:extLst>
                  <a:ext uri="{FF2B5EF4-FFF2-40B4-BE49-F238E27FC236}">
                    <a16:creationId xmlns:a16="http://schemas.microsoft.com/office/drawing/2014/main" id="{5D98E526-1648-4603-8E09-18D990317C59}"/>
                  </a:ext>
                </a:extLst>
              </p:cNvPr>
              <p:cNvSpPr>
                <a:spLocks/>
              </p:cNvSpPr>
              <p:nvPr/>
            </p:nvSpPr>
            <p:spPr bwMode="auto">
              <a:xfrm>
                <a:off x="4935" y="1358"/>
                <a:ext cx="408" cy="414"/>
              </a:xfrm>
              <a:custGeom>
                <a:avLst/>
                <a:gdLst>
                  <a:gd name="T0" fmla="*/ 212 w 408"/>
                  <a:gd name="T1" fmla="*/ 78 h 414"/>
                  <a:gd name="T2" fmla="*/ 0 w 408"/>
                  <a:gd name="T3" fmla="*/ 0 h 414"/>
                  <a:gd name="T4" fmla="*/ 0 w 408"/>
                  <a:gd name="T5" fmla="*/ 0 h 414"/>
                  <a:gd name="T6" fmla="*/ 20 w 408"/>
                  <a:gd name="T7" fmla="*/ 30 h 414"/>
                  <a:gd name="T8" fmla="*/ 38 w 408"/>
                  <a:gd name="T9" fmla="*/ 58 h 414"/>
                  <a:gd name="T10" fmla="*/ 54 w 408"/>
                  <a:gd name="T11" fmla="*/ 86 h 414"/>
                  <a:gd name="T12" fmla="*/ 68 w 408"/>
                  <a:gd name="T13" fmla="*/ 114 h 414"/>
                  <a:gd name="T14" fmla="*/ 94 w 408"/>
                  <a:gd name="T15" fmla="*/ 170 h 414"/>
                  <a:gd name="T16" fmla="*/ 122 w 408"/>
                  <a:gd name="T17" fmla="*/ 224 h 414"/>
                  <a:gd name="T18" fmla="*/ 136 w 408"/>
                  <a:gd name="T19" fmla="*/ 248 h 414"/>
                  <a:gd name="T20" fmla="*/ 152 w 408"/>
                  <a:gd name="T21" fmla="*/ 272 h 414"/>
                  <a:gd name="T22" fmla="*/ 168 w 408"/>
                  <a:gd name="T23" fmla="*/ 296 h 414"/>
                  <a:gd name="T24" fmla="*/ 188 w 408"/>
                  <a:gd name="T25" fmla="*/ 316 h 414"/>
                  <a:gd name="T26" fmla="*/ 210 w 408"/>
                  <a:gd name="T27" fmla="*/ 336 h 414"/>
                  <a:gd name="T28" fmla="*/ 236 w 408"/>
                  <a:gd name="T29" fmla="*/ 354 h 414"/>
                  <a:gd name="T30" fmla="*/ 266 w 408"/>
                  <a:gd name="T31" fmla="*/ 370 h 414"/>
                  <a:gd name="T32" fmla="*/ 298 w 408"/>
                  <a:gd name="T33" fmla="*/ 384 h 414"/>
                  <a:gd name="T34" fmla="*/ 298 w 408"/>
                  <a:gd name="T35" fmla="*/ 384 h 414"/>
                  <a:gd name="T36" fmla="*/ 342 w 408"/>
                  <a:gd name="T37" fmla="*/ 400 h 414"/>
                  <a:gd name="T38" fmla="*/ 378 w 408"/>
                  <a:gd name="T39" fmla="*/ 408 h 414"/>
                  <a:gd name="T40" fmla="*/ 408 w 408"/>
                  <a:gd name="T41" fmla="*/ 414 h 414"/>
                  <a:gd name="T42" fmla="*/ 408 w 408"/>
                  <a:gd name="T43" fmla="*/ 414 h 414"/>
                  <a:gd name="T44" fmla="*/ 396 w 408"/>
                  <a:gd name="T45" fmla="*/ 340 h 414"/>
                  <a:gd name="T46" fmla="*/ 396 w 408"/>
                  <a:gd name="T47" fmla="*/ 340 h 414"/>
                  <a:gd name="T48" fmla="*/ 372 w 408"/>
                  <a:gd name="T49" fmla="*/ 300 h 414"/>
                  <a:gd name="T50" fmla="*/ 372 w 408"/>
                  <a:gd name="T51" fmla="*/ 300 h 414"/>
                  <a:gd name="T52" fmla="*/ 360 w 408"/>
                  <a:gd name="T53" fmla="*/ 284 h 414"/>
                  <a:gd name="T54" fmla="*/ 350 w 408"/>
                  <a:gd name="T55" fmla="*/ 270 h 414"/>
                  <a:gd name="T56" fmla="*/ 338 w 408"/>
                  <a:gd name="T57" fmla="*/ 256 h 414"/>
                  <a:gd name="T58" fmla="*/ 328 w 408"/>
                  <a:gd name="T59" fmla="*/ 246 h 414"/>
                  <a:gd name="T60" fmla="*/ 306 w 408"/>
                  <a:gd name="T61" fmla="*/ 230 h 414"/>
                  <a:gd name="T62" fmla="*/ 282 w 408"/>
                  <a:gd name="T63" fmla="*/ 216 h 414"/>
                  <a:gd name="T64" fmla="*/ 258 w 408"/>
                  <a:gd name="T65" fmla="*/ 208 h 414"/>
                  <a:gd name="T66" fmla="*/ 234 w 408"/>
                  <a:gd name="T67" fmla="*/ 200 h 414"/>
                  <a:gd name="T68" fmla="*/ 178 w 408"/>
                  <a:gd name="T69" fmla="*/ 182 h 414"/>
                  <a:gd name="T70" fmla="*/ 178 w 408"/>
                  <a:gd name="T71" fmla="*/ 182 h 414"/>
                  <a:gd name="T72" fmla="*/ 208 w 408"/>
                  <a:gd name="T73" fmla="*/ 186 h 414"/>
                  <a:gd name="T74" fmla="*/ 234 w 408"/>
                  <a:gd name="T75" fmla="*/ 190 h 414"/>
                  <a:gd name="T76" fmla="*/ 260 w 408"/>
                  <a:gd name="T77" fmla="*/ 198 h 414"/>
                  <a:gd name="T78" fmla="*/ 284 w 408"/>
                  <a:gd name="T79" fmla="*/ 206 h 414"/>
                  <a:gd name="T80" fmla="*/ 308 w 408"/>
                  <a:gd name="T81" fmla="*/ 218 h 414"/>
                  <a:gd name="T82" fmla="*/ 332 w 408"/>
                  <a:gd name="T83" fmla="*/ 230 h 414"/>
                  <a:gd name="T84" fmla="*/ 356 w 408"/>
                  <a:gd name="T85" fmla="*/ 248 h 414"/>
                  <a:gd name="T86" fmla="*/ 380 w 408"/>
                  <a:gd name="T87" fmla="*/ 268 h 414"/>
                  <a:gd name="T88" fmla="*/ 380 w 408"/>
                  <a:gd name="T89" fmla="*/ 268 h 414"/>
                  <a:gd name="T90" fmla="*/ 372 w 408"/>
                  <a:gd name="T91" fmla="*/ 238 h 414"/>
                  <a:gd name="T92" fmla="*/ 360 w 408"/>
                  <a:gd name="T93" fmla="*/ 208 h 414"/>
                  <a:gd name="T94" fmla="*/ 346 w 408"/>
                  <a:gd name="T95" fmla="*/ 182 h 414"/>
                  <a:gd name="T96" fmla="*/ 328 w 408"/>
                  <a:gd name="T97" fmla="*/ 156 h 414"/>
                  <a:gd name="T98" fmla="*/ 306 w 408"/>
                  <a:gd name="T99" fmla="*/ 134 h 414"/>
                  <a:gd name="T100" fmla="*/ 294 w 408"/>
                  <a:gd name="T101" fmla="*/ 122 h 414"/>
                  <a:gd name="T102" fmla="*/ 280 w 408"/>
                  <a:gd name="T103" fmla="*/ 112 h 414"/>
                  <a:gd name="T104" fmla="*/ 264 w 408"/>
                  <a:gd name="T105" fmla="*/ 102 h 414"/>
                  <a:gd name="T106" fmla="*/ 248 w 408"/>
                  <a:gd name="T107" fmla="*/ 94 h 414"/>
                  <a:gd name="T108" fmla="*/ 230 w 408"/>
                  <a:gd name="T109" fmla="*/ 86 h 414"/>
                  <a:gd name="T110" fmla="*/ 212 w 408"/>
                  <a:gd name="T111" fmla="*/ 78 h 414"/>
                  <a:gd name="T112" fmla="*/ 212 w 408"/>
                  <a:gd name="T113" fmla="*/ 78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8" h="414">
                    <a:moveTo>
                      <a:pt x="212" y="78"/>
                    </a:moveTo>
                    <a:lnTo>
                      <a:pt x="0" y="0"/>
                    </a:lnTo>
                    <a:lnTo>
                      <a:pt x="0" y="0"/>
                    </a:lnTo>
                    <a:lnTo>
                      <a:pt x="20" y="30"/>
                    </a:lnTo>
                    <a:lnTo>
                      <a:pt x="38" y="58"/>
                    </a:lnTo>
                    <a:lnTo>
                      <a:pt x="54" y="86"/>
                    </a:lnTo>
                    <a:lnTo>
                      <a:pt x="68" y="114"/>
                    </a:lnTo>
                    <a:lnTo>
                      <a:pt x="94" y="170"/>
                    </a:lnTo>
                    <a:lnTo>
                      <a:pt x="122" y="224"/>
                    </a:lnTo>
                    <a:lnTo>
                      <a:pt x="136" y="248"/>
                    </a:lnTo>
                    <a:lnTo>
                      <a:pt x="152" y="272"/>
                    </a:lnTo>
                    <a:lnTo>
                      <a:pt x="168" y="296"/>
                    </a:lnTo>
                    <a:lnTo>
                      <a:pt x="188" y="316"/>
                    </a:lnTo>
                    <a:lnTo>
                      <a:pt x="210" y="336"/>
                    </a:lnTo>
                    <a:lnTo>
                      <a:pt x="236" y="354"/>
                    </a:lnTo>
                    <a:lnTo>
                      <a:pt x="266" y="370"/>
                    </a:lnTo>
                    <a:lnTo>
                      <a:pt x="298" y="384"/>
                    </a:lnTo>
                    <a:lnTo>
                      <a:pt x="298" y="384"/>
                    </a:lnTo>
                    <a:lnTo>
                      <a:pt x="342" y="400"/>
                    </a:lnTo>
                    <a:lnTo>
                      <a:pt x="378" y="408"/>
                    </a:lnTo>
                    <a:lnTo>
                      <a:pt x="408" y="414"/>
                    </a:lnTo>
                    <a:lnTo>
                      <a:pt x="408" y="414"/>
                    </a:lnTo>
                    <a:lnTo>
                      <a:pt x="396" y="340"/>
                    </a:lnTo>
                    <a:lnTo>
                      <a:pt x="396" y="340"/>
                    </a:lnTo>
                    <a:lnTo>
                      <a:pt x="372" y="300"/>
                    </a:lnTo>
                    <a:lnTo>
                      <a:pt x="372" y="300"/>
                    </a:lnTo>
                    <a:lnTo>
                      <a:pt x="360" y="284"/>
                    </a:lnTo>
                    <a:lnTo>
                      <a:pt x="350" y="270"/>
                    </a:lnTo>
                    <a:lnTo>
                      <a:pt x="338" y="256"/>
                    </a:lnTo>
                    <a:lnTo>
                      <a:pt x="328" y="246"/>
                    </a:lnTo>
                    <a:lnTo>
                      <a:pt x="306" y="230"/>
                    </a:lnTo>
                    <a:lnTo>
                      <a:pt x="282" y="216"/>
                    </a:lnTo>
                    <a:lnTo>
                      <a:pt x="258" y="208"/>
                    </a:lnTo>
                    <a:lnTo>
                      <a:pt x="234" y="200"/>
                    </a:lnTo>
                    <a:lnTo>
                      <a:pt x="178" y="182"/>
                    </a:lnTo>
                    <a:lnTo>
                      <a:pt x="178" y="182"/>
                    </a:lnTo>
                    <a:lnTo>
                      <a:pt x="208" y="186"/>
                    </a:lnTo>
                    <a:lnTo>
                      <a:pt x="234" y="190"/>
                    </a:lnTo>
                    <a:lnTo>
                      <a:pt x="260" y="198"/>
                    </a:lnTo>
                    <a:lnTo>
                      <a:pt x="284" y="206"/>
                    </a:lnTo>
                    <a:lnTo>
                      <a:pt x="308" y="218"/>
                    </a:lnTo>
                    <a:lnTo>
                      <a:pt x="332" y="230"/>
                    </a:lnTo>
                    <a:lnTo>
                      <a:pt x="356" y="248"/>
                    </a:lnTo>
                    <a:lnTo>
                      <a:pt x="380" y="268"/>
                    </a:lnTo>
                    <a:lnTo>
                      <a:pt x="380" y="268"/>
                    </a:lnTo>
                    <a:lnTo>
                      <a:pt x="372" y="238"/>
                    </a:lnTo>
                    <a:lnTo>
                      <a:pt x="360" y="208"/>
                    </a:lnTo>
                    <a:lnTo>
                      <a:pt x="346" y="182"/>
                    </a:lnTo>
                    <a:lnTo>
                      <a:pt x="328" y="156"/>
                    </a:lnTo>
                    <a:lnTo>
                      <a:pt x="306" y="134"/>
                    </a:lnTo>
                    <a:lnTo>
                      <a:pt x="294" y="122"/>
                    </a:lnTo>
                    <a:lnTo>
                      <a:pt x="280" y="112"/>
                    </a:lnTo>
                    <a:lnTo>
                      <a:pt x="264" y="102"/>
                    </a:lnTo>
                    <a:lnTo>
                      <a:pt x="248" y="94"/>
                    </a:lnTo>
                    <a:lnTo>
                      <a:pt x="230" y="86"/>
                    </a:lnTo>
                    <a:lnTo>
                      <a:pt x="212" y="78"/>
                    </a:lnTo>
                    <a:lnTo>
                      <a:pt x="212"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56" name="Freeform 79">
                <a:extLst>
                  <a:ext uri="{FF2B5EF4-FFF2-40B4-BE49-F238E27FC236}">
                    <a16:creationId xmlns:a16="http://schemas.microsoft.com/office/drawing/2014/main" id="{1F46DEBF-9275-4B36-8131-5860382B08D8}"/>
                  </a:ext>
                </a:extLst>
              </p:cNvPr>
              <p:cNvSpPr>
                <a:spLocks/>
              </p:cNvSpPr>
              <p:nvPr/>
            </p:nvSpPr>
            <p:spPr bwMode="auto">
              <a:xfrm>
                <a:off x="5325" y="1175"/>
                <a:ext cx="214" cy="565"/>
              </a:xfrm>
              <a:custGeom>
                <a:avLst/>
                <a:gdLst>
                  <a:gd name="T0" fmla="*/ 20 w 214"/>
                  <a:gd name="T1" fmla="*/ 453 h 565"/>
                  <a:gd name="T2" fmla="*/ 20 w 214"/>
                  <a:gd name="T3" fmla="*/ 453 h 565"/>
                  <a:gd name="T4" fmla="*/ 32 w 214"/>
                  <a:gd name="T5" fmla="*/ 409 h 565"/>
                  <a:gd name="T6" fmla="*/ 44 w 214"/>
                  <a:gd name="T7" fmla="*/ 369 h 565"/>
                  <a:gd name="T8" fmla="*/ 58 w 214"/>
                  <a:gd name="T9" fmla="*/ 333 h 565"/>
                  <a:gd name="T10" fmla="*/ 72 w 214"/>
                  <a:gd name="T11" fmla="*/ 297 h 565"/>
                  <a:gd name="T12" fmla="*/ 86 w 214"/>
                  <a:gd name="T13" fmla="*/ 263 h 565"/>
                  <a:gd name="T14" fmla="*/ 104 w 214"/>
                  <a:gd name="T15" fmla="*/ 229 h 565"/>
                  <a:gd name="T16" fmla="*/ 122 w 214"/>
                  <a:gd name="T17" fmla="*/ 195 h 565"/>
                  <a:gd name="T18" fmla="*/ 144 w 214"/>
                  <a:gd name="T19" fmla="*/ 158 h 565"/>
                  <a:gd name="T20" fmla="*/ 144 w 214"/>
                  <a:gd name="T21" fmla="*/ 158 h 565"/>
                  <a:gd name="T22" fmla="*/ 108 w 214"/>
                  <a:gd name="T23" fmla="*/ 235 h 565"/>
                  <a:gd name="T24" fmla="*/ 92 w 214"/>
                  <a:gd name="T25" fmla="*/ 269 h 565"/>
                  <a:gd name="T26" fmla="*/ 76 w 214"/>
                  <a:gd name="T27" fmla="*/ 303 h 565"/>
                  <a:gd name="T28" fmla="*/ 64 w 214"/>
                  <a:gd name="T29" fmla="*/ 339 h 565"/>
                  <a:gd name="T30" fmla="*/ 52 w 214"/>
                  <a:gd name="T31" fmla="*/ 377 h 565"/>
                  <a:gd name="T32" fmla="*/ 44 w 214"/>
                  <a:gd name="T33" fmla="*/ 419 h 565"/>
                  <a:gd name="T34" fmla="*/ 40 w 214"/>
                  <a:gd name="T35" fmla="*/ 467 h 565"/>
                  <a:gd name="T36" fmla="*/ 40 w 214"/>
                  <a:gd name="T37" fmla="*/ 467 h 565"/>
                  <a:gd name="T38" fmla="*/ 38 w 214"/>
                  <a:gd name="T39" fmla="*/ 487 h 565"/>
                  <a:gd name="T40" fmla="*/ 38 w 214"/>
                  <a:gd name="T41" fmla="*/ 505 h 565"/>
                  <a:gd name="T42" fmla="*/ 38 w 214"/>
                  <a:gd name="T43" fmla="*/ 505 h 565"/>
                  <a:gd name="T44" fmla="*/ 62 w 214"/>
                  <a:gd name="T45" fmla="*/ 565 h 565"/>
                  <a:gd name="T46" fmla="*/ 62 w 214"/>
                  <a:gd name="T47" fmla="*/ 565 h 565"/>
                  <a:gd name="T48" fmla="*/ 86 w 214"/>
                  <a:gd name="T49" fmla="*/ 545 h 565"/>
                  <a:gd name="T50" fmla="*/ 112 w 214"/>
                  <a:gd name="T51" fmla="*/ 519 h 565"/>
                  <a:gd name="T52" fmla="*/ 142 w 214"/>
                  <a:gd name="T53" fmla="*/ 485 h 565"/>
                  <a:gd name="T54" fmla="*/ 142 w 214"/>
                  <a:gd name="T55" fmla="*/ 485 h 565"/>
                  <a:gd name="T56" fmla="*/ 164 w 214"/>
                  <a:gd name="T57" fmla="*/ 455 h 565"/>
                  <a:gd name="T58" fmla="*/ 182 w 214"/>
                  <a:gd name="T59" fmla="*/ 427 h 565"/>
                  <a:gd name="T60" fmla="*/ 194 w 214"/>
                  <a:gd name="T61" fmla="*/ 397 h 565"/>
                  <a:gd name="T62" fmla="*/ 204 w 214"/>
                  <a:gd name="T63" fmla="*/ 369 h 565"/>
                  <a:gd name="T64" fmla="*/ 210 w 214"/>
                  <a:gd name="T65" fmla="*/ 341 h 565"/>
                  <a:gd name="T66" fmla="*/ 212 w 214"/>
                  <a:gd name="T67" fmla="*/ 313 h 565"/>
                  <a:gd name="T68" fmla="*/ 214 w 214"/>
                  <a:gd name="T69" fmla="*/ 285 h 565"/>
                  <a:gd name="T70" fmla="*/ 214 w 214"/>
                  <a:gd name="T71" fmla="*/ 255 h 565"/>
                  <a:gd name="T72" fmla="*/ 210 w 214"/>
                  <a:gd name="T73" fmla="*/ 195 h 565"/>
                  <a:gd name="T74" fmla="*/ 204 w 214"/>
                  <a:gd name="T75" fmla="*/ 134 h 565"/>
                  <a:gd name="T76" fmla="*/ 202 w 214"/>
                  <a:gd name="T77" fmla="*/ 102 h 565"/>
                  <a:gd name="T78" fmla="*/ 202 w 214"/>
                  <a:gd name="T79" fmla="*/ 68 h 565"/>
                  <a:gd name="T80" fmla="*/ 204 w 214"/>
                  <a:gd name="T81" fmla="*/ 36 h 565"/>
                  <a:gd name="T82" fmla="*/ 206 w 214"/>
                  <a:gd name="T83" fmla="*/ 0 h 565"/>
                  <a:gd name="T84" fmla="*/ 62 w 214"/>
                  <a:gd name="T85" fmla="*/ 175 h 565"/>
                  <a:gd name="T86" fmla="*/ 62 w 214"/>
                  <a:gd name="T87" fmla="*/ 175 h 565"/>
                  <a:gd name="T88" fmla="*/ 48 w 214"/>
                  <a:gd name="T89" fmla="*/ 193 h 565"/>
                  <a:gd name="T90" fmla="*/ 36 w 214"/>
                  <a:gd name="T91" fmla="*/ 211 h 565"/>
                  <a:gd name="T92" fmla="*/ 26 w 214"/>
                  <a:gd name="T93" fmla="*/ 229 h 565"/>
                  <a:gd name="T94" fmla="*/ 18 w 214"/>
                  <a:gd name="T95" fmla="*/ 247 h 565"/>
                  <a:gd name="T96" fmla="*/ 12 w 214"/>
                  <a:gd name="T97" fmla="*/ 263 h 565"/>
                  <a:gd name="T98" fmla="*/ 6 w 214"/>
                  <a:gd name="T99" fmla="*/ 281 h 565"/>
                  <a:gd name="T100" fmla="*/ 2 w 214"/>
                  <a:gd name="T101" fmla="*/ 297 h 565"/>
                  <a:gd name="T102" fmla="*/ 0 w 214"/>
                  <a:gd name="T103" fmla="*/ 315 h 565"/>
                  <a:gd name="T104" fmla="*/ 0 w 214"/>
                  <a:gd name="T105" fmla="*/ 331 h 565"/>
                  <a:gd name="T106" fmla="*/ 0 w 214"/>
                  <a:gd name="T107" fmla="*/ 349 h 565"/>
                  <a:gd name="T108" fmla="*/ 4 w 214"/>
                  <a:gd name="T109" fmla="*/ 383 h 565"/>
                  <a:gd name="T110" fmla="*/ 10 w 214"/>
                  <a:gd name="T111" fmla="*/ 417 h 565"/>
                  <a:gd name="T112" fmla="*/ 20 w 214"/>
                  <a:gd name="T113" fmla="*/ 453 h 565"/>
                  <a:gd name="T114" fmla="*/ 20 w 214"/>
                  <a:gd name="T115" fmla="*/ 453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4" h="565">
                    <a:moveTo>
                      <a:pt x="20" y="453"/>
                    </a:moveTo>
                    <a:lnTo>
                      <a:pt x="20" y="453"/>
                    </a:lnTo>
                    <a:lnTo>
                      <a:pt x="32" y="409"/>
                    </a:lnTo>
                    <a:lnTo>
                      <a:pt x="44" y="369"/>
                    </a:lnTo>
                    <a:lnTo>
                      <a:pt x="58" y="333"/>
                    </a:lnTo>
                    <a:lnTo>
                      <a:pt x="72" y="297"/>
                    </a:lnTo>
                    <a:lnTo>
                      <a:pt x="86" y="263"/>
                    </a:lnTo>
                    <a:lnTo>
                      <a:pt x="104" y="229"/>
                    </a:lnTo>
                    <a:lnTo>
                      <a:pt x="122" y="195"/>
                    </a:lnTo>
                    <a:lnTo>
                      <a:pt x="144" y="158"/>
                    </a:lnTo>
                    <a:lnTo>
                      <a:pt x="144" y="158"/>
                    </a:lnTo>
                    <a:lnTo>
                      <a:pt x="108" y="235"/>
                    </a:lnTo>
                    <a:lnTo>
                      <a:pt x="92" y="269"/>
                    </a:lnTo>
                    <a:lnTo>
                      <a:pt x="76" y="303"/>
                    </a:lnTo>
                    <a:lnTo>
                      <a:pt x="64" y="339"/>
                    </a:lnTo>
                    <a:lnTo>
                      <a:pt x="52" y="377"/>
                    </a:lnTo>
                    <a:lnTo>
                      <a:pt x="44" y="419"/>
                    </a:lnTo>
                    <a:lnTo>
                      <a:pt x="40" y="467"/>
                    </a:lnTo>
                    <a:lnTo>
                      <a:pt x="40" y="467"/>
                    </a:lnTo>
                    <a:lnTo>
                      <a:pt x="38" y="487"/>
                    </a:lnTo>
                    <a:lnTo>
                      <a:pt x="38" y="505"/>
                    </a:lnTo>
                    <a:lnTo>
                      <a:pt x="38" y="505"/>
                    </a:lnTo>
                    <a:lnTo>
                      <a:pt x="62" y="565"/>
                    </a:lnTo>
                    <a:lnTo>
                      <a:pt x="62" y="565"/>
                    </a:lnTo>
                    <a:lnTo>
                      <a:pt x="86" y="545"/>
                    </a:lnTo>
                    <a:lnTo>
                      <a:pt x="112" y="519"/>
                    </a:lnTo>
                    <a:lnTo>
                      <a:pt x="142" y="485"/>
                    </a:lnTo>
                    <a:lnTo>
                      <a:pt x="142" y="485"/>
                    </a:lnTo>
                    <a:lnTo>
                      <a:pt x="164" y="455"/>
                    </a:lnTo>
                    <a:lnTo>
                      <a:pt x="182" y="427"/>
                    </a:lnTo>
                    <a:lnTo>
                      <a:pt x="194" y="397"/>
                    </a:lnTo>
                    <a:lnTo>
                      <a:pt x="204" y="369"/>
                    </a:lnTo>
                    <a:lnTo>
                      <a:pt x="210" y="341"/>
                    </a:lnTo>
                    <a:lnTo>
                      <a:pt x="212" y="313"/>
                    </a:lnTo>
                    <a:lnTo>
                      <a:pt x="214" y="285"/>
                    </a:lnTo>
                    <a:lnTo>
                      <a:pt x="214" y="255"/>
                    </a:lnTo>
                    <a:lnTo>
                      <a:pt x="210" y="195"/>
                    </a:lnTo>
                    <a:lnTo>
                      <a:pt x="204" y="134"/>
                    </a:lnTo>
                    <a:lnTo>
                      <a:pt x="202" y="102"/>
                    </a:lnTo>
                    <a:lnTo>
                      <a:pt x="202" y="68"/>
                    </a:lnTo>
                    <a:lnTo>
                      <a:pt x="204" y="36"/>
                    </a:lnTo>
                    <a:lnTo>
                      <a:pt x="206" y="0"/>
                    </a:lnTo>
                    <a:lnTo>
                      <a:pt x="62" y="175"/>
                    </a:lnTo>
                    <a:lnTo>
                      <a:pt x="62" y="175"/>
                    </a:lnTo>
                    <a:lnTo>
                      <a:pt x="48" y="193"/>
                    </a:lnTo>
                    <a:lnTo>
                      <a:pt x="36" y="211"/>
                    </a:lnTo>
                    <a:lnTo>
                      <a:pt x="26" y="229"/>
                    </a:lnTo>
                    <a:lnTo>
                      <a:pt x="18" y="247"/>
                    </a:lnTo>
                    <a:lnTo>
                      <a:pt x="12" y="263"/>
                    </a:lnTo>
                    <a:lnTo>
                      <a:pt x="6" y="281"/>
                    </a:lnTo>
                    <a:lnTo>
                      <a:pt x="2" y="297"/>
                    </a:lnTo>
                    <a:lnTo>
                      <a:pt x="0" y="315"/>
                    </a:lnTo>
                    <a:lnTo>
                      <a:pt x="0" y="331"/>
                    </a:lnTo>
                    <a:lnTo>
                      <a:pt x="0" y="349"/>
                    </a:lnTo>
                    <a:lnTo>
                      <a:pt x="4" y="383"/>
                    </a:lnTo>
                    <a:lnTo>
                      <a:pt x="10" y="417"/>
                    </a:lnTo>
                    <a:lnTo>
                      <a:pt x="20" y="453"/>
                    </a:lnTo>
                    <a:lnTo>
                      <a:pt x="20" y="4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57" name="Freeform 80">
                <a:extLst>
                  <a:ext uri="{FF2B5EF4-FFF2-40B4-BE49-F238E27FC236}">
                    <a16:creationId xmlns:a16="http://schemas.microsoft.com/office/drawing/2014/main" id="{69B1D87B-495D-4C88-9F0B-8287E4E15395}"/>
                  </a:ext>
                </a:extLst>
              </p:cNvPr>
              <p:cNvSpPr>
                <a:spLocks/>
              </p:cNvSpPr>
              <p:nvPr/>
            </p:nvSpPr>
            <p:spPr bwMode="auto">
              <a:xfrm>
                <a:off x="4977" y="1778"/>
                <a:ext cx="392" cy="450"/>
              </a:xfrm>
              <a:custGeom>
                <a:avLst/>
                <a:gdLst>
                  <a:gd name="T0" fmla="*/ 392 w 392"/>
                  <a:gd name="T1" fmla="*/ 450 h 450"/>
                  <a:gd name="T2" fmla="*/ 392 w 392"/>
                  <a:gd name="T3" fmla="*/ 450 h 450"/>
                  <a:gd name="T4" fmla="*/ 384 w 392"/>
                  <a:gd name="T5" fmla="*/ 378 h 450"/>
                  <a:gd name="T6" fmla="*/ 384 w 392"/>
                  <a:gd name="T7" fmla="*/ 378 h 450"/>
                  <a:gd name="T8" fmla="*/ 374 w 392"/>
                  <a:gd name="T9" fmla="*/ 350 h 450"/>
                  <a:gd name="T10" fmla="*/ 374 w 392"/>
                  <a:gd name="T11" fmla="*/ 350 h 450"/>
                  <a:gd name="T12" fmla="*/ 362 w 392"/>
                  <a:gd name="T13" fmla="*/ 328 h 450"/>
                  <a:gd name="T14" fmla="*/ 352 w 392"/>
                  <a:gd name="T15" fmla="*/ 308 h 450"/>
                  <a:gd name="T16" fmla="*/ 340 w 392"/>
                  <a:gd name="T17" fmla="*/ 290 h 450"/>
                  <a:gd name="T18" fmla="*/ 328 w 392"/>
                  <a:gd name="T19" fmla="*/ 274 h 450"/>
                  <a:gd name="T20" fmla="*/ 314 w 392"/>
                  <a:gd name="T21" fmla="*/ 258 h 450"/>
                  <a:gd name="T22" fmla="*/ 302 w 392"/>
                  <a:gd name="T23" fmla="*/ 244 h 450"/>
                  <a:gd name="T24" fmla="*/ 274 w 392"/>
                  <a:gd name="T25" fmla="*/ 220 h 450"/>
                  <a:gd name="T26" fmla="*/ 244 w 392"/>
                  <a:gd name="T27" fmla="*/ 198 h 450"/>
                  <a:gd name="T28" fmla="*/ 214 w 392"/>
                  <a:gd name="T29" fmla="*/ 176 h 450"/>
                  <a:gd name="T30" fmla="*/ 180 w 392"/>
                  <a:gd name="T31" fmla="*/ 154 h 450"/>
                  <a:gd name="T32" fmla="*/ 144 w 392"/>
                  <a:gd name="T33" fmla="*/ 132 h 450"/>
                  <a:gd name="T34" fmla="*/ 144 w 392"/>
                  <a:gd name="T35" fmla="*/ 132 h 450"/>
                  <a:gd name="T36" fmla="*/ 180 w 392"/>
                  <a:gd name="T37" fmla="*/ 148 h 450"/>
                  <a:gd name="T38" fmla="*/ 212 w 392"/>
                  <a:gd name="T39" fmla="*/ 166 h 450"/>
                  <a:gd name="T40" fmla="*/ 240 w 392"/>
                  <a:gd name="T41" fmla="*/ 184 h 450"/>
                  <a:gd name="T42" fmla="*/ 268 w 392"/>
                  <a:gd name="T43" fmla="*/ 202 h 450"/>
                  <a:gd name="T44" fmla="*/ 296 w 392"/>
                  <a:gd name="T45" fmla="*/ 222 h 450"/>
                  <a:gd name="T46" fmla="*/ 322 w 392"/>
                  <a:gd name="T47" fmla="*/ 246 h 450"/>
                  <a:gd name="T48" fmla="*/ 346 w 392"/>
                  <a:gd name="T49" fmla="*/ 270 h 450"/>
                  <a:gd name="T50" fmla="*/ 372 w 392"/>
                  <a:gd name="T51" fmla="*/ 298 h 450"/>
                  <a:gd name="T52" fmla="*/ 372 w 392"/>
                  <a:gd name="T53" fmla="*/ 298 h 450"/>
                  <a:gd name="T54" fmla="*/ 364 w 392"/>
                  <a:gd name="T55" fmla="*/ 266 h 450"/>
                  <a:gd name="T56" fmla="*/ 354 w 392"/>
                  <a:gd name="T57" fmla="*/ 236 h 450"/>
                  <a:gd name="T58" fmla="*/ 342 w 392"/>
                  <a:gd name="T59" fmla="*/ 208 h 450"/>
                  <a:gd name="T60" fmla="*/ 324 w 392"/>
                  <a:gd name="T61" fmla="*/ 180 h 450"/>
                  <a:gd name="T62" fmla="*/ 304 w 392"/>
                  <a:gd name="T63" fmla="*/ 156 h 450"/>
                  <a:gd name="T64" fmla="*/ 292 w 392"/>
                  <a:gd name="T65" fmla="*/ 144 h 450"/>
                  <a:gd name="T66" fmla="*/ 278 w 392"/>
                  <a:gd name="T67" fmla="*/ 132 h 450"/>
                  <a:gd name="T68" fmla="*/ 264 w 392"/>
                  <a:gd name="T69" fmla="*/ 122 h 450"/>
                  <a:gd name="T70" fmla="*/ 248 w 392"/>
                  <a:gd name="T71" fmla="*/ 112 h 450"/>
                  <a:gd name="T72" fmla="*/ 230 w 392"/>
                  <a:gd name="T73" fmla="*/ 102 h 450"/>
                  <a:gd name="T74" fmla="*/ 212 w 392"/>
                  <a:gd name="T75" fmla="*/ 92 h 450"/>
                  <a:gd name="T76" fmla="*/ 0 w 392"/>
                  <a:gd name="T77" fmla="*/ 0 h 450"/>
                  <a:gd name="T78" fmla="*/ 0 w 392"/>
                  <a:gd name="T79" fmla="*/ 0 h 450"/>
                  <a:gd name="T80" fmla="*/ 18 w 392"/>
                  <a:gd name="T81" fmla="*/ 30 h 450"/>
                  <a:gd name="T82" fmla="*/ 34 w 392"/>
                  <a:gd name="T83" fmla="*/ 60 h 450"/>
                  <a:gd name="T84" fmla="*/ 50 w 392"/>
                  <a:gd name="T85" fmla="*/ 90 h 450"/>
                  <a:gd name="T86" fmla="*/ 62 w 392"/>
                  <a:gd name="T87" fmla="*/ 120 h 450"/>
                  <a:gd name="T88" fmla="*/ 86 w 392"/>
                  <a:gd name="T89" fmla="*/ 180 h 450"/>
                  <a:gd name="T90" fmla="*/ 110 w 392"/>
                  <a:gd name="T91" fmla="*/ 236 h 450"/>
                  <a:gd name="T92" fmla="*/ 122 w 392"/>
                  <a:gd name="T93" fmla="*/ 262 h 450"/>
                  <a:gd name="T94" fmla="*/ 136 w 392"/>
                  <a:gd name="T95" fmla="*/ 288 h 450"/>
                  <a:gd name="T96" fmla="*/ 152 w 392"/>
                  <a:gd name="T97" fmla="*/ 312 h 450"/>
                  <a:gd name="T98" fmla="*/ 172 w 392"/>
                  <a:gd name="T99" fmla="*/ 336 h 450"/>
                  <a:gd name="T100" fmla="*/ 194 w 392"/>
                  <a:gd name="T101" fmla="*/ 358 h 450"/>
                  <a:gd name="T102" fmla="*/ 218 w 392"/>
                  <a:gd name="T103" fmla="*/ 378 h 450"/>
                  <a:gd name="T104" fmla="*/ 246 w 392"/>
                  <a:gd name="T105" fmla="*/ 396 h 450"/>
                  <a:gd name="T106" fmla="*/ 280 w 392"/>
                  <a:gd name="T107" fmla="*/ 412 h 450"/>
                  <a:gd name="T108" fmla="*/ 280 w 392"/>
                  <a:gd name="T109" fmla="*/ 412 h 450"/>
                  <a:gd name="T110" fmla="*/ 324 w 392"/>
                  <a:gd name="T111" fmla="*/ 430 h 450"/>
                  <a:gd name="T112" fmla="*/ 360 w 392"/>
                  <a:gd name="T113" fmla="*/ 442 h 450"/>
                  <a:gd name="T114" fmla="*/ 392 w 392"/>
                  <a:gd name="T115" fmla="*/ 450 h 450"/>
                  <a:gd name="T116" fmla="*/ 392 w 392"/>
                  <a:gd name="T117"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 h="450">
                    <a:moveTo>
                      <a:pt x="392" y="450"/>
                    </a:moveTo>
                    <a:lnTo>
                      <a:pt x="392" y="450"/>
                    </a:lnTo>
                    <a:lnTo>
                      <a:pt x="384" y="378"/>
                    </a:lnTo>
                    <a:lnTo>
                      <a:pt x="384" y="378"/>
                    </a:lnTo>
                    <a:lnTo>
                      <a:pt x="374" y="350"/>
                    </a:lnTo>
                    <a:lnTo>
                      <a:pt x="374" y="350"/>
                    </a:lnTo>
                    <a:lnTo>
                      <a:pt x="362" y="328"/>
                    </a:lnTo>
                    <a:lnTo>
                      <a:pt x="352" y="308"/>
                    </a:lnTo>
                    <a:lnTo>
                      <a:pt x="340" y="290"/>
                    </a:lnTo>
                    <a:lnTo>
                      <a:pt x="328" y="274"/>
                    </a:lnTo>
                    <a:lnTo>
                      <a:pt x="314" y="258"/>
                    </a:lnTo>
                    <a:lnTo>
                      <a:pt x="302" y="244"/>
                    </a:lnTo>
                    <a:lnTo>
                      <a:pt x="274" y="220"/>
                    </a:lnTo>
                    <a:lnTo>
                      <a:pt x="244" y="198"/>
                    </a:lnTo>
                    <a:lnTo>
                      <a:pt x="214" y="176"/>
                    </a:lnTo>
                    <a:lnTo>
                      <a:pt x="180" y="154"/>
                    </a:lnTo>
                    <a:lnTo>
                      <a:pt x="144" y="132"/>
                    </a:lnTo>
                    <a:lnTo>
                      <a:pt x="144" y="132"/>
                    </a:lnTo>
                    <a:lnTo>
                      <a:pt x="180" y="148"/>
                    </a:lnTo>
                    <a:lnTo>
                      <a:pt x="212" y="166"/>
                    </a:lnTo>
                    <a:lnTo>
                      <a:pt x="240" y="184"/>
                    </a:lnTo>
                    <a:lnTo>
                      <a:pt x="268" y="202"/>
                    </a:lnTo>
                    <a:lnTo>
                      <a:pt x="296" y="222"/>
                    </a:lnTo>
                    <a:lnTo>
                      <a:pt x="322" y="246"/>
                    </a:lnTo>
                    <a:lnTo>
                      <a:pt x="346" y="270"/>
                    </a:lnTo>
                    <a:lnTo>
                      <a:pt x="372" y="298"/>
                    </a:lnTo>
                    <a:lnTo>
                      <a:pt x="372" y="298"/>
                    </a:lnTo>
                    <a:lnTo>
                      <a:pt x="364" y="266"/>
                    </a:lnTo>
                    <a:lnTo>
                      <a:pt x="354" y="236"/>
                    </a:lnTo>
                    <a:lnTo>
                      <a:pt x="342" y="208"/>
                    </a:lnTo>
                    <a:lnTo>
                      <a:pt x="324" y="180"/>
                    </a:lnTo>
                    <a:lnTo>
                      <a:pt x="304" y="156"/>
                    </a:lnTo>
                    <a:lnTo>
                      <a:pt x="292" y="144"/>
                    </a:lnTo>
                    <a:lnTo>
                      <a:pt x="278" y="132"/>
                    </a:lnTo>
                    <a:lnTo>
                      <a:pt x="264" y="122"/>
                    </a:lnTo>
                    <a:lnTo>
                      <a:pt x="248" y="112"/>
                    </a:lnTo>
                    <a:lnTo>
                      <a:pt x="230" y="102"/>
                    </a:lnTo>
                    <a:lnTo>
                      <a:pt x="212" y="92"/>
                    </a:lnTo>
                    <a:lnTo>
                      <a:pt x="0" y="0"/>
                    </a:lnTo>
                    <a:lnTo>
                      <a:pt x="0" y="0"/>
                    </a:lnTo>
                    <a:lnTo>
                      <a:pt x="18" y="30"/>
                    </a:lnTo>
                    <a:lnTo>
                      <a:pt x="34" y="60"/>
                    </a:lnTo>
                    <a:lnTo>
                      <a:pt x="50" y="90"/>
                    </a:lnTo>
                    <a:lnTo>
                      <a:pt x="62" y="120"/>
                    </a:lnTo>
                    <a:lnTo>
                      <a:pt x="86" y="180"/>
                    </a:lnTo>
                    <a:lnTo>
                      <a:pt x="110" y="236"/>
                    </a:lnTo>
                    <a:lnTo>
                      <a:pt x="122" y="262"/>
                    </a:lnTo>
                    <a:lnTo>
                      <a:pt x="136" y="288"/>
                    </a:lnTo>
                    <a:lnTo>
                      <a:pt x="152" y="312"/>
                    </a:lnTo>
                    <a:lnTo>
                      <a:pt x="172" y="336"/>
                    </a:lnTo>
                    <a:lnTo>
                      <a:pt x="194" y="358"/>
                    </a:lnTo>
                    <a:lnTo>
                      <a:pt x="218" y="378"/>
                    </a:lnTo>
                    <a:lnTo>
                      <a:pt x="246" y="396"/>
                    </a:lnTo>
                    <a:lnTo>
                      <a:pt x="280" y="412"/>
                    </a:lnTo>
                    <a:lnTo>
                      <a:pt x="280" y="412"/>
                    </a:lnTo>
                    <a:lnTo>
                      <a:pt x="324" y="430"/>
                    </a:lnTo>
                    <a:lnTo>
                      <a:pt x="360" y="442"/>
                    </a:lnTo>
                    <a:lnTo>
                      <a:pt x="392" y="450"/>
                    </a:lnTo>
                    <a:lnTo>
                      <a:pt x="392" y="4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58" name="Freeform 81">
                <a:extLst>
                  <a:ext uri="{FF2B5EF4-FFF2-40B4-BE49-F238E27FC236}">
                    <a16:creationId xmlns:a16="http://schemas.microsoft.com/office/drawing/2014/main" id="{DF383AC7-8DC3-4DE9-8950-85B8832F4E8F}"/>
                  </a:ext>
                </a:extLst>
              </p:cNvPr>
              <p:cNvSpPr>
                <a:spLocks/>
              </p:cNvSpPr>
              <p:nvPr/>
            </p:nvSpPr>
            <p:spPr bwMode="auto">
              <a:xfrm>
                <a:off x="5399" y="1658"/>
                <a:ext cx="252" cy="558"/>
              </a:xfrm>
              <a:custGeom>
                <a:avLst/>
                <a:gdLst>
                  <a:gd name="T0" fmla="*/ 2 w 252"/>
                  <a:gd name="T1" fmla="*/ 442 h 558"/>
                  <a:gd name="T2" fmla="*/ 2 w 252"/>
                  <a:gd name="T3" fmla="*/ 442 h 558"/>
                  <a:gd name="T4" fmla="*/ 4 w 252"/>
                  <a:gd name="T5" fmla="*/ 466 h 558"/>
                  <a:gd name="T6" fmla="*/ 4 w 252"/>
                  <a:gd name="T7" fmla="*/ 466 h 558"/>
                  <a:gd name="T8" fmla="*/ 26 w 252"/>
                  <a:gd name="T9" fmla="*/ 426 h 558"/>
                  <a:gd name="T10" fmla="*/ 46 w 252"/>
                  <a:gd name="T11" fmla="*/ 390 h 558"/>
                  <a:gd name="T12" fmla="*/ 66 w 252"/>
                  <a:gd name="T13" fmla="*/ 358 h 558"/>
                  <a:gd name="T14" fmla="*/ 88 w 252"/>
                  <a:gd name="T15" fmla="*/ 328 h 558"/>
                  <a:gd name="T16" fmla="*/ 110 w 252"/>
                  <a:gd name="T17" fmla="*/ 302 h 558"/>
                  <a:gd name="T18" fmla="*/ 136 w 252"/>
                  <a:gd name="T19" fmla="*/ 276 h 558"/>
                  <a:gd name="T20" fmla="*/ 164 w 252"/>
                  <a:gd name="T21" fmla="*/ 248 h 558"/>
                  <a:gd name="T22" fmla="*/ 200 w 252"/>
                  <a:gd name="T23" fmla="*/ 222 h 558"/>
                  <a:gd name="T24" fmla="*/ 200 w 252"/>
                  <a:gd name="T25" fmla="*/ 222 h 558"/>
                  <a:gd name="T26" fmla="*/ 142 w 252"/>
                  <a:gd name="T27" fmla="*/ 282 h 558"/>
                  <a:gd name="T28" fmla="*/ 118 w 252"/>
                  <a:gd name="T29" fmla="*/ 308 h 558"/>
                  <a:gd name="T30" fmla="*/ 96 w 252"/>
                  <a:gd name="T31" fmla="*/ 336 h 558"/>
                  <a:gd name="T32" fmla="*/ 78 w 252"/>
                  <a:gd name="T33" fmla="*/ 364 h 558"/>
                  <a:gd name="T34" fmla="*/ 62 w 252"/>
                  <a:gd name="T35" fmla="*/ 398 h 558"/>
                  <a:gd name="T36" fmla="*/ 46 w 252"/>
                  <a:gd name="T37" fmla="*/ 436 h 558"/>
                  <a:gd name="T38" fmla="*/ 30 w 252"/>
                  <a:gd name="T39" fmla="*/ 484 h 558"/>
                  <a:gd name="T40" fmla="*/ 30 w 252"/>
                  <a:gd name="T41" fmla="*/ 484 h 558"/>
                  <a:gd name="T42" fmla="*/ 24 w 252"/>
                  <a:gd name="T43" fmla="*/ 510 h 558"/>
                  <a:gd name="T44" fmla="*/ 20 w 252"/>
                  <a:gd name="T45" fmla="*/ 538 h 558"/>
                  <a:gd name="T46" fmla="*/ 16 w 252"/>
                  <a:gd name="T47" fmla="*/ 534 h 558"/>
                  <a:gd name="T48" fmla="*/ 16 w 252"/>
                  <a:gd name="T49" fmla="*/ 534 h 558"/>
                  <a:gd name="T50" fmla="*/ 22 w 252"/>
                  <a:gd name="T51" fmla="*/ 558 h 558"/>
                  <a:gd name="T52" fmla="*/ 22 w 252"/>
                  <a:gd name="T53" fmla="*/ 558 h 558"/>
                  <a:gd name="T54" fmla="*/ 68 w 252"/>
                  <a:gd name="T55" fmla="*/ 526 h 558"/>
                  <a:gd name="T56" fmla="*/ 112 w 252"/>
                  <a:gd name="T57" fmla="*/ 496 h 558"/>
                  <a:gd name="T58" fmla="*/ 154 w 252"/>
                  <a:gd name="T59" fmla="*/ 464 h 558"/>
                  <a:gd name="T60" fmla="*/ 172 w 252"/>
                  <a:gd name="T61" fmla="*/ 446 h 558"/>
                  <a:gd name="T62" fmla="*/ 190 w 252"/>
                  <a:gd name="T63" fmla="*/ 428 h 558"/>
                  <a:gd name="T64" fmla="*/ 204 w 252"/>
                  <a:gd name="T65" fmla="*/ 410 h 558"/>
                  <a:gd name="T66" fmla="*/ 218 w 252"/>
                  <a:gd name="T67" fmla="*/ 390 h 558"/>
                  <a:gd name="T68" fmla="*/ 230 w 252"/>
                  <a:gd name="T69" fmla="*/ 368 h 558"/>
                  <a:gd name="T70" fmla="*/ 240 w 252"/>
                  <a:gd name="T71" fmla="*/ 346 h 558"/>
                  <a:gd name="T72" fmla="*/ 246 w 252"/>
                  <a:gd name="T73" fmla="*/ 320 h 558"/>
                  <a:gd name="T74" fmla="*/ 250 w 252"/>
                  <a:gd name="T75" fmla="*/ 294 h 558"/>
                  <a:gd name="T76" fmla="*/ 252 w 252"/>
                  <a:gd name="T77" fmla="*/ 264 h 558"/>
                  <a:gd name="T78" fmla="*/ 252 w 252"/>
                  <a:gd name="T79" fmla="*/ 232 h 558"/>
                  <a:gd name="T80" fmla="*/ 234 w 252"/>
                  <a:gd name="T81" fmla="*/ 0 h 558"/>
                  <a:gd name="T82" fmla="*/ 234 w 252"/>
                  <a:gd name="T83" fmla="*/ 0 h 558"/>
                  <a:gd name="T84" fmla="*/ 216 w 252"/>
                  <a:gd name="T85" fmla="*/ 32 h 558"/>
                  <a:gd name="T86" fmla="*/ 196 w 252"/>
                  <a:gd name="T87" fmla="*/ 60 h 558"/>
                  <a:gd name="T88" fmla="*/ 178 w 252"/>
                  <a:gd name="T89" fmla="*/ 88 h 558"/>
                  <a:gd name="T90" fmla="*/ 156 w 252"/>
                  <a:gd name="T91" fmla="*/ 114 h 558"/>
                  <a:gd name="T92" fmla="*/ 116 w 252"/>
                  <a:gd name="T93" fmla="*/ 162 h 558"/>
                  <a:gd name="T94" fmla="*/ 78 w 252"/>
                  <a:gd name="T95" fmla="*/ 208 h 558"/>
                  <a:gd name="T96" fmla="*/ 60 w 252"/>
                  <a:gd name="T97" fmla="*/ 232 h 558"/>
                  <a:gd name="T98" fmla="*/ 44 w 252"/>
                  <a:gd name="T99" fmla="*/ 258 h 558"/>
                  <a:gd name="T100" fmla="*/ 30 w 252"/>
                  <a:gd name="T101" fmla="*/ 284 h 558"/>
                  <a:gd name="T102" fmla="*/ 18 w 252"/>
                  <a:gd name="T103" fmla="*/ 310 h 558"/>
                  <a:gd name="T104" fmla="*/ 10 w 252"/>
                  <a:gd name="T105" fmla="*/ 340 h 558"/>
                  <a:gd name="T106" fmla="*/ 4 w 252"/>
                  <a:gd name="T107" fmla="*/ 372 h 558"/>
                  <a:gd name="T108" fmla="*/ 0 w 252"/>
                  <a:gd name="T109" fmla="*/ 406 h 558"/>
                  <a:gd name="T110" fmla="*/ 2 w 252"/>
                  <a:gd name="T111" fmla="*/ 442 h 558"/>
                  <a:gd name="T112" fmla="*/ 2 w 252"/>
                  <a:gd name="T113" fmla="*/ 442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2" h="558">
                    <a:moveTo>
                      <a:pt x="2" y="442"/>
                    </a:moveTo>
                    <a:lnTo>
                      <a:pt x="2" y="442"/>
                    </a:lnTo>
                    <a:lnTo>
                      <a:pt x="4" y="466"/>
                    </a:lnTo>
                    <a:lnTo>
                      <a:pt x="4" y="466"/>
                    </a:lnTo>
                    <a:lnTo>
                      <a:pt x="26" y="426"/>
                    </a:lnTo>
                    <a:lnTo>
                      <a:pt x="46" y="390"/>
                    </a:lnTo>
                    <a:lnTo>
                      <a:pt x="66" y="358"/>
                    </a:lnTo>
                    <a:lnTo>
                      <a:pt x="88" y="328"/>
                    </a:lnTo>
                    <a:lnTo>
                      <a:pt x="110" y="302"/>
                    </a:lnTo>
                    <a:lnTo>
                      <a:pt x="136" y="276"/>
                    </a:lnTo>
                    <a:lnTo>
                      <a:pt x="164" y="248"/>
                    </a:lnTo>
                    <a:lnTo>
                      <a:pt x="200" y="222"/>
                    </a:lnTo>
                    <a:lnTo>
                      <a:pt x="200" y="222"/>
                    </a:lnTo>
                    <a:lnTo>
                      <a:pt x="142" y="282"/>
                    </a:lnTo>
                    <a:lnTo>
                      <a:pt x="118" y="308"/>
                    </a:lnTo>
                    <a:lnTo>
                      <a:pt x="96" y="336"/>
                    </a:lnTo>
                    <a:lnTo>
                      <a:pt x="78" y="364"/>
                    </a:lnTo>
                    <a:lnTo>
                      <a:pt x="62" y="398"/>
                    </a:lnTo>
                    <a:lnTo>
                      <a:pt x="46" y="436"/>
                    </a:lnTo>
                    <a:lnTo>
                      <a:pt x="30" y="484"/>
                    </a:lnTo>
                    <a:lnTo>
                      <a:pt x="30" y="484"/>
                    </a:lnTo>
                    <a:lnTo>
                      <a:pt x="24" y="510"/>
                    </a:lnTo>
                    <a:lnTo>
                      <a:pt x="20" y="538"/>
                    </a:lnTo>
                    <a:lnTo>
                      <a:pt x="16" y="534"/>
                    </a:lnTo>
                    <a:lnTo>
                      <a:pt x="16" y="534"/>
                    </a:lnTo>
                    <a:lnTo>
                      <a:pt x="22" y="558"/>
                    </a:lnTo>
                    <a:lnTo>
                      <a:pt x="22" y="558"/>
                    </a:lnTo>
                    <a:lnTo>
                      <a:pt x="68" y="526"/>
                    </a:lnTo>
                    <a:lnTo>
                      <a:pt x="112" y="496"/>
                    </a:lnTo>
                    <a:lnTo>
                      <a:pt x="154" y="464"/>
                    </a:lnTo>
                    <a:lnTo>
                      <a:pt x="172" y="446"/>
                    </a:lnTo>
                    <a:lnTo>
                      <a:pt x="190" y="428"/>
                    </a:lnTo>
                    <a:lnTo>
                      <a:pt x="204" y="410"/>
                    </a:lnTo>
                    <a:lnTo>
                      <a:pt x="218" y="390"/>
                    </a:lnTo>
                    <a:lnTo>
                      <a:pt x="230" y="368"/>
                    </a:lnTo>
                    <a:lnTo>
                      <a:pt x="240" y="346"/>
                    </a:lnTo>
                    <a:lnTo>
                      <a:pt x="246" y="320"/>
                    </a:lnTo>
                    <a:lnTo>
                      <a:pt x="250" y="294"/>
                    </a:lnTo>
                    <a:lnTo>
                      <a:pt x="252" y="264"/>
                    </a:lnTo>
                    <a:lnTo>
                      <a:pt x="252" y="232"/>
                    </a:lnTo>
                    <a:lnTo>
                      <a:pt x="234" y="0"/>
                    </a:lnTo>
                    <a:lnTo>
                      <a:pt x="234" y="0"/>
                    </a:lnTo>
                    <a:lnTo>
                      <a:pt x="216" y="32"/>
                    </a:lnTo>
                    <a:lnTo>
                      <a:pt x="196" y="60"/>
                    </a:lnTo>
                    <a:lnTo>
                      <a:pt x="178" y="88"/>
                    </a:lnTo>
                    <a:lnTo>
                      <a:pt x="156" y="114"/>
                    </a:lnTo>
                    <a:lnTo>
                      <a:pt x="116" y="162"/>
                    </a:lnTo>
                    <a:lnTo>
                      <a:pt x="78" y="208"/>
                    </a:lnTo>
                    <a:lnTo>
                      <a:pt x="60" y="232"/>
                    </a:lnTo>
                    <a:lnTo>
                      <a:pt x="44" y="258"/>
                    </a:lnTo>
                    <a:lnTo>
                      <a:pt x="30" y="284"/>
                    </a:lnTo>
                    <a:lnTo>
                      <a:pt x="18" y="310"/>
                    </a:lnTo>
                    <a:lnTo>
                      <a:pt x="10" y="340"/>
                    </a:lnTo>
                    <a:lnTo>
                      <a:pt x="4" y="372"/>
                    </a:lnTo>
                    <a:lnTo>
                      <a:pt x="0" y="406"/>
                    </a:lnTo>
                    <a:lnTo>
                      <a:pt x="2" y="442"/>
                    </a:lnTo>
                    <a:lnTo>
                      <a:pt x="2"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59" name="Freeform 82">
                <a:extLst>
                  <a:ext uri="{FF2B5EF4-FFF2-40B4-BE49-F238E27FC236}">
                    <a16:creationId xmlns:a16="http://schemas.microsoft.com/office/drawing/2014/main" id="{7DE89718-99B4-4183-94E7-8D153213FCD6}"/>
                  </a:ext>
                </a:extLst>
              </p:cNvPr>
              <p:cNvSpPr>
                <a:spLocks/>
              </p:cNvSpPr>
              <p:nvPr/>
            </p:nvSpPr>
            <p:spPr bwMode="auto">
              <a:xfrm>
                <a:off x="5173" y="2274"/>
                <a:ext cx="462" cy="448"/>
              </a:xfrm>
              <a:custGeom>
                <a:avLst/>
                <a:gdLst>
                  <a:gd name="T0" fmla="*/ 72 w 462"/>
                  <a:gd name="T1" fmla="*/ 298 h 448"/>
                  <a:gd name="T2" fmla="*/ 72 w 462"/>
                  <a:gd name="T3" fmla="*/ 298 h 448"/>
                  <a:gd name="T4" fmla="*/ 100 w 462"/>
                  <a:gd name="T5" fmla="*/ 278 h 448"/>
                  <a:gd name="T6" fmla="*/ 128 w 462"/>
                  <a:gd name="T7" fmla="*/ 262 h 448"/>
                  <a:gd name="T8" fmla="*/ 154 w 462"/>
                  <a:gd name="T9" fmla="*/ 246 h 448"/>
                  <a:gd name="T10" fmla="*/ 182 w 462"/>
                  <a:gd name="T11" fmla="*/ 232 h 448"/>
                  <a:gd name="T12" fmla="*/ 212 w 462"/>
                  <a:gd name="T13" fmla="*/ 218 h 448"/>
                  <a:gd name="T14" fmla="*/ 242 w 462"/>
                  <a:gd name="T15" fmla="*/ 206 h 448"/>
                  <a:gd name="T16" fmla="*/ 310 w 462"/>
                  <a:gd name="T17" fmla="*/ 184 h 448"/>
                  <a:gd name="T18" fmla="*/ 310 w 462"/>
                  <a:gd name="T19" fmla="*/ 184 h 448"/>
                  <a:gd name="T20" fmla="*/ 236 w 462"/>
                  <a:gd name="T21" fmla="*/ 218 h 448"/>
                  <a:gd name="T22" fmla="*/ 202 w 462"/>
                  <a:gd name="T23" fmla="*/ 234 h 448"/>
                  <a:gd name="T24" fmla="*/ 170 w 462"/>
                  <a:gd name="T25" fmla="*/ 250 h 448"/>
                  <a:gd name="T26" fmla="*/ 138 w 462"/>
                  <a:gd name="T27" fmla="*/ 268 h 448"/>
                  <a:gd name="T28" fmla="*/ 110 w 462"/>
                  <a:gd name="T29" fmla="*/ 290 h 448"/>
                  <a:gd name="T30" fmla="*/ 80 w 462"/>
                  <a:gd name="T31" fmla="*/ 316 h 448"/>
                  <a:gd name="T32" fmla="*/ 66 w 462"/>
                  <a:gd name="T33" fmla="*/ 330 h 448"/>
                  <a:gd name="T34" fmla="*/ 54 w 462"/>
                  <a:gd name="T35" fmla="*/ 346 h 448"/>
                  <a:gd name="T36" fmla="*/ 54 w 462"/>
                  <a:gd name="T37" fmla="*/ 346 h 448"/>
                  <a:gd name="T38" fmla="*/ 34 w 462"/>
                  <a:gd name="T39" fmla="*/ 384 h 448"/>
                  <a:gd name="T40" fmla="*/ 18 w 462"/>
                  <a:gd name="T41" fmla="*/ 418 h 448"/>
                  <a:gd name="T42" fmla="*/ 0 w 462"/>
                  <a:gd name="T43" fmla="*/ 448 h 448"/>
                  <a:gd name="T44" fmla="*/ 0 w 462"/>
                  <a:gd name="T45" fmla="*/ 448 h 448"/>
                  <a:gd name="T46" fmla="*/ 58 w 462"/>
                  <a:gd name="T47" fmla="*/ 438 h 448"/>
                  <a:gd name="T48" fmla="*/ 116 w 462"/>
                  <a:gd name="T49" fmla="*/ 424 h 448"/>
                  <a:gd name="T50" fmla="*/ 144 w 462"/>
                  <a:gd name="T51" fmla="*/ 416 h 448"/>
                  <a:gd name="T52" fmla="*/ 172 w 462"/>
                  <a:gd name="T53" fmla="*/ 408 h 448"/>
                  <a:gd name="T54" fmla="*/ 200 w 462"/>
                  <a:gd name="T55" fmla="*/ 396 h 448"/>
                  <a:gd name="T56" fmla="*/ 226 w 462"/>
                  <a:gd name="T57" fmla="*/ 384 h 448"/>
                  <a:gd name="T58" fmla="*/ 252 w 462"/>
                  <a:gd name="T59" fmla="*/ 372 h 448"/>
                  <a:gd name="T60" fmla="*/ 276 w 462"/>
                  <a:gd name="T61" fmla="*/ 356 h 448"/>
                  <a:gd name="T62" fmla="*/ 298 w 462"/>
                  <a:gd name="T63" fmla="*/ 340 h 448"/>
                  <a:gd name="T64" fmla="*/ 320 w 462"/>
                  <a:gd name="T65" fmla="*/ 320 h 448"/>
                  <a:gd name="T66" fmla="*/ 338 w 462"/>
                  <a:gd name="T67" fmla="*/ 298 h 448"/>
                  <a:gd name="T68" fmla="*/ 356 w 462"/>
                  <a:gd name="T69" fmla="*/ 274 h 448"/>
                  <a:gd name="T70" fmla="*/ 372 w 462"/>
                  <a:gd name="T71" fmla="*/ 246 h 448"/>
                  <a:gd name="T72" fmla="*/ 384 w 462"/>
                  <a:gd name="T73" fmla="*/ 216 h 448"/>
                  <a:gd name="T74" fmla="*/ 462 w 462"/>
                  <a:gd name="T75" fmla="*/ 0 h 448"/>
                  <a:gd name="T76" fmla="*/ 462 w 462"/>
                  <a:gd name="T77" fmla="*/ 0 h 448"/>
                  <a:gd name="T78" fmla="*/ 434 w 462"/>
                  <a:gd name="T79" fmla="*/ 20 h 448"/>
                  <a:gd name="T80" fmla="*/ 406 w 462"/>
                  <a:gd name="T81" fmla="*/ 38 h 448"/>
                  <a:gd name="T82" fmla="*/ 376 w 462"/>
                  <a:gd name="T83" fmla="*/ 54 h 448"/>
                  <a:gd name="T84" fmla="*/ 348 w 462"/>
                  <a:gd name="T85" fmla="*/ 70 h 448"/>
                  <a:gd name="T86" fmla="*/ 292 w 462"/>
                  <a:gd name="T87" fmla="*/ 96 h 448"/>
                  <a:gd name="T88" fmla="*/ 238 w 462"/>
                  <a:gd name="T89" fmla="*/ 122 h 448"/>
                  <a:gd name="T90" fmla="*/ 212 w 462"/>
                  <a:gd name="T91" fmla="*/ 136 h 448"/>
                  <a:gd name="T92" fmla="*/ 188 w 462"/>
                  <a:gd name="T93" fmla="*/ 152 h 448"/>
                  <a:gd name="T94" fmla="*/ 164 w 462"/>
                  <a:gd name="T95" fmla="*/ 170 h 448"/>
                  <a:gd name="T96" fmla="*/ 144 w 462"/>
                  <a:gd name="T97" fmla="*/ 190 h 448"/>
                  <a:gd name="T98" fmla="*/ 122 w 462"/>
                  <a:gd name="T99" fmla="*/ 212 h 448"/>
                  <a:gd name="T100" fmla="*/ 104 w 462"/>
                  <a:gd name="T101" fmla="*/ 236 h 448"/>
                  <a:gd name="T102" fmla="*/ 88 w 462"/>
                  <a:gd name="T103" fmla="*/ 264 h 448"/>
                  <a:gd name="T104" fmla="*/ 72 w 462"/>
                  <a:gd name="T105" fmla="*/ 298 h 448"/>
                  <a:gd name="T106" fmla="*/ 72 w 462"/>
                  <a:gd name="T107" fmla="*/ 29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2" h="448">
                    <a:moveTo>
                      <a:pt x="72" y="298"/>
                    </a:moveTo>
                    <a:lnTo>
                      <a:pt x="72" y="298"/>
                    </a:lnTo>
                    <a:lnTo>
                      <a:pt x="100" y="278"/>
                    </a:lnTo>
                    <a:lnTo>
                      <a:pt x="128" y="262"/>
                    </a:lnTo>
                    <a:lnTo>
                      <a:pt x="154" y="246"/>
                    </a:lnTo>
                    <a:lnTo>
                      <a:pt x="182" y="232"/>
                    </a:lnTo>
                    <a:lnTo>
                      <a:pt x="212" y="218"/>
                    </a:lnTo>
                    <a:lnTo>
                      <a:pt x="242" y="206"/>
                    </a:lnTo>
                    <a:lnTo>
                      <a:pt x="310" y="184"/>
                    </a:lnTo>
                    <a:lnTo>
                      <a:pt x="310" y="184"/>
                    </a:lnTo>
                    <a:lnTo>
                      <a:pt x="236" y="218"/>
                    </a:lnTo>
                    <a:lnTo>
                      <a:pt x="202" y="234"/>
                    </a:lnTo>
                    <a:lnTo>
                      <a:pt x="170" y="250"/>
                    </a:lnTo>
                    <a:lnTo>
                      <a:pt x="138" y="268"/>
                    </a:lnTo>
                    <a:lnTo>
                      <a:pt x="110" y="290"/>
                    </a:lnTo>
                    <a:lnTo>
                      <a:pt x="80" y="316"/>
                    </a:lnTo>
                    <a:lnTo>
                      <a:pt x="66" y="330"/>
                    </a:lnTo>
                    <a:lnTo>
                      <a:pt x="54" y="346"/>
                    </a:lnTo>
                    <a:lnTo>
                      <a:pt x="54" y="346"/>
                    </a:lnTo>
                    <a:lnTo>
                      <a:pt x="34" y="384"/>
                    </a:lnTo>
                    <a:lnTo>
                      <a:pt x="18" y="418"/>
                    </a:lnTo>
                    <a:lnTo>
                      <a:pt x="0" y="448"/>
                    </a:lnTo>
                    <a:lnTo>
                      <a:pt x="0" y="448"/>
                    </a:lnTo>
                    <a:lnTo>
                      <a:pt x="58" y="438"/>
                    </a:lnTo>
                    <a:lnTo>
                      <a:pt x="116" y="424"/>
                    </a:lnTo>
                    <a:lnTo>
                      <a:pt x="144" y="416"/>
                    </a:lnTo>
                    <a:lnTo>
                      <a:pt x="172" y="408"/>
                    </a:lnTo>
                    <a:lnTo>
                      <a:pt x="200" y="396"/>
                    </a:lnTo>
                    <a:lnTo>
                      <a:pt x="226" y="384"/>
                    </a:lnTo>
                    <a:lnTo>
                      <a:pt x="252" y="372"/>
                    </a:lnTo>
                    <a:lnTo>
                      <a:pt x="276" y="356"/>
                    </a:lnTo>
                    <a:lnTo>
                      <a:pt x="298" y="340"/>
                    </a:lnTo>
                    <a:lnTo>
                      <a:pt x="320" y="320"/>
                    </a:lnTo>
                    <a:lnTo>
                      <a:pt x="338" y="298"/>
                    </a:lnTo>
                    <a:lnTo>
                      <a:pt x="356" y="274"/>
                    </a:lnTo>
                    <a:lnTo>
                      <a:pt x="372" y="246"/>
                    </a:lnTo>
                    <a:lnTo>
                      <a:pt x="384" y="216"/>
                    </a:lnTo>
                    <a:lnTo>
                      <a:pt x="462" y="0"/>
                    </a:lnTo>
                    <a:lnTo>
                      <a:pt x="462" y="0"/>
                    </a:lnTo>
                    <a:lnTo>
                      <a:pt x="434" y="20"/>
                    </a:lnTo>
                    <a:lnTo>
                      <a:pt x="406" y="38"/>
                    </a:lnTo>
                    <a:lnTo>
                      <a:pt x="376" y="54"/>
                    </a:lnTo>
                    <a:lnTo>
                      <a:pt x="348" y="70"/>
                    </a:lnTo>
                    <a:lnTo>
                      <a:pt x="292" y="96"/>
                    </a:lnTo>
                    <a:lnTo>
                      <a:pt x="238" y="122"/>
                    </a:lnTo>
                    <a:lnTo>
                      <a:pt x="212" y="136"/>
                    </a:lnTo>
                    <a:lnTo>
                      <a:pt x="188" y="152"/>
                    </a:lnTo>
                    <a:lnTo>
                      <a:pt x="164" y="170"/>
                    </a:lnTo>
                    <a:lnTo>
                      <a:pt x="144" y="190"/>
                    </a:lnTo>
                    <a:lnTo>
                      <a:pt x="122" y="212"/>
                    </a:lnTo>
                    <a:lnTo>
                      <a:pt x="104" y="236"/>
                    </a:lnTo>
                    <a:lnTo>
                      <a:pt x="88" y="264"/>
                    </a:lnTo>
                    <a:lnTo>
                      <a:pt x="72" y="298"/>
                    </a:lnTo>
                    <a:lnTo>
                      <a:pt x="72"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60" name="Freeform 83">
                <a:extLst>
                  <a:ext uri="{FF2B5EF4-FFF2-40B4-BE49-F238E27FC236}">
                    <a16:creationId xmlns:a16="http://schemas.microsoft.com/office/drawing/2014/main" id="{5C926C95-1AB9-4FAE-AB51-D79EB07B6434}"/>
                  </a:ext>
                </a:extLst>
              </p:cNvPr>
              <p:cNvSpPr>
                <a:spLocks/>
              </p:cNvSpPr>
              <p:nvPr/>
            </p:nvSpPr>
            <p:spPr bwMode="auto">
              <a:xfrm>
                <a:off x="4919" y="2088"/>
                <a:ext cx="256" cy="630"/>
              </a:xfrm>
              <a:custGeom>
                <a:avLst/>
                <a:gdLst>
                  <a:gd name="T0" fmla="*/ 240 w 256"/>
                  <a:gd name="T1" fmla="*/ 494 h 630"/>
                  <a:gd name="T2" fmla="*/ 240 w 256"/>
                  <a:gd name="T3" fmla="*/ 494 h 630"/>
                  <a:gd name="T4" fmla="*/ 250 w 256"/>
                  <a:gd name="T5" fmla="*/ 450 h 630"/>
                  <a:gd name="T6" fmla="*/ 254 w 256"/>
                  <a:gd name="T7" fmla="*/ 408 h 630"/>
                  <a:gd name="T8" fmla="*/ 256 w 256"/>
                  <a:gd name="T9" fmla="*/ 366 h 630"/>
                  <a:gd name="T10" fmla="*/ 254 w 256"/>
                  <a:gd name="T11" fmla="*/ 346 h 630"/>
                  <a:gd name="T12" fmla="*/ 252 w 256"/>
                  <a:gd name="T13" fmla="*/ 326 h 630"/>
                  <a:gd name="T14" fmla="*/ 248 w 256"/>
                  <a:gd name="T15" fmla="*/ 306 h 630"/>
                  <a:gd name="T16" fmla="*/ 242 w 256"/>
                  <a:gd name="T17" fmla="*/ 286 h 630"/>
                  <a:gd name="T18" fmla="*/ 236 w 256"/>
                  <a:gd name="T19" fmla="*/ 266 h 630"/>
                  <a:gd name="T20" fmla="*/ 228 w 256"/>
                  <a:gd name="T21" fmla="*/ 248 h 630"/>
                  <a:gd name="T22" fmla="*/ 218 w 256"/>
                  <a:gd name="T23" fmla="*/ 228 h 630"/>
                  <a:gd name="T24" fmla="*/ 206 w 256"/>
                  <a:gd name="T25" fmla="*/ 210 h 630"/>
                  <a:gd name="T26" fmla="*/ 194 w 256"/>
                  <a:gd name="T27" fmla="*/ 192 h 630"/>
                  <a:gd name="T28" fmla="*/ 178 w 256"/>
                  <a:gd name="T29" fmla="*/ 174 h 630"/>
                  <a:gd name="T30" fmla="*/ 24 w 256"/>
                  <a:gd name="T31" fmla="*/ 0 h 630"/>
                  <a:gd name="T32" fmla="*/ 24 w 256"/>
                  <a:gd name="T33" fmla="*/ 0 h 630"/>
                  <a:gd name="T34" fmla="*/ 26 w 256"/>
                  <a:gd name="T35" fmla="*/ 38 h 630"/>
                  <a:gd name="T36" fmla="*/ 26 w 256"/>
                  <a:gd name="T37" fmla="*/ 76 h 630"/>
                  <a:gd name="T38" fmla="*/ 24 w 256"/>
                  <a:gd name="T39" fmla="*/ 112 h 630"/>
                  <a:gd name="T40" fmla="*/ 20 w 256"/>
                  <a:gd name="T41" fmla="*/ 148 h 630"/>
                  <a:gd name="T42" fmla="*/ 10 w 256"/>
                  <a:gd name="T43" fmla="*/ 218 h 630"/>
                  <a:gd name="T44" fmla="*/ 2 w 256"/>
                  <a:gd name="T45" fmla="*/ 284 h 630"/>
                  <a:gd name="T46" fmla="*/ 0 w 256"/>
                  <a:gd name="T47" fmla="*/ 316 h 630"/>
                  <a:gd name="T48" fmla="*/ 0 w 256"/>
                  <a:gd name="T49" fmla="*/ 348 h 630"/>
                  <a:gd name="T50" fmla="*/ 2 w 256"/>
                  <a:gd name="T51" fmla="*/ 380 h 630"/>
                  <a:gd name="T52" fmla="*/ 8 w 256"/>
                  <a:gd name="T53" fmla="*/ 410 h 630"/>
                  <a:gd name="T54" fmla="*/ 18 w 256"/>
                  <a:gd name="T55" fmla="*/ 440 h 630"/>
                  <a:gd name="T56" fmla="*/ 30 w 256"/>
                  <a:gd name="T57" fmla="*/ 470 h 630"/>
                  <a:gd name="T58" fmla="*/ 48 w 256"/>
                  <a:gd name="T59" fmla="*/ 500 h 630"/>
                  <a:gd name="T60" fmla="*/ 72 w 256"/>
                  <a:gd name="T61" fmla="*/ 530 h 630"/>
                  <a:gd name="T62" fmla="*/ 72 w 256"/>
                  <a:gd name="T63" fmla="*/ 530 h 630"/>
                  <a:gd name="T64" fmla="*/ 90 w 256"/>
                  <a:gd name="T65" fmla="*/ 548 h 630"/>
                  <a:gd name="T66" fmla="*/ 110 w 256"/>
                  <a:gd name="T67" fmla="*/ 566 h 630"/>
                  <a:gd name="T68" fmla="*/ 150 w 256"/>
                  <a:gd name="T69" fmla="*/ 600 h 630"/>
                  <a:gd name="T70" fmla="*/ 182 w 256"/>
                  <a:gd name="T71" fmla="*/ 622 h 630"/>
                  <a:gd name="T72" fmla="*/ 194 w 256"/>
                  <a:gd name="T73" fmla="*/ 630 h 630"/>
                  <a:gd name="T74" fmla="*/ 194 w 256"/>
                  <a:gd name="T75" fmla="*/ 630 h 630"/>
                  <a:gd name="T76" fmla="*/ 218 w 256"/>
                  <a:gd name="T77" fmla="*/ 566 h 630"/>
                  <a:gd name="T78" fmla="*/ 218 w 256"/>
                  <a:gd name="T79" fmla="*/ 566 h 630"/>
                  <a:gd name="T80" fmla="*/ 218 w 256"/>
                  <a:gd name="T81" fmla="*/ 542 h 630"/>
                  <a:gd name="T82" fmla="*/ 216 w 256"/>
                  <a:gd name="T83" fmla="*/ 516 h 630"/>
                  <a:gd name="T84" fmla="*/ 216 w 256"/>
                  <a:gd name="T85" fmla="*/ 516 h 630"/>
                  <a:gd name="T86" fmla="*/ 210 w 256"/>
                  <a:gd name="T87" fmla="*/ 492 h 630"/>
                  <a:gd name="T88" fmla="*/ 204 w 256"/>
                  <a:gd name="T89" fmla="*/ 470 h 630"/>
                  <a:gd name="T90" fmla="*/ 198 w 256"/>
                  <a:gd name="T91" fmla="*/ 448 h 630"/>
                  <a:gd name="T92" fmla="*/ 190 w 256"/>
                  <a:gd name="T93" fmla="*/ 430 h 630"/>
                  <a:gd name="T94" fmla="*/ 182 w 256"/>
                  <a:gd name="T95" fmla="*/ 410 h 630"/>
                  <a:gd name="T96" fmla="*/ 172 w 256"/>
                  <a:gd name="T97" fmla="*/ 394 h 630"/>
                  <a:gd name="T98" fmla="*/ 150 w 256"/>
                  <a:gd name="T99" fmla="*/ 362 h 630"/>
                  <a:gd name="T100" fmla="*/ 126 w 256"/>
                  <a:gd name="T101" fmla="*/ 332 h 630"/>
                  <a:gd name="T102" fmla="*/ 100 w 256"/>
                  <a:gd name="T103" fmla="*/ 302 h 630"/>
                  <a:gd name="T104" fmla="*/ 44 w 256"/>
                  <a:gd name="T105" fmla="*/ 236 h 630"/>
                  <a:gd name="T106" fmla="*/ 44 w 256"/>
                  <a:gd name="T107" fmla="*/ 236 h 630"/>
                  <a:gd name="T108" fmla="*/ 76 w 256"/>
                  <a:gd name="T109" fmla="*/ 266 h 630"/>
                  <a:gd name="T110" fmla="*/ 106 w 256"/>
                  <a:gd name="T111" fmla="*/ 294 h 630"/>
                  <a:gd name="T112" fmla="*/ 132 w 256"/>
                  <a:gd name="T113" fmla="*/ 324 h 630"/>
                  <a:gd name="T114" fmla="*/ 158 w 256"/>
                  <a:gd name="T115" fmla="*/ 352 h 630"/>
                  <a:gd name="T116" fmla="*/ 180 w 256"/>
                  <a:gd name="T117" fmla="*/ 384 h 630"/>
                  <a:gd name="T118" fmla="*/ 200 w 256"/>
                  <a:gd name="T119" fmla="*/ 418 h 630"/>
                  <a:gd name="T120" fmla="*/ 220 w 256"/>
                  <a:gd name="T121" fmla="*/ 454 h 630"/>
                  <a:gd name="T122" fmla="*/ 240 w 256"/>
                  <a:gd name="T123" fmla="*/ 494 h 630"/>
                  <a:gd name="T124" fmla="*/ 240 w 256"/>
                  <a:gd name="T125" fmla="*/ 494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6" h="630">
                    <a:moveTo>
                      <a:pt x="240" y="494"/>
                    </a:moveTo>
                    <a:lnTo>
                      <a:pt x="240" y="494"/>
                    </a:lnTo>
                    <a:lnTo>
                      <a:pt x="250" y="450"/>
                    </a:lnTo>
                    <a:lnTo>
                      <a:pt x="254" y="408"/>
                    </a:lnTo>
                    <a:lnTo>
                      <a:pt x="256" y="366"/>
                    </a:lnTo>
                    <a:lnTo>
                      <a:pt x="254" y="346"/>
                    </a:lnTo>
                    <a:lnTo>
                      <a:pt x="252" y="326"/>
                    </a:lnTo>
                    <a:lnTo>
                      <a:pt x="248" y="306"/>
                    </a:lnTo>
                    <a:lnTo>
                      <a:pt x="242" y="286"/>
                    </a:lnTo>
                    <a:lnTo>
                      <a:pt x="236" y="266"/>
                    </a:lnTo>
                    <a:lnTo>
                      <a:pt x="228" y="248"/>
                    </a:lnTo>
                    <a:lnTo>
                      <a:pt x="218" y="228"/>
                    </a:lnTo>
                    <a:lnTo>
                      <a:pt x="206" y="210"/>
                    </a:lnTo>
                    <a:lnTo>
                      <a:pt x="194" y="192"/>
                    </a:lnTo>
                    <a:lnTo>
                      <a:pt x="178" y="174"/>
                    </a:lnTo>
                    <a:lnTo>
                      <a:pt x="24" y="0"/>
                    </a:lnTo>
                    <a:lnTo>
                      <a:pt x="24" y="0"/>
                    </a:lnTo>
                    <a:lnTo>
                      <a:pt x="26" y="38"/>
                    </a:lnTo>
                    <a:lnTo>
                      <a:pt x="26" y="76"/>
                    </a:lnTo>
                    <a:lnTo>
                      <a:pt x="24" y="112"/>
                    </a:lnTo>
                    <a:lnTo>
                      <a:pt x="20" y="148"/>
                    </a:lnTo>
                    <a:lnTo>
                      <a:pt x="10" y="218"/>
                    </a:lnTo>
                    <a:lnTo>
                      <a:pt x="2" y="284"/>
                    </a:lnTo>
                    <a:lnTo>
                      <a:pt x="0" y="316"/>
                    </a:lnTo>
                    <a:lnTo>
                      <a:pt x="0" y="348"/>
                    </a:lnTo>
                    <a:lnTo>
                      <a:pt x="2" y="380"/>
                    </a:lnTo>
                    <a:lnTo>
                      <a:pt x="8" y="410"/>
                    </a:lnTo>
                    <a:lnTo>
                      <a:pt x="18" y="440"/>
                    </a:lnTo>
                    <a:lnTo>
                      <a:pt x="30" y="470"/>
                    </a:lnTo>
                    <a:lnTo>
                      <a:pt x="48" y="500"/>
                    </a:lnTo>
                    <a:lnTo>
                      <a:pt x="72" y="530"/>
                    </a:lnTo>
                    <a:lnTo>
                      <a:pt x="72" y="530"/>
                    </a:lnTo>
                    <a:lnTo>
                      <a:pt x="90" y="548"/>
                    </a:lnTo>
                    <a:lnTo>
                      <a:pt x="110" y="566"/>
                    </a:lnTo>
                    <a:lnTo>
                      <a:pt x="150" y="600"/>
                    </a:lnTo>
                    <a:lnTo>
                      <a:pt x="182" y="622"/>
                    </a:lnTo>
                    <a:lnTo>
                      <a:pt x="194" y="630"/>
                    </a:lnTo>
                    <a:lnTo>
                      <a:pt x="194" y="630"/>
                    </a:lnTo>
                    <a:lnTo>
                      <a:pt x="218" y="566"/>
                    </a:lnTo>
                    <a:lnTo>
                      <a:pt x="218" y="566"/>
                    </a:lnTo>
                    <a:lnTo>
                      <a:pt x="218" y="542"/>
                    </a:lnTo>
                    <a:lnTo>
                      <a:pt x="216" y="516"/>
                    </a:lnTo>
                    <a:lnTo>
                      <a:pt x="216" y="516"/>
                    </a:lnTo>
                    <a:lnTo>
                      <a:pt x="210" y="492"/>
                    </a:lnTo>
                    <a:lnTo>
                      <a:pt x="204" y="470"/>
                    </a:lnTo>
                    <a:lnTo>
                      <a:pt x="198" y="448"/>
                    </a:lnTo>
                    <a:lnTo>
                      <a:pt x="190" y="430"/>
                    </a:lnTo>
                    <a:lnTo>
                      <a:pt x="182" y="410"/>
                    </a:lnTo>
                    <a:lnTo>
                      <a:pt x="172" y="394"/>
                    </a:lnTo>
                    <a:lnTo>
                      <a:pt x="150" y="362"/>
                    </a:lnTo>
                    <a:lnTo>
                      <a:pt x="126" y="332"/>
                    </a:lnTo>
                    <a:lnTo>
                      <a:pt x="100" y="302"/>
                    </a:lnTo>
                    <a:lnTo>
                      <a:pt x="44" y="236"/>
                    </a:lnTo>
                    <a:lnTo>
                      <a:pt x="44" y="236"/>
                    </a:lnTo>
                    <a:lnTo>
                      <a:pt x="76" y="266"/>
                    </a:lnTo>
                    <a:lnTo>
                      <a:pt x="106" y="294"/>
                    </a:lnTo>
                    <a:lnTo>
                      <a:pt x="132" y="324"/>
                    </a:lnTo>
                    <a:lnTo>
                      <a:pt x="158" y="352"/>
                    </a:lnTo>
                    <a:lnTo>
                      <a:pt x="180" y="384"/>
                    </a:lnTo>
                    <a:lnTo>
                      <a:pt x="200" y="418"/>
                    </a:lnTo>
                    <a:lnTo>
                      <a:pt x="220" y="454"/>
                    </a:lnTo>
                    <a:lnTo>
                      <a:pt x="240" y="494"/>
                    </a:lnTo>
                    <a:lnTo>
                      <a:pt x="240" y="4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61" name="Freeform 84">
                <a:extLst>
                  <a:ext uri="{FF2B5EF4-FFF2-40B4-BE49-F238E27FC236}">
                    <a16:creationId xmlns:a16="http://schemas.microsoft.com/office/drawing/2014/main" id="{06E3DDFE-5516-4EEF-BB9C-091EBCA125EA}"/>
                  </a:ext>
                </a:extLst>
              </p:cNvPr>
              <p:cNvSpPr>
                <a:spLocks/>
              </p:cNvSpPr>
              <p:nvPr/>
            </p:nvSpPr>
            <p:spPr bwMode="auto">
              <a:xfrm>
                <a:off x="4714" y="2904"/>
                <a:ext cx="677" cy="241"/>
              </a:xfrm>
              <a:custGeom>
                <a:avLst/>
                <a:gdLst>
                  <a:gd name="T0" fmla="*/ 99 w 677"/>
                  <a:gd name="T1" fmla="*/ 111 h 241"/>
                  <a:gd name="T2" fmla="*/ 137 w 677"/>
                  <a:gd name="T3" fmla="*/ 107 h 241"/>
                  <a:gd name="T4" fmla="*/ 211 w 677"/>
                  <a:gd name="T5" fmla="*/ 103 h 241"/>
                  <a:gd name="T6" fmla="*/ 283 w 677"/>
                  <a:gd name="T7" fmla="*/ 107 h 241"/>
                  <a:gd name="T8" fmla="*/ 361 w 677"/>
                  <a:gd name="T9" fmla="*/ 119 h 241"/>
                  <a:gd name="T10" fmla="*/ 405 w 677"/>
                  <a:gd name="T11" fmla="*/ 127 h 241"/>
                  <a:gd name="T12" fmla="*/ 311 w 677"/>
                  <a:gd name="T13" fmla="*/ 119 h 241"/>
                  <a:gd name="T14" fmla="*/ 229 w 677"/>
                  <a:gd name="T15" fmla="*/ 113 h 241"/>
                  <a:gd name="T16" fmla="*/ 169 w 677"/>
                  <a:gd name="T17" fmla="*/ 119 h 241"/>
                  <a:gd name="T18" fmla="*/ 129 w 677"/>
                  <a:gd name="T19" fmla="*/ 129 h 241"/>
                  <a:gd name="T20" fmla="*/ 87 w 677"/>
                  <a:gd name="T21" fmla="*/ 145 h 241"/>
                  <a:gd name="T22" fmla="*/ 67 w 677"/>
                  <a:gd name="T23" fmla="*/ 157 h 241"/>
                  <a:gd name="T24" fmla="*/ 53 w 677"/>
                  <a:gd name="T25" fmla="*/ 165 h 241"/>
                  <a:gd name="T26" fmla="*/ 0 w 677"/>
                  <a:gd name="T27" fmla="*/ 219 h 241"/>
                  <a:gd name="T28" fmla="*/ 33 w 677"/>
                  <a:gd name="T29" fmla="*/ 227 h 241"/>
                  <a:gd name="T30" fmla="*/ 99 w 677"/>
                  <a:gd name="T31" fmla="*/ 237 h 241"/>
                  <a:gd name="T32" fmla="*/ 159 w 677"/>
                  <a:gd name="T33" fmla="*/ 241 h 241"/>
                  <a:gd name="T34" fmla="*/ 217 w 677"/>
                  <a:gd name="T35" fmla="*/ 239 h 241"/>
                  <a:gd name="T36" fmla="*/ 299 w 677"/>
                  <a:gd name="T37" fmla="*/ 227 h 241"/>
                  <a:gd name="T38" fmla="*/ 397 w 677"/>
                  <a:gd name="T39" fmla="*/ 197 h 241"/>
                  <a:gd name="T40" fmla="*/ 481 w 677"/>
                  <a:gd name="T41" fmla="*/ 159 h 241"/>
                  <a:gd name="T42" fmla="*/ 553 w 677"/>
                  <a:gd name="T43" fmla="*/ 117 h 241"/>
                  <a:gd name="T44" fmla="*/ 637 w 677"/>
                  <a:gd name="T45" fmla="*/ 58 h 241"/>
                  <a:gd name="T46" fmla="*/ 677 w 677"/>
                  <a:gd name="T47" fmla="*/ 30 h 241"/>
                  <a:gd name="T48" fmla="*/ 537 w 677"/>
                  <a:gd name="T49" fmla="*/ 8 h 241"/>
                  <a:gd name="T50" fmla="*/ 457 w 677"/>
                  <a:gd name="T51" fmla="*/ 0 h 241"/>
                  <a:gd name="T52" fmla="*/ 377 w 677"/>
                  <a:gd name="T53" fmla="*/ 0 h 241"/>
                  <a:gd name="T54" fmla="*/ 299 w 677"/>
                  <a:gd name="T55" fmla="*/ 6 h 241"/>
                  <a:gd name="T56" fmla="*/ 225 w 677"/>
                  <a:gd name="T57" fmla="*/ 24 h 241"/>
                  <a:gd name="T58" fmla="*/ 173 w 677"/>
                  <a:gd name="T59" fmla="*/ 48 h 241"/>
                  <a:gd name="T60" fmla="*/ 143 w 677"/>
                  <a:gd name="T61" fmla="*/ 68 h 241"/>
                  <a:gd name="T62" fmla="*/ 117 w 677"/>
                  <a:gd name="T63" fmla="*/ 93 h 241"/>
                  <a:gd name="T64" fmla="*/ 103 w 677"/>
                  <a:gd name="T65" fmla="*/ 107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7" h="241">
                    <a:moveTo>
                      <a:pt x="103" y="107"/>
                    </a:moveTo>
                    <a:lnTo>
                      <a:pt x="99" y="111"/>
                    </a:lnTo>
                    <a:lnTo>
                      <a:pt x="99" y="111"/>
                    </a:lnTo>
                    <a:lnTo>
                      <a:pt x="137" y="107"/>
                    </a:lnTo>
                    <a:lnTo>
                      <a:pt x="175" y="103"/>
                    </a:lnTo>
                    <a:lnTo>
                      <a:pt x="211" y="103"/>
                    </a:lnTo>
                    <a:lnTo>
                      <a:pt x="247" y="103"/>
                    </a:lnTo>
                    <a:lnTo>
                      <a:pt x="283" y="107"/>
                    </a:lnTo>
                    <a:lnTo>
                      <a:pt x="321" y="111"/>
                    </a:lnTo>
                    <a:lnTo>
                      <a:pt x="361" y="119"/>
                    </a:lnTo>
                    <a:lnTo>
                      <a:pt x="405" y="127"/>
                    </a:lnTo>
                    <a:lnTo>
                      <a:pt x="405" y="127"/>
                    </a:lnTo>
                    <a:lnTo>
                      <a:pt x="357" y="123"/>
                    </a:lnTo>
                    <a:lnTo>
                      <a:pt x="311" y="119"/>
                    </a:lnTo>
                    <a:lnTo>
                      <a:pt x="269" y="115"/>
                    </a:lnTo>
                    <a:lnTo>
                      <a:pt x="229" y="113"/>
                    </a:lnTo>
                    <a:lnTo>
                      <a:pt x="189" y="115"/>
                    </a:lnTo>
                    <a:lnTo>
                      <a:pt x="169" y="119"/>
                    </a:lnTo>
                    <a:lnTo>
                      <a:pt x="149" y="123"/>
                    </a:lnTo>
                    <a:lnTo>
                      <a:pt x="129" y="129"/>
                    </a:lnTo>
                    <a:lnTo>
                      <a:pt x="109" y="135"/>
                    </a:lnTo>
                    <a:lnTo>
                      <a:pt x="87" y="145"/>
                    </a:lnTo>
                    <a:lnTo>
                      <a:pt x="67" y="157"/>
                    </a:lnTo>
                    <a:lnTo>
                      <a:pt x="67" y="157"/>
                    </a:lnTo>
                    <a:lnTo>
                      <a:pt x="53" y="165"/>
                    </a:lnTo>
                    <a:lnTo>
                      <a:pt x="53" y="165"/>
                    </a:lnTo>
                    <a:lnTo>
                      <a:pt x="14" y="203"/>
                    </a:lnTo>
                    <a:lnTo>
                      <a:pt x="0" y="219"/>
                    </a:lnTo>
                    <a:lnTo>
                      <a:pt x="0" y="219"/>
                    </a:lnTo>
                    <a:lnTo>
                      <a:pt x="33" y="227"/>
                    </a:lnTo>
                    <a:lnTo>
                      <a:pt x="67" y="233"/>
                    </a:lnTo>
                    <a:lnTo>
                      <a:pt x="99" y="237"/>
                    </a:lnTo>
                    <a:lnTo>
                      <a:pt x="129" y="239"/>
                    </a:lnTo>
                    <a:lnTo>
                      <a:pt x="159" y="241"/>
                    </a:lnTo>
                    <a:lnTo>
                      <a:pt x="189" y="239"/>
                    </a:lnTo>
                    <a:lnTo>
                      <a:pt x="217" y="239"/>
                    </a:lnTo>
                    <a:lnTo>
                      <a:pt x="245" y="235"/>
                    </a:lnTo>
                    <a:lnTo>
                      <a:pt x="299" y="227"/>
                    </a:lnTo>
                    <a:lnTo>
                      <a:pt x="349" y="213"/>
                    </a:lnTo>
                    <a:lnTo>
                      <a:pt x="397" y="197"/>
                    </a:lnTo>
                    <a:lnTo>
                      <a:pt x="441" y="179"/>
                    </a:lnTo>
                    <a:lnTo>
                      <a:pt x="481" y="159"/>
                    </a:lnTo>
                    <a:lnTo>
                      <a:pt x="519" y="137"/>
                    </a:lnTo>
                    <a:lnTo>
                      <a:pt x="553" y="117"/>
                    </a:lnTo>
                    <a:lnTo>
                      <a:pt x="583" y="95"/>
                    </a:lnTo>
                    <a:lnTo>
                      <a:pt x="637" y="58"/>
                    </a:lnTo>
                    <a:lnTo>
                      <a:pt x="677" y="30"/>
                    </a:lnTo>
                    <a:lnTo>
                      <a:pt x="677" y="30"/>
                    </a:lnTo>
                    <a:lnTo>
                      <a:pt x="611" y="18"/>
                    </a:lnTo>
                    <a:lnTo>
                      <a:pt x="537" y="8"/>
                    </a:lnTo>
                    <a:lnTo>
                      <a:pt x="497" y="4"/>
                    </a:lnTo>
                    <a:lnTo>
                      <a:pt x="457" y="0"/>
                    </a:lnTo>
                    <a:lnTo>
                      <a:pt x="417" y="0"/>
                    </a:lnTo>
                    <a:lnTo>
                      <a:pt x="377" y="0"/>
                    </a:lnTo>
                    <a:lnTo>
                      <a:pt x="337" y="2"/>
                    </a:lnTo>
                    <a:lnTo>
                      <a:pt x="299" y="6"/>
                    </a:lnTo>
                    <a:lnTo>
                      <a:pt x="261" y="14"/>
                    </a:lnTo>
                    <a:lnTo>
                      <a:pt x="225" y="24"/>
                    </a:lnTo>
                    <a:lnTo>
                      <a:pt x="191" y="38"/>
                    </a:lnTo>
                    <a:lnTo>
                      <a:pt x="173" y="48"/>
                    </a:lnTo>
                    <a:lnTo>
                      <a:pt x="159" y="58"/>
                    </a:lnTo>
                    <a:lnTo>
                      <a:pt x="143" y="68"/>
                    </a:lnTo>
                    <a:lnTo>
                      <a:pt x="129" y="81"/>
                    </a:lnTo>
                    <a:lnTo>
                      <a:pt x="117" y="93"/>
                    </a:lnTo>
                    <a:lnTo>
                      <a:pt x="103" y="107"/>
                    </a:lnTo>
                    <a:lnTo>
                      <a:pt x="103"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62" name="Freeform 85">
                <a:extLst>
                  <a:ext uri="{FF2B5EF4-FFF2-40B4-BE49-F238E27FC236}">
                    <a16:creationId xmlns:a16="http://schemas.microsoft.com/office/drawing/2014/main" id="{9A9072EA-73F3-4B44-9462-846E99414737}"/>
                  </a:ext>
                </a:extLst>
              </p:cNvPr>
              <p:cNvSpPr>
                <a:spLocks/>
              </p:cNvSpPr>
              <p:nvPr/>
            </p:nvSpPr>
            <p:spPr bwMode="auto">
              <a:xfrm>
                <a:off x="4634" y="2412"/>
                <a:ext cx="253" cy="613"/>
              </a:xfrm>
              <a:custGeom>
                <a:avLst/>
                <a:gdLst>
                  <a:gd name="T0" fmla="*/ 221 w 253"/>
                  <a:gd name="T1" fmla="*/ 200 h 613"/>
                  <a:gd name="T2" fmla="*/ 119 w 253"/>
                  <a:gd name="T3" fmla="*/ 0 h 613"/>
                  <a:gd name="T4" fmla="*/ 119 w 253"/>
                  <a:gd name="T5" fmla="*/ 0 h 613"/>
                  <a:gd name="T6" fmla="*/ 110 w 253"/>
                  <a:gd name="T7" fmla="*/ 36 h 613"/>
                  <a:gd name="T8" fmla="*/ 100 w 253"/>
                  <a:gd name="T9" fmla="*/ 70 h 613"/>
                  <a:gd name="T10" fmla="*/ 90 w 253"/>
                  <a:gd name="T11" fmla="*/ 104 h 613"/>
                  <a:gd name="T12" fmla="*/ 76 w 253"/>
                  <a:gd name="T13" fmla="*/ 136 h 613"/>
                  <a:gd name="T14" fmla="*/ 52 w 253"/>
                  <a:gd name="T15" fmla="*/ 200 h 613"/>
                  <a:gd name="T16" fmla="*/ 28 w 253"/>
                  <a:gd name="T17" fmla="*/ 260 h 613"/>
                  <a:gd name="T18" fmla="*/ 18 w 253"/>
                  <a:gd name="T19" fmla="*/ 290 h 613"/>
                  <a:gd name="T20" fmla="*/ 8 w 253"/>
                  <a:gd name="T21" fmla="*/ 320 h 613"/>
                  <a:gd name="T22" fmla="*/ 4 w 253"/>
                  <a:gd name="T23" fmla="*/ 350 h 613"/>
                  <a:gd name="T24" fmla="*/ 0 w 253"/>
                  <a:gd name="T25" fmla="*/ 380 h 613"/>
                  <a:gd name="T26" fmla="*/ 2 w 253"/>
                  <a:gd name="T27" fmla="*/ 410 h 613"/>
                  <a:gd name="T28" fmla="*/ 6 w 253"/>
                  <a:gd name="T29" fmla="*/ 442 h 613"/>
                  <a:gd name="T30" fmla="*/ 16 w 253"/>
                  <a:gd name="T31" fmla="*/ 474 h 613"/>
                  <a:gd name="T32" fmla="*/ 30 w 253"/>
                  <a:gd name="T33" fmla="*/ 506 h 613"/>
                  <a:gd name="T34" fmla="*/ 30 w 253"/>
                  <a:gd name="T35" fmla="*/ 506 h 613"/>
                  <a:gd name="T36" fmla="*/ 48 w 253"/>
                  <a:gd name="T37" fmla="*/ 536 h 613"/>
                  <a:gd name="T38" fmla="*/ 66 w 253"/>
                  <a:gd name="T39" fmla="*/ 566 h 613"/>
                  <a:gd name="T40" fmla="*/ 86 w 253"/>
                  <a:gd name="T41" fmla="*/ 593 h 613"/>
                  <a:gd name="T42" fmla="*/ 104 w 253"/>
                  <a:gd name="T43" fmla="*/ 613 h 613"/>
                  <a:gd name="T44" fmla="*/ 104 w 253"/>
                  <a:gd name="T45" fmla="*/ 613 h 613"/>
                  <a:gd name="T46" fmla="*/ 115 w 253"/>
                  <a:gd name="T47" fmla="*/ 595 h 613"/>
                  <a:gd name="T48" fmla="*/ 115 w 253"/>
                  <a:gd name="T49" fmla="*/ 595 h 613"/>
                  <a:gd name="T50" fmla="*/ 123 w 253"/>
                  <a:gd name="T51" fmla="*/ 577 h 613"/>
                  <a:gd name="T52" fmla="*/ 131 w 253"/>
                  <a:gd name="T53" fmla="*/ 558 h 613"/>
                  <a:gd name="T54" fmla="*/ 137 w 253"/>
                  <a:gd name="T55" fmla="*/ 540 h 613"/>
                  <a:gd name="T56" fmla="*/ 141 w 253"/>
                  <a:gd name="T57" fmla="*/ 522 h 613"/>
                  <a:gd name="T58" fmla="*/ 145 w 253"/>
                  <a:gd name="T59" fmla="*/ 488 h 613"/>
                  <a:gd name="T60" fmla="*/ 145 w 253"/>
                  <a:gd name="T61" fmla="*/ 454 h 613"/>
                  <a:gd name="T62" fmla="*/ 143 w 253"/>
                  <a:gd name="T63" fmla="*/ 420 h 613"/>
                  <a:gd name="T64" fmla="*/ 137 w 253"/>
                  <a:gd name="T65" fmla="*/ 384 h 613"/>
                  <a:gd name="T66" fmla="*/ 127 w 253"/>
                  <a:gd name="T67" fmla="*/ 306 h 613"/>
                  <a:gd name="T68" fmla="*/ 127 w 253"/>
                  <a:gd name="T69" fmla="*/ 306 h 613"/>
                  <a:gd name="T70" fmla="*/ 137 w 253"/>
                  <a:gd name="T71" fmla="*/ 346 h 613"/>
                  <a:gd name="T72" fmla="*/ 145 w 253"/>
                  <a:gd name="T73" fmla="*/ 384 h 613"/>
                  <a:gd name="T74" fmla="*/ 151 w 253"/>
                  <a:gd name="T75" fmla="*/ 418 h 613"/>
                  <a:gd name="T76" fmla="*/ 155 w 253"/>
                  <a:gd name="T77" fmla="*/ 454 h 613"/>
                  <a:gd name="T78" fmla="*/ 157 w 253"/>
                  <a:gd name="T79" fmla="*/ 488 h 613"/>
                  <a:gd name="T80" fmla="*/ 155 w 253"/>
                  <a:gd name="T81" fmla="*/ 522 h 613"/>
                  <a:gd name="T82" fmla="*/ 153 w 253"/>
                  <a:gd name="T83" fmla="*/ 558 h 613"/>
                  <a:gd name="T84" fmla="*/ 147 w 253"/>
                  <a:gd name="T85" fmla="*/ 599 h 613"/>
                  <a:gd name="T86" fmla="*/ 147 w 253"/>
                  <a:gd name="T87" fmla="*/ 599 h 613"/>
                  <a:gd name="T88" fmla="*/ 179 w 253"/>
                  <a:gd name="T89" fmla="*/ 550 h 613"/>
                  <a:gd name="T90" fmla="*/ 205 w 253"/>
                  <a:gd name="T91" fmla="*/ 502 h 613"/>
                  <a:gd name="T92" fmla="*/ 217 w 253"/>
                  <a:gd name="T93" fmla="*/ 478 h 613"/>
                  <a:gd name="T94" fmla="*/ 229 w 253"/>
                  <a:gd name="T95" fmla="*/ 454 h 613"/>
                  <a:gd name="T96" fmla="*/ 237 w 253"/>
                  <a:gd name="T97" fmla="*/ 428 h 613"/>
                  <a:gd name="T98" fmla="*/ 243 w 253"/>
                  <a:gd name="T99" fmla="*/ 404 h 613"/>
                  <a:gd name="T100" fmla="*/ 249 w 253"/>
                  <a:gd name="T101" fmla="*/ 380 h 613"/>
                  <a:gd name="T102" fmla="*/ 251 w 253"/>
                  <a:gd name="T103" fmla="*/ 354 h 613"/>
                  <a:gd name="T104" fmla="*/ 253 w 253"/>
                  <a:gd name="T105" fmla="*/ 330 h 613"/>
                  <a:gd name="T106" fmla="*/ 251 w 253"/>
                  <a:gd name="T107" fmla="*/ 304 h 613"/>
                  <a:gd name="T108" fmla="*/ 247 w 253"/>
                  <a:gd name="T109" fmla="*/ 278 h 613"/>
                  <a:gd name="T110" fmla="*/ 241 w 253"/>
                  <a:gd name="T111" fmla="*/ 252 h 613"/>
                  <a:gd name="T112" fmla="*/ 233 w 253"/>
                  <a:gd name="T113" fmla="*/ 226 h 613"/>
                  <a:gd name="T114" fmla="*/ 221 w 253"/>
                  <a:gd name="T115" fmla="*/ 200 h 613"/>
                  <a:gd name="T116" fmla="*/ 221 w 253"/>
                  <a:gd name="T117" fmla="*/ 200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3" h="613">
                    <a:moveTo>
                      <a:pt x="221" y="200"/>
                    </a:moveTo>
                    <a:lnTo>
                      <a:pt x="119" y="0"/>
                    </a:lnTo>
                    <a:lnTo>
                      <a:pt x="119" y="0"/>
                    </a:lnTo>
                    <a:lnTo>
                      <a:pt x="110" y="36"/>
                    </a:lnTo>
                    <a:lnTo>
                      <a:pt x="100" y="70"/>
                    </a:lnTo>
                    <a:lnTo>
                      <a:pt x="90" y="104"/>
                    </a:lnTo>
                    <a:lnTo>
                      <a:pt x="76" y="136"/>
                    </a:lnTo>
                    <a:lnTo>
                      <a:pt x="52" y="200"/>
                    </a:lnTo>
                    <a:lnTo>
                      <a:pt x="28" y="260"/>
                    </a:lnTo>
                    <a:lnTo>
                      <a:pt x="18" y="290"/>
                    </a:lnTo>
                    <a:lnTo>
                      <a:pt x="8" y="320"/>
                    </a:lnTo>
                    <a:lnTo>
                      <a:pt x="4" y="350"/>
                    </a:lnTo>
                    <a:lnTo>
                      <a:pt x="0" y="380"/>
                    </a:lnTo>
                    <a:lnTo>
                      <a:pt x="2" y="410"/>
                    </a:lnTo>
                    <a:lnTo>
                      <a:pt x="6" y="442"/>
                    </a:lnTo>
                    <a:lnTo>
                      <a:pt x="16" y="474"/>
                    </a:lnTo>
                    <a:lnTo>
                      <a:pt x="30" y="506"/>
                    </a:lnTo>
                    <a:lnTo>
                      <a:pt x="30" y="506"/>
                    </a:lnTo>
                    <a:lnTo>
                      <a:pt x="48" y="536"/>
                    </a:lnTo>
                    <a:lnTo>
                      <a:pt x="66" y="566"/>
                    </a:lnTo>
                    <a:lnTo>
                      <a:pt x="86" y="593"/>
                    </a:lnTo>
                    <a:lnTo>
                      <a:pt x="104" y="613"/>
                    </a:lnTo>
                    <a:lnTo>
                      <a:pt x="104" y="613"/>
                    </a:lnTo>
                    <a:lnTo>
                      <a:pt x="115" y="595"/>
                    </a:lnTo>
                    <a:lnTo>
                      <a:pt x="115" y="595"/>
                    </a:lnTo>
                    <a:lnTo>
                      <a:pt x="123" y="577"/>
                    </a:lnTo>
                    <a:lnTo>
                      <a:pt x="131" y="558"/>
                    </a:lnTo>
                    <a:lnTo>
                      <a:pt x="137" y="540"/>
                    </a:lnTo>
                    <a:lnTo>
                      <a:pt x="141" y="522"/>
                    </a:lnTo>
                    <a:lnTo>
                      <a:pt x="145" y="488"/>
                    </a:lnTo>
                    <a:lnTo>
                      <a:pt x="145" y="454"/>
                    </a:lnTo>
                    <a:lnTo>
                      <a:pt x="143" y="420"/>
                    </a:lnTo>
                    <a:lnTo>
                      <a:pt x="137" y="384"/>
                    </a:lnTo>
                    <a:lnTo>
                      <a:pt x="127" y="306"/>
                    </a:lnTo>
                    <a:lnTo>
                      <a:pt x="127" y="306"/>
                    </a:lnTo>
                    <a:lnTo>
                      <a:pt x="137" y="346"/>
                    </a:lnTo>
                    <a:lnTo>
                      <a:pt x="145" y="384"/>
                    </a:lnTo>
                    <a:lnTo>
                      <a:pt x="151" y="418"/>
                    </a:lnTo>
                    <a:lnTo>
                      <a:pt x="155" y="454"/>
                    </a:lnTo>
                    <a:lnTo>
                      <a:pt x="157" y="488"/>
                    </a:lnTo>
                    <a:lnTo>
                      <a:pt x="155" y="522"/>
                    </a:lnTo>
                    <a:lnTo>
                      <a:pt x="153" y="558"/>
                    </a:lnTo>
                    <a:lnTo>
                      <a:pt x="147" y="599"/>
                    </a:lnTo>
                    <a:lnTo>
                      <a:pt x="147" y="599"/>
                    </a:lnTo>
                    <a:lnTo>
                      <a:pt x="179" y="550"/>
                    </a:lnTo>
                    <a:lnTo>
                      <a:pt x="205" y="502"/>
                    </a:lnTo>
                    <a:lnTo>
                      <a:pt x="217" y="478"/>
                    </a:lnTo>
                    <a:lnTo>
                      <a:pt x="229" y="454"/>
                    </a:lnTo>
                    <a:lnTo>
                      <a:pt x="237" y="428"/>
                    </a:lnTo>
                    <a:lnTo>
                      <a:pt x="243" y="404"/>
                    </a:lnTo>
                    <a:lnTo>
                      <a:pt x="249" y="380"/>
                    </a:lnTo>
                    <a:lnTo>
                      <a:pt x="251" y="354"/>
                    </a:lnTo>
                    <a:lnTo>
                      <a:pt x="253" y="330"/>
                    </a:lnTo>
                    <a:lnTo>
                      <a:pt x="251" y="304"/>
                    </a:lnTo>
                    <a:lnTo>
                      <a:pt x="247" y="278"/>
                    </a:lnTo>
                    <a:lnTo>
                      <a:pt x="241" y="252"/>
                    </a:lnTo>
                    <a:lnTo>
                      <a:pt x="233" y="226"/>
                    </a:lnTo>
                    <a:lnTo>
                      <a:pt x="221" y="200"/>
                    </a:lnTo>
                    <a:lnTo>
                      <a:pt x="221"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63" name="Freeform 86">
                <a:extLst>
                  <a:ext uri="{FF2B5EF4-FFF2-40B4-BE49-F238E27FC236}">
                    <a16:creationId xmlns:a16="http://schemas.microsoft.com/office/drawing/2014/main" id="{F5EA28B2-64A3-4946-A596-A6E09BFD6F51}"/>
                  </a:ext>
                </a:extLst>
              </p:cNvPr>
              <p:cNvSpPr>
                <a:spLocks/>
              </p:cNvSpPr>
              <p:nvPr/>
            </p:nvSpPr>
            <p:spPr bwMode="auto">
              <a:xfrm>
                <a:off x="4236" y="3175"/>
                <a:ext cx="717" cy="284"/>
              </a:xfrm>
              <a:custGeom>
                <a:avLst/>
                <a:gdLst>
                  <a:gd name="T0" fmla="*/ 144 w 717"/>
                  <a:gd name="T1" fmla="*/ 30 h 284"/>
                  <a:gd name="T2" fmla="*/ 70 w 717"/>
                  <a:gd name="T3" fmla="*/ 74 h 284"/>
                  <a:gd name="T4" fmla="*/ 108 w 717"/>
                  <a:gd name="T5" fmla="*/ 78 h 284"/>
                  <a:gd name="T6" fmla="*/ 178 w 717"/>
                  <a:gd name="T7" fmla="*/ 94 h 284"/>
                  <a:gd name="T8" fmla="*/ 246 w 717"/>
                  <a:gd name="T9" fmla="*/ 116 h 284"/>
                  <a:gd name="T10" fmla="*/ 316 w 717"/>
                  <a:gd name="T11" fmla="*/ 150 h 284"/>
                  <a:gd name="T12" fmla="*/ 354 w 717"/>
                  <a:gd name="T13" fmla="*/ 168 h 284"/>
                  <a:gd name="T14" fmla="*/ 272 w 717"/>
                  <a:gd name="T15" fmla="*/ 136 h 284"/>
                  <a:gd name="T16" fmla="*/ 196 w 717"/>
                  <a:gd name="T17" fmla="*/ 110 h 284"/>
                  <a:gd name="T18" fmla="*/ 140 w 717"/>
                  <a:gd name="T19" fmla="*/ 100 h 284"/>
                  <a:gd name="T20" fmla="*/ 102 w 717"/>
                  <a:gd name="T21" fmla="*/ 98 h 284"/>
                  <a:gd name="T22" fmla="*/ 60 w 717"/>
                  <a:gd name="T23" fmla="*/ 102 h 284"/>
                  <a:gd name="T24" fmla="*/ 36 w 717"/>
                  <a:gd name="T25" fmla="*/ 106 h 284"/>
                  <a:gd name="T26" fmla="*/ 22 w 717"/>
                  <a:gd name="T27" fmla="*/ 112 h 284"/>
                  <a:gd name="T28" fmla="*/ 0 w 717"/>
                  <a:gd name="T29" fmla="*/ 130 h 284"/>
                  <a:gd name="T30" fmla="*/ 86 w 717"/>
                  <a:gd name="T31" fmla="*/ 192 h 284"/>
                  <a:gd name="T32" fmla="*/ 144 w 717"/>
                  <a:gd name="T33" fmla="*/ 228 h 284"/>
                  <a:gd name="T34" fmla="*/ 204 w 717"/>
                  <a:gd name="T35" fmla="*/ 256 h 284"/>
                  <a:gd name="T36" fmla="*/ 264 w 717"/>
                  <a:gd name="T37" fmla="*/ 276 h 284"/>
                  <a:gd name="T38" fmla="*/ 326 w 717"/>
                  <a:gd name="T39" fmla="*/ 284 h 284"/>
                  <a:gd name="T40" fmla="*/ 390 w 717"/>
                  <a:gd name="T41" fmla="*/ 282 h 284"/>
                  <a:gd name="T42" fmla="*/ 454 w 717"/>
                  <a:gd name="T43" fmla="*/ 264 h 284"/>
                  <a:gd name="T44" fmla="*/ 486 w 717"/>
                  <a:gd name="T45" fmla="*/ 250 h 284"/>
                  <a:gd name="T46" fmla="*/ 717 w 717"/>
                  <a:gd name="T47" fmla="*/ 140 h 284"/>
                  <a:gd name="T48" fmla="*/ 637 w 717"/>
                  <a:gd name="T49" fmla="*/ 118 h 284"/>
                  <a:gd name="T50" fmla="*/ 561 w 717"/>
                  <a:gd name="T51" fmla="*/ 90 h 284"/>
                  <a:gd name="T52" fmla="*/ 422 w 717"/>
                  <a:gd name="T53" fmla="*/ 32 h 284"/>
                  <a:gd name="T54" fmla="*/ 356 w 717"/>
                  <a:gd name="T55" fmla="*/ 10 h 284"/>
                  <a:gd name="T56" fmla="*/ 288 w 717"/>
                  <a:gd name="T57" fmla="*/ 0 h 284"/>
                  <a:gd name="T58" fmla="*/ 218 w 717"/>
                  <a:gd name="T59" fmla="*/ 4 h 284"/>
                  <a:gd name="T60" fmla="*/ 180 w 717"/>
                  <a:gd name="T61" fmla="*/ 14 h 284"/>
                  <a:gd name="T62" fmla="*/ 144 w 717"/>
                  <a:gd name="T63" fmla="*/ 3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7" h="284">
                    <a:moveTo>
                      <a:pt x="144" y="30"/>
                    </a:moveTo>
                    <a:lnTo>
                      <a:pt x="144" y="30"/>
                    </a:lnTo>
                    <a:lnTo>
                      <a:pt x="106" y="50"/>
                    </a:lnTo>
                    <a:lnTo>
                      <a:pt x="70" y="74"/>
                    </a:lnTo>
                    <a:lnTo>
                      <a:pt x="70" y="74"/>
                    </a:lnTo>
                    <a:lnTo>
                      <a:pt x="108" y="78"/>
                    </a:lnTo>
                    <a:lnTo>
                      <a:pt x="144" y="86"/>
                    </a:lnTo>
                    <a:lnTo>
                      <a:pt x="178" y="94"/>
                    </a:lnTo>
                    <a:lnTo>
                      <a:pt x="212" y="104"/>
                    </a:lnTo>
                    <a:lnTo>
                      <a:pt x="246" y="116"/>
                    </a:lnTo>
                    <a:lnTo>
                      <a:pt x="280" y="132"/>
                    </a:lnTo>
                    <a:lnTo>
                      <a:pt x="316" y="150"/>
                    </a:lnTo>
                    <a:lnTo>
                      <a:pt x="354" y="168"/>
                    </a:lnTo>
                    <a:lnTo>
                      <a:pt x="354" y="168"/>
                    </a:lnTo>
                    <a:lnTo>
                      <a:pt x="310" y="152"/>
                    </a:lnTo>
                    <a:lnTo>
                      <a:pt x="272" y="136"/>
                    </a:lnTo>
                    <a:lnTo>
                      <a:pt x="234" y="122"/>
                    </a:lnTo>
                    <a:lnTo>
                      <a:pt x="196" y="110"/>
                    </a:lnTo>
                    <a:lnTo>
                      <a:pt x="160" y="102"/>
                    </a:lnTo>
                    <a:lnTo>
                      <a:pt x="140" y="100"/>
                    </a:lnTo>
                    <a:lnTo>
                      <a:pt x="122" y="98"/>
                    </a:lnTo>
                    <a:lnTo>
                      <a:pt x="102" y="98"/>
                    </a:lnTo>
                    <a:lnTo>
                      <a:pt x="80" y="98"/>
                    </a:lnTo>
                    <a:lnTo>
                      <a:pt x="60" y="102"/>
                    </a:lnTo>
                    <a:lnTo>
                      <a:pt x="36" y="106"/>
                    </a:lnTo>
                    <a:lnTo>
                      <a:pt x="36" y="106"/>
                    </a:lnTo>
                    <a:lnTo>
                      <a:pt x="22" y="112"/>
                    </a:lnTo>
                    <a:lnTo>
                      <a:pt x="22" y="112"/>
                    </a:lnTo>
                    <a:lnTo>
                      <a:pt x="0" y="130"/>
                    </a:lnTo>
                    <a:lnTo>
                      <a:pt x="0" y="130"/>
                    </a:lnTo>
                    <a:lnTo>
                      <a:pt x="58" y="172"/>
                    </a:lnTo>
                    <a:lnTo>
                      <a:pt x="86" y="192"/>
                    </a:lnTo>
                    <a:lnTo>
                      <a:pt x="116" y="212"/>
                    </a:lnTo>
                    <a:lnTo>
                      <a:pt x="144" y="228"/>
                    </a:lnTo>
                    <a:lnTo>
                      <a:pt x="174" y="244"/>
                    </a:lnTo>
                    <a:lnTo>
                      <a:pt x="204" y="256"/>
                    </a:lnTo>
                    <a:lnTo>
                      <a:pt x="234" y="268"/>
                    </a:lnTo>
                    <a:lnTo>
                      <a:pt x="264" y="276"/>
                    </a:lnTo>
                    <a:lnTo>
                      <a:pt x="296" y="282"/>
                    </a:lnTo>
                    <a:lnTo>
                      <a:pt x="326" y="284"/>
                    </a:lnTo>
                    <a:lnTo>
                      <a:pt x="358" y="284"/>
                    </a:lnTo>
                    <a:lnTo>
                      <a:pt x="390" y="282"/>
                    </a:lnTo>
                    <a:lnTo>
                      <a:pt x="422" y="274"/>
                    </a:lnTo>
                    <a:lnTo>
                      <a:pt x="454" y="264"/>
                    </a:lnTo>
                    <a:lnTo>
                      <a:pt x="486" y="250"/>
                    </a:lnTo>
                    <a:lnTo>
                      <a:pt x="486" y="250"/>
                    </a:lnTo>
                    <a:lnTo>
                      <a:pt x="717" y="140"/>
                    </a:lnTo>
                    <a:lnTo>
                      <a:pt x="717" y="140"/>
                    </a:lnTo>
                    <a:lnTo>
                      <a:pt x="675" y="130"/>
                    </a:lnTo>
                    <a:lnTo>
                      <a:pt x="637" y="118"/>
                    </a:lnTo>
                    <a:lnTo>
                      <a:pt x="599" y="106"/>
                    </a:lnTo>
                    <a:lnTo>
                      <a:pt x="561" y="90"/>
                    </a:lnTo>
                    <a:lnTo>
                      <a:pt x="490" y="60"/>
                    </a:lnTo>
                    <a:lnTo>
                      <a:pt x="422" y="32"/>
                    </a:lnTo>
                    <a:lnTo>
                      <a:pt x="388" y="20"/>
                    </a:lnTo>
                    <a:lnTo>
                      <a:pt x="356" y="10"/>
                    </a:lnTo>
                    <a:lnTo>
                      <a:pt x="322" y="4"/>
                    </a:lnTo>
                    <a:lnTo>
                      <a:pt x="288" y="0"/>
                    </a:lnTo>
                    <a:lnTo>
                      <a:pt x="252" y="0"/>
                    </a:lnTo>
                    <a:lnTo>
                      <a:pt x="218" y="4"/>
                    </a:lnTo>
                    <a:lnTo>
                      <a:pt x="200" y="10"/>
                    </a:lnTo>
                    <a:lnTo>
                      <a:pt x="180" y="14"/>
                    </a:lnTo>
                    <a:lnTo>
                      <a:pt x="162" y="22"/>
                    </a:lnTo>
                    <a:lnTo>
                      <a:pt x="144" y="30"/>
                    </a:lnTo>
                    <a:lnTo>
                      <a:pt x="14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64" name="Freeform 87">
                <a:extLst>
                  <a:ext uri="{FF2B5EF4-FFF2-40B4-BE49-F238E27FC236}">
                    <a16:creationId xmlns:a16="http://schemas.microsoft.com/office/drawing/2014/main" id="{B080AEB6-F470-4551-8AF4-50FF6B91E633}"/>
                  </a:ext>
                </a:extLst>
              </p:cNvPr>
              <p:cNvSpPr>
                <a:spLocks/>
              </p:cNvSpPr>
              <p:nvPr/>
            </p:nvSpPr>
            <p:spPr bwMode="auto">
              <a:xfrm>
                <a:off x="4190" y="2630"/>
                <a:ext cx="382" cy="587"/>
              </a:xfrm>
              <a:custGeom>
                <a:avLst/>
                <a:gdLst>
                  <a:gd name="T0" fmla="*/ 44 w 382"/>
                  <a:gd name="T1" fmla="*/ 573 h 587"/>
                  <a:gd name="T2" fmla="*/ 82 w 382"/>
                  <a:gd name="T3" fmla="*/ 547 h 587"/>
                  <a:gd name="T4" fmla="*/ 112 w 382"/>
                  <a:gd name="T5" fmla="*/ 521 h 587"/>
                  <a:gd name="T6" fmla="*/ 136 w 382"/>
                  <a:gd name="T7" fmla="*/ 491 h 587"/>
                  <a:gd name="T8" fmla="*/ 176 w 382"/>
                  <a:gd name="T9" fmla="*/ 425 h 587"/>
                  <a:gd name="T10" fmla="*/ 212 w 382"/>
                  <a:gd name="T11" fmla="*/ 348 h 587"/>
                  <a:gd name="T12" fmla="*/ 232 w 382"/>
                  <a:gd name="T13" fmla="*/ 308 h 587"/>
                  <a:gd name="T14" fmla="*/ 204 w 382"/>
                  <a:gd name="T15" fmla="*/ 383 h 587"/>
                  <a:gd name="T16" fmla="*/ 174 w 382"/>
                  <a:gd name="T17" fmla="*/ 453 h 587"/>
                  <a:gd name="T18" fmla="*/ 138 w 382"/>
                  <a:gd name="T19" fmla="*/ 519 h 587"/>
                  <a:gd name="T20" fmla="*/ 96 w 382"/>
                  <a:gd name="T21" fmla="*/ 581 h 587"/>
                  <a:gd name="T22" fmla="*/ 148 w 382"/>
                  <a:gd name="T23" fmla="*/ 555 h 587"/>
                  <a:gd name="T24" fmla="*/ 196 w 382"/>
                  <a:gd name="T25" fmla="*/ 525 h 587"/>
                  <a:gd name="T26" fmla="*/ 240 w 382"/>
                  <a:gd name="T27" fmla="*/ 491 h 587"/>
                  <a:gd name="T28" fmla="*/ 280 w 382"/>
                  <a:gd name="T29" fmla="*/ 455 h 587"/>
                  <a:gd name="T30" fmla="*/ 312 w 382"/>
                  <a:gd name="T31" fmla="*/ 413 h 587"/>
                  <a:gd name="T32" fmla="*/ 336 w 382"/>
                  <a:gd name="T33" fmla="*/ 367 h 587"/>
                  <a:gd name="T34" fmla="*/ 354 w 382"/>
                  <a:gd name="T35" fmla="*/ 312 h 587"/>
                  <a:gd name="T36" fmla="*/ 364 w 382"/>
                  <a:gd name="T37" fmla="*/ 254 h 587"/>
                  <a:gd name="T38" fmla="*/ 382 w 382"/>
                  <a:gd name="T39" fmla="*/ 0 h 587"/>
                  <a:gd name="T40" fmla="*/ 324 w 382"/>
                  <a:gd name="T41" fmla="*/ 60 h 587"/>
                  <a:gd name="T42" fmla="*/ 262 w 382"/>
                  <a:gd name="T43" fmla="*/ 110 h 587"/>
                  <a:gd name="T44" fmla="*/ 142 w 382"/>
                  <a:gd name="T45" fmla="*/ 200 h 587"/>
                  <a:gd name="T46" fmla="*/ 90 w 382"/>
                  <a:gd name="T47" fmla="*/ 248 h 587"/>
                  <a:gd name="T48" fmla="*/ 46 w 382"/>
                  <a:gd name="T49" fmla="*/ 302 h 587"/>
                  <a:gd name="T50" fmla="*/ 16 w 382"/>
                  <a:gd name="T51" fmla="*/ 365 h 587"/>
                  <a:gd name="T52" fmla="*/ 6 w 382"/>
                  <a:gd name="T53" fmla="*/ 403 h 587"/>
                  <a:gd name="T54" fmla="*/ 2 w 382"/>
                  <a:gd name="T55" fmla="*/ 443 h 587"/>
                  <a:gd name="T56" fmla="*/ 0 w 382"/>
                  <a:gd name="T57" fmla="*/ 481 h 587"/>
                  <a:gd name="T58" fmla="*/ 6 w 382"/>
                  <a:gd name="T59" fmla="*/ 557 h 587"/>
                  <a:gd name="T60" fmla="*/ 10 w 382"/>
                  <a:gd name="T61" fmla="*/ 587 h 587"/>
                  <a:gd name="T62" fmla="*/ 44 w 382"/>
                  <a:gd name="T63" fmla="*/ 573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2" h="587">
                    <a:moveTo>
                      <a:pt x="44" y="573"/>
                    </a:moveTo>
                    <a:lnTo>
                      <a:pt x="44" y="573"/>
                    </a:lnTo>
                    <a:lnTo>
                      <a:pt x="64" y="561"/>
                    </a:lnTo>
                    <a:lnTo>
                      <a:pt x="82" y="547"/>
                    </a:lnTo>
                    <a:lnTo>
                      <a:pt x="98" y="535"/>
                    </a:lnTo>
                    <a:lnTo>
                      <a:pt x="112" y="521"/>
                    </a:lnTo>
                    <a:lnTo>
                      <a:pt x="124" y="505"/>
                    </a:lnTo>
                    <a:lnTo>
                      <a:pt x="136" y="491"/>
                    </a:lnTo>
                    <a:lnTo>
                      <a:pt x="158" y="459"/>
                    </a:lnTo>
                    <a:lnTo>
                      <a:pt x="176" y="425"/>
                    </a:lnTo>
                    <a:lnTo>
                      <a:pt x="194" y="389"/>
                    </a:lnTo>
                    <a:lnTo>
                      <a:pt x="212" y="348"/>
                    </a:lnTo>
                    <a:lnTo>
                      <a:pt x="232" y="308"/>
                    </a:lnTo>
                    <a:lnTo>
                      <a:pt x="232" y="308"/>
                    </a:lnTo>
                    <a:lnTo>
                      <a:pt x="218" y="346"/>
                    </a:lnTo>
                    <a:lnTo>
                      <a:pt x="204" y="383"/>
                    </a:lnTo>
                    <a:lnTo>
                      <a:pt x="190" y="419"/>
                    </a:lnTo>
                    <a:lnTo>
                      <a:pt x="174" y="453"/>
                    </a:lnTo>
                    <a:lnTo>
                      <a:pt x="158" y="487"/>
                    </a:lnTo>
                    <a:lnTo>
                      <a:pt x="138" y="519"/>
                    </a:lnTo>
                    <a:lnTo>
                      <a:pt x="118" y="551"/>
                    </a:lnTo>
                    <a:lnTo>
                      <a:pt x="96" y="581"/>
                    </a:lnTo>
                    <a:lnTo>
                      <a:pt x="96" y="581"/>
                    </a:lnTo>
                    <a:lnTo>
                      <a:pt x="148" y="555"/>
                    </a:lnTo>
                    <a:lnTo>
                      <a:pt x="174" y="539"/>
                    </a:lnTo>
                    <a:lnTo>
                      <a:pt x="196" y="525"/>
                    </a:lnTo>
                    <a:lnTo>
                      <a:pt x="220" y="509"/>
                    </a:lnTo>
                    <a:lnTo>
                      <a:pt x="240" y="491"/>
                    </a:lnTo>
                    <a:lnTo>
                      <a:pt x="260" y="473"/>
                    </a:lnTo>
                    <a:lnTo>
                      <a:pt x="280" y="455"/>
                    </a:lnTo>
                    <a:lnTo>
                      <a:pt x="296" y="435"/>
                    </a:lnTo>
                    <a:lnTo>
                      <a:pt x="312" y="413"/>
                    </a:lnTo>
                    <a:lnTo>
                      <a:pt x="326" y="391"/>
                    </a:lnTo>
                    <a:lnTo>
                      <a:pt x="336" y="367"/>
                    </a:lnTo>
                    <a:lnTo>
                      <a:pt x="346" y="340"/>
                    </a:lnTo>
                    <a:lnTo>
                      <a:pt x="354" y="312"/>
                    </a:lnTo>
                    <a:lnTo>
                      <a:pt x="360" y="284"/>
                    </a:lnTo>
                    <a:lnTo>
                      <a:pt x="364" y="254"/>
                    </a:lnTo>
                    <a:lnTo>
                      <a:pt x="382" y="0"/>
                    </a:lnTo>
                    <a:lnTo>
                      <a:pt x="382" y="0"/>
                    </a:lnTo>
                    <a:lnTo>
                      <a:pt x="354" y="32"/>
                    </a:lnTo>
                    <a:lnTo>
                      <a:pt x="324" y="60"/>
                    </a:lnTo>
                    <a:lnTo>
                      <a:pt x="294" y="86"/>
                    </a:lnTo>
                    <a:lnTo>
                      <a:pt x="262" y="110"/>
                    </a:lnTo>
                    <a:lnTo>
                      <a:pt x="200" y="156"/>
                    </a:lnTo>
                    <a:lnTo>
                      <a:pt x="142" y="200"/>
                    </a:lnTo>
                    <a:lnTo>
                      <a:pt x="116" y="224"/>
                    </a:lnTo>
                    <a:lnTo>
                      <a:pt x="90" y="248"/>
                    </a:lnTo>
                    <a:lnTo>
                      <a:pt x="68" y="274"/>
                    </a:lnTo>
                    <a:lnTo>
                      <a:pt x="46" y="302"/>
                    </a:lnTo>
                    <a:lnTo>
                      <a:pt x="30" y="332"/>
                    </a:lnTo>
                    <a:lnTo>
                      <a:pt x="16" y="365"/>
                    </a:lnTo>
                    <a:lnTo>
                      <a:pt x="10" y="383"/>
                    </a:lnTo>
                    <a:lnTo>
                      <a:pt x="6" y="403"/>
                    </a:lnTo>
                    <a:lnTo>
                      <a:pt x="4" y="421"/>
                    </a:lnTo>
                    <a:lnTo>
                      <a:pt x="2" y="443"/>
                    </a:lnTo>
                    <a:lnTo>
                      <a:pt x="2" y="443"/>
                    </a:lnTo>
                    <a:lnTo>
                      <a:pt x="0" y="481"/>
                    </a:lnTo>
                    <a:lnTo>
                      <a:pt x="2" y="521"/>
                    </a:lnTo>
                    <a:lnTo>
                      <a:pt x="6" y="557"/>
                    </a:lnTo>
                    <a:lnTo>
                      <a:pt x="10" y="587"/>
                    </a:lnTo>
                    <a:lnTo>
                      <a:pt x="10" y="587"/>
                    </a:lnTo>
                    <a:lnTo>
                      <a:pt x="26" y="581"/>
                    </a:lnTo>
                    <a:lnTo>
                      <a:pt x="44" y="573"/>
                    </a:lnTo>
                    <a:lnTo>
                      <a:pt x="44" y="5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65" name="Freeform 88">
                <a:extLst>
                  <a:ext uri="{FF2B5EF4-FFF2-40B4-BE49-F238E27FC236}">
                    <a16:creationId xmlns:a16="http://schemas.microsoft.com/office/drawing/2014/main" id="{9CBE4AB0-D2FD-4CFF-A3FB-5C8EF588F865}"/>
                  </a:ext>
                </a:extLst>
              </p:cNvPr>
              <p:cNvSpPr>
                <a:spLocks/>
              </p:cNvSpPr>
              <p:nvPr/>
            </p:nvSpPr>
            <p:spPr bwMode="auto">
              <a:xfrm>
                <a:off x="3880" y="2920"/>
                <a:ext cx="272" cy="401"/>
              </a:xfrm>
              <a:custGeom>
                <a:avLst/>
                <a:gdLst>
                  <a:gd name="T0" fmla="*/ 134 w 272"/>
                  <a:gd name="T1" fmla="*/ 211 h 401"/>
                  <a:gd name="T2" fmla="*/ 134 w 272"/>
                  <a:gd name="T3" fmla="*/ 211 h 401"/>
                  <a:gd name="T4" fmla="*/ 96 w 272"/>
                  <a:gd name="T5" fmla="*/ 257 h 401"/>
                  <a:gd name="T6" fmla="*/ 80 w 272"/>
                  <a:gd name="T7" fmla="*/ 279 h 401"/>
                  <a:gd name="T8" fmla="*/ 64 w 272"/>
                  <a:gd name="T9" fmla="*/ 299 h 401"/>
                  <a:gd name="T10" fmla="*/ 52 w 272"/>
                  <a:gd name="T11" fmla="*/ 321 h 401"/>
                  <a:gd name="T12" fmla="*/ 40 w 272"/>
                  <a:gd name="T13" fmla="*/ 345 h 401"/>
                  <a:gd name="T14" fmla="*/ 34 w 272"/>
                  <a:gd name="T15" fmla="*/ 371 h 401"/>
                  <a:gd name="T16" fmla="*/ 28 w 272"/>
                  <a:gd name="T17" fmla="*/ 401 h 401"/>
                  <a:gd name="T18" fmla="*/ 28 w 272"/>
                  <a:gd name="T19" fmla="*/ 401 h 401"/>
                  <a:gd name="T20" fmla="*/ 58 w 272"/>
                  <a:gd name="T21" fmla="*/ 389 h 401"/>
                  <a:gd name="T22" fmla="*/ 92 w 272"/>
                  <a:gd name="T23" fmla="*/ 371 h 401"/>
                  <a:gd name="T24" fmla="*/ 92 w 272"/>
                  <a:gd name="T25" fmla="*/ 371 h 401"/>
                  <a:gd name="T26" fmla="*/ 118 w 272"/>
                  <a:gd name="T27" fmla="*/ 353 h 401"/>
                  <a:gd name="T28" fmla="*/ 140 w 272"/>
                  <a:gd name="T29" fmla="*/ 335 h 401"/>
                  <a:gd name="T30" fmla="*/ 158 w 272"/>
                  <a:gd name="T31" fmla="*/ 317 h 401"/>
                  <a:gd name="T32" fmla="*/ 172 w 272"/>
                  <a:gd name="T33" fmla="*/ 297 h 401"/>
                  <a:gd name="T34" fmla="*/ 186 w 272"/>
                  <a:gd name="T35" fmla="*/ 275 h 401"/>
                  <a:gd name="T36" fmla="*/ 196 w 272"/>
                  <a:gd name="T37" fmla="*/ 253 h 401"/>
                  <a:gd name="T38" fmla="*/ 204 w 272"/>
                  <a:gd name="T39" fmla="*/ 231 h 401"/>
                  <a:gd name="T40" fmla="*/ 212 w 272"/>
                  <a:gd name="T41" fmla="*/ 207 h 401"/>
                  <a:gd name="T42" fmla="*/ 224 w 272"/>
                  <a:gd name="T43" fmla="*/ 159 h 401"/>
                  <a:gd name="T44" fmla="*/ 234 w 272"/>
                  <a:gd name="T45" fmla="*/ 107 h 401"/>
                  <a:gd name="T46" fmla="*/ 242 w 272"/>
                  <a:gd name="T47" fmla="*/ 81 h 401"/>
                  <a:gd name="T48" fmla="*/ 250 w 272"/>
                  <a:gd name="T49" fmla="*/ 54 h 401"/>
                  <a:gd name="T50" fmla="*/ 260 w 272"/>
                  <a:gd name="T51" fmla="*/ 26 h 401"/>
                  <a:gd name="T52" fmla="*/ 272 w 272"/>
                  <a:gd name="T53" fmla="*/ 0 h 401"/>
                  <a:gd name="T54" fmla="*/ 106 w 272"/>
                  <a:gd name="T55" fmla="*/ 97 h 401"/>
                  <a:gd name="T56" fmla="*/ 106 w 272"/>
                  <a:gd name="T57" fmla="*/ 97 h 401"/>
                  <a:gd name="T58" fmla="*/ 86 w 272"/>
                  <a:gd name="T59" fmla="*/ 111 h 401"/>
                  <a:gd name="T60" fmla="*/ 66 w 272"/>
                  <a:gd name="T61" fmla="*/ 127 h 401"/>
                  <a:gd name="T62" fmla="*/ 50 w 272"/>
                  <a:gd name="T63" fmla="*/ 141 h 401"/>
                  <a:gd name="T64" fmla="*/ 38 w 272"/>
                  <a:gd name="T65" fmla="*/ 157 h 401"/>
                  <a:gd name="T66" fmla="*/ 26 w 272"/>
                  <a:gd name="T67" fmla="*/ 175 h 401"/>
                  <a:gd name="T68" fmla="*/ 18 w 272"/>
                  <a:gd name="T69" fmla="*/ 193 h 401"/>
                  <a:gd name="T70" fmla="*/ 12 w 272"/>
                  <a:gd name="T71" fmla="*/ 211 h 401"/>
                  <a:gd name="T72" fmla="*/ 6 w 272"/>
                  <a:gd name="T73" fmla="*/ 229 h 401"/>
                  <a:gd name="T74" fmla="*/ 4 w 272"/>
                  <a:gd name="T75" fmla="*/ 249 h 401"/>
                  <a:gd name="T76" fmla="*/ 2 w 272"/>
                  <a:gd name="T77" fmla="*/ 269 h 401"/>
                  <a:gd name="T78" fmla="*/ 0 w 272"/>
                  <a:gd name="T79" fmla="*/ 311 h 401"/>
                  <a:gd name="T80" fmla="*/ 2 w 272"/>
                  <a:gd name="T81" fmla="*/ 353 h 401"/>
                  <a:gd name="T82" fmla="*/ 4 w 272"/>
                  <a:gd name="T83" fmla="*/ 399 h 401"/>
                  <a:gd name="T84" fmla="*/ 4 w 272"/>
                  <a:gd name="T85" fmla="*/ 399 h 401"/>
                  <a:gd name="T86" fmla="*/ 16 w 272"/>
                  <a:gd name="T87" fmla="*/ 371 h 401"/>
                  <a:gd name="T88" fmla="*/ 28 w 272"/>
                  <a:gd name="T89" fmla="*/ 345 h 401"/>
                  <a:gd name="T90" fmla="*/ 42 w 272"/>
                  <a:gd name="T91" fmla="*/ 321 h 401"/>
                  <a:gd name="T92" fmla="*/ 56 w 272"/>
                  <a:gd name="T93" fmla="*/ 299 h 401"/>
                  <a:gd name="T94" fmla="*/ 72 w 272"/>
                  <a:gd name="T95" fmla="*/ 277 h 401"/>
                  <a:gd name="T96" fmla="*/ 90 w 272"/>
                  <a:gd name="T97" fmla="*/ 255 h 401"/>
                  <a:gd name="T98" fmla="*/ 110 w 272"/>
                  <a:gd name="T99" fmla="*/ 235 h 401"/>
                  <a:gd name="T100" fmla="*/ 134 w 272"/>
                  <a:gd name="T101" fmla="*/ 211 h 401"/>
                  <a:gd name="T102" fmla="*/ 134 w 272"/>
                  <a:gd name="T103" fmla="*/ 21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2" h="401">
                    <a:moveTo>
                      <a:pt x="134" y="211"/>
                    </a:moveTo>
                    <a:lnTo>
                      <a:pt x="134" y="211"/>
                    </a:lnTo>
                    <a:lnTo>
                      <a:pt x="96" y="257"/>
                    </a:lnTo>
                    <a:lnTo>
                      <a:pt x="80" y="279"/>
                    </a:lnTo>
                    <a:lnTo>
                      <a:pt x="64" y="299"/>
                    </a:lnTo>
                    <a:lnTo>
                      <a:pt x="52" y="321"/>
                    </a:lnTo>
                    <a:lnTo>
                      <a:pt x="40" y="345"/>
                    </a:lnTo>
                    <a:lnTo>
                      <a:pt x="34" y="371"/>
                    </a:lnTo>
                    <a:lnTo>
                      <a:pt x="28" y="401"/>
                    </a:lnTo>
                    <a:lnTo>
                      <a:pt x="28" y="401"/>
                    </a:lnTo>
                    <a:lnTo>
                      <a:pt x="58" y="389"/>
                    </a:lnTo>
                    <a:lnTo>
                      <a:pt x="92" y="371"/>
                    </a:lnTo>
                    <a:lnTo>
                      <a:pt x="92" y="371"/>
                    </a:lnTo>
                    <a:lnTo>
                      <a:pt x="118" y="353"/>
                    </a:lnTo>
                    <a:lnTo>
                      <a:pt x="140" y="335"/>
                    </a:lnTo>
                    <a:lnTo>
                      <a:pt x="158" y="317"/>
                    </a:lnTo>
                    <a:lnTo>
                      <a:pt x="172" y="297"/>
                    </a:lnTo>
                    <a:lnTo>
                      <a:pt x="186" y="275"/>
                    </a:lnTo>
                    <a:lnTo>
                      <a:pt x="196" y="253"/>
                    </a:lnTo>
                    <a:lnTo>
                      <a:pt x="204" y="231"/>
                    </a:lnTo>
                    <a:lnTo>
                      <a:pt x="212" y="207"/>
                    </a:lnTo>
                    <a:lnTo>
                      <a:pt x="224" y="159"/>
                    </a:lnTo>
                    <a:lnTo>
                      <a:pt x="234" y="107"/>
                    </a:lnTo>
                    <a:lnTo>
                      <a:pt x="242" y="81"/>
                    </a:lnTo>
                    <a:lnTo>
                      <a:pt x="250" y="54"/>
                    </a:lnTo>
                    <a:lnTo>
                      <a:pt x="260" y="26"/>
                    </a:lnTo>
                    <a:lnTo>
                      <a:pt x="272" y="0"/>
                    </a:lnTo>
                    <a:lnTo>
                      <a:pt x="106" y="97"/>
                    </a:lnTo>
                    <a:lnTo>
                      <a:pt x="106" y="97"/>
                    </a:lnTo>
                    <a:lnTo>
                      <a:pt x="86" y="111"/>
                    </a:lnTo>
                    <a:lnTo>
                      <a:pt x="66" y="127"/>
                    </a:lnTo>
                    <a:lnTo>
                      <a:pt x="50" y="141"/>
                    </a:lnTo>
                    <a:lnTo>
                      <a:pt x="38" y="157"/>
                    </a:lnTo>
                    <a:lnTo>
                      <a:pt x="26" y="175"/>
                    </a:lnTo>
                    <a:lnTo>
                      <a:pt x="18" y="193"/>
                    </a:lnTo>
                    <a:lnTo>
                      <a:pt x="12" y="211"/>
                    </a:lnTo>
                    <a:lnTo>
                      <a:pt x="6" y="229"/>
                    </a:lnTo>
                    <a:lnTo>
                      <a:pt x="4" y="249"/>
                    </a:lnTo>
                    <a:lnTo>
                      <a:pt x="2" y="269"/>
                    </a:lnTo>
                    <a:lnTo>
                      <a:pt x="0" y="311"/>
                    </a:lnTo>
                    <a:lnTo>
                      <a:pt x="2" y="353"/>
                    </a:lnTo>
                    <a:lnTo>
                      <a:pt x="4" y="399"/>
                    </a:lnTo>
                    <a:lnTo>
                      <a:pt x="4" y="399"/>
                    </a:lnTo>
                    <a:lnTo>
                      <a:pt x="16" y="371"/>
                    </a:lnTo>
                    <a:lnTo>
                      <a:pt x="28" y="345"/>
                    </a:lnTo>
                    <a:lnTo>
                      <a:pt x="42" y="321"/>
                    </a:lnTo>
                    <a:lnTo>
                      <a:pt x="56" y="299"/>
                    </a:lnTo>
                    <a:lnTo>
                      <a:pt x="72" y="277"/>
                    </a:lnTo>
                    <a:lnTo>
                      <a:pt x="90" y="255"/>
                    </a:lnTo>
                    <a:lnTo>
                      <a:pt x="110" y="235"/>
                    </a:lnTo>
                    <a:lnTo>
                      <a:pt x="134" y="211"/>
                    </a:lnTo>
                    <a:lnTo>
                      <a:pt x="134"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66" name="Freeform 89">
                <a:extLst>
                  <a:ext uri="{FF2B5EF4-FFF2-40B4-BE49-F238E27FC236}">
                    <a16:creationId xmlns:a16="http://schemas.microsoft.com/office/drawing/2014/main" id="{AF8143D6-48E2-401F-BE3C-9220EF2FC70F}"/>
                  </a:ext>
                </a:extLst>
              </p:cNvPr>
              <p:cNvSpPr>
                <a:spLocks/>
              </p:cNvSpPr>
              <p:nvPr/>
            </p:nvSpPr>
            <p:spPr bwMode="auto">
              <a:xfrm>
                <a:off x="3944" y="3305"/>
                <a:ext cx="312" cy="122"/>
              </a:xfrm>
              <a:custGeom>
                <a:avLst/>
                <a:gdLst>
                  <a:gd name="T0" fmla="*/ 2 w 312"/>
                  <a:gd name="T1" fmla="*/ 56 h 122"/>
                  <a:gd name="T2" fmla="*/ 2 w 312"/>
                  <a:gd name="T3" fmla="*/ 56 h 122"/>
                  <a:gd name="T4" fmla="*/ 28 w 312"/>
                  <a:gd name="T5" fmla="*/ 50 h 122"/>
                  <a:gd name="T6" fmla="*/ 52 w 312"/>
                  <a:gd name="T7" fmla="*/ 48 h 122"/>
                  <a:gd name="T8" fmla="*/ 78 w 312"/>
                  <a:gd name="T9" fmla="*/ 48 h 122"/>
                  <a:gd name="T10" fmla="*/ 106 w 312"/>
                  <a:gd name="T11" fmla="*/ 52 h 122"/>
                  <a:gd name="T12" fmla="*/ 106 w 312"/>
                  <a:gd name="T13" fmla="*/ 52 h 122"/>
                  <a:gd name="T14" fmla="*/ 144 w 312"/>
                  <a:gd name="T15" fmla="*/ 54 h 122"/>
                  <a:gd name="T16" fmla="*/ 156 w 312"/>
                  <a:gd name="T17" fmla="*/ 56 h 122"/>
                  <a:gd name="T18" fmla="*/ 156 w 312"/>
                  <a:gd name="T19" fmla="*/ 56 h 122"/>
                  <a:gd name="T20" fmla="*/ 116 w 312"/>
                  <a:gd name="T21" fmla="*/ 56 h 122"/>
                  <a:gd name="T22" fmla="*/ 78 w 312"/>
                  <a:gd name="T23" fmla="*/ 56 h 122"/>
                  <a:gd name="T24" fmla="*/ 38 w 312"/>
                  <a:gd name="T25" fmla="*/ 62 h 122"/>
                  <a:gd name="T26" fmla="*/ 20 w 312"/>
                  <a:gd name="T27" fmla="*/ 66 h 122"/>
                  <a:gd name="T28" fmla="*/ 0 w 312"/>
                  <a:gd name="T29" fmla="*/ 70 h 122"/>
                  <a:gd name="T30" fmla="*/ 0 w 312"/>
                  <a:gd name="T31" fmla="*/ 70 h 122"/>
                  <a:gd name="T32" fmla="*/ 18 w 312"/>
                  <a:gd name="T33" fmla="*/ 84 h 122"/>
                  <a:gd name="T34" fmla="*/ 42 w 312"/>
                  <a:gd name="T35" fmla="*/ 100 h 122"/>
                  <a:gd name="T36" fmla="*/ 42 w 312"/>
                  <a:gd name="T37" fmla="*/ 100 h 122"/>
                  <a:gd name="T38" fmla="*/ 60 w 312"/>
                  <a:gd name="T39" fmla="*/ 110 h 122"/>
                  <a:gd name="T40" fmla="*/ 78 w 312"/>
                  <a:gd name="T41" fmla="*/ 116 h 122"/>
                  <a:gd name="T42" fmla="*/ 94 w 312"/>
                  <a:gd name="T43" fmla="*/ 120 h 122"/>
                  <a:gd name="T44" fmla="*/ 110 w 312"/>
                  <a:gd name="T45" fmla="*/ 122 h 122"/>
                  <a:gd name="T46" fmla="*/ 126 w 312"/>
                  <a:gd name="T47" fmla="*/ 122 h 122"/>
                  <a:gd name="T48" fmla="*/ 142 w 312"/>
                  <a:gd name="T49" fmla="*/ 122 h 122"/>
                  <a:gd name="T50" fmla="*/ 174 w 312"/>
                  <a:gd name="T51" fmla="*/ 116 h 122"/>
                  <a:gd name="T52" fmla="*/ 206 w 312"/>
                  <a:gd name="T53" fmla="*/ 108 h 122"/>
                  <a:gd name="T54" fmla="*/ 240 w 312"/>
                  <a:gd name="T55" fmla="*/ 98 h 122"/>
                  <a:gd name="T56" fmla="*/ 274 w 312"/>
                  <a:gd name="T57" fmla="*/ 90 h 122"/>
                  <a:gd name="T58" fmla="*/ 292 w 312"/>
                  <a:gd name="T59" fmla="*/ 86 h 122"/>
                  <a:gd name="T60" fmla="*/ 312 w 312"/>
                  <a:gd name="T61" fmla="*/ 84 h 122"/>
                  <a:gd name="T62" fmla="*/ 204 w 312"/>
                  <a:gd name="T63" fmla="*/ 20 h 122"/>
                  <a:gd name="T64" fmla="*/ 204 w 312"/>
                  <a:gd name="T65" fmla="*/ 20 h 122"/>
                  <a:gd name="T66" fmla="*/ 190 w 312"/>
                  <a:gd name="T67" fmla="*/ 14 h 122"/>
                  <a:gd name="T68" fmla="*/ 176 w 312"/>
                  <a:gd name="T69" fmla="*/ 8 h 122"/>
                  <a:gd name="T70" fmla="*/ 162 w 312"/>
                  <a:gd name="T71" fmla="*/ 4 h 122"/>
                  <a:gd name="T72" fmla="*/ 148 w 312"/>
                  <a:gd name="T73" fmla="*/ 0 h 122"/>
                  <a:gd name="T74" fmla="*/ 136 w 312"/>
                  <a:gd name="T75" fmla="*/ 0 h 122"/>
                  <a:gd name="T76" fmla="*/ 122 w 312"/>
                  <a:gd name="T77" fmla="*/ 0 h 122"/>
                  <a:gd name="T78" fmla="*/ 110 w 312"/>
                  <a:gd name="T79" fmla="*/ 2 h 122"/>
                  <a:gd name="T80" fmla="*/ 98 w 312"/>
                  <a:gd name="T81" fmla="*/ 4 h 122"/>
                  <a:gd name="T82" fmla="*/ 74 w 312"/>
                  <a:gd name="T83" fmla="*/ 14 h 122"/>
                  <a:gd name="T84" fmla="*/ 50 w 312"/>
                  <a:gd name="T85" fmla="*/ 26 h 122"/>
                  <a:gd name="T86" fmla="*/ 2 w 312"/>
                  <a:gd name="T87" fmla="*/ 56 h 122"/>
                  <a:gd name="T88" fmla="*/ 2 w 312"/>
                  <a:gd name="T89" fmla="*/ 5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2" h="122">
                    <a:moveTo>
                      <a:pt x="2" y="56"/>
                    </a:moveTo>
                    <a:lnTo>
                      <a:pt x="2" y="56"/>
                    </a:lnTo>
                    <a:lnTo>
                      <a:pt x="28" y="50"/>
                    </a:lnTo>
                    <a:lnTo>
                      <a:pt x="52" y="48"/>
                    </a:lnTo>
                    <a:lnTo>
                      <a:pt x="78" y="48"/>
                    </a:lnTo>
                    <a:lnTo>
                      <a:pt x="106" y="52"/>
                    </a:lnTo>
                    <a:lnTo>
                      <a:pt x="106" y="52"/>
                    </a:lnTo>
                    <a:lnTo>
                      <a:pt x="144" y="54"/>
                    </a:lnTo>
                    <a:lnTo>
                      <a:pt x="156" y="56"/>
                    </a:lnTo>
                    <a:lnTo>
                      <a:pt x="156" y="56"/>
                    </a:lnTo>
                    <a:lnTo>
                      <a:pt x="116" y="56"/>
                    </a:lnTo>
                    <a:lnTo>
                      <a:pt x="78" y="56"/>
                    </a:lnTo>
                    <a:lnTo>
                      <a:pt x="38" y="62"/>
                    </a:lnTo>
                    <a:lnTo>
                      <a:pt x="20" y="66"/>
                    </a:lnTo>
                    <a:lnTo>
                      <a:pt x="0" y="70"/>
                    </a:lnTo>
                    <a:lnTo>
                      <a:pt x="0" y="70"/>
                    </a:lnTo>
                    <a:lnTo>
                      <a:pt x="18" y="84"/>
                    </a:lnTo>
                    <a:lnTo>
                      <a:pt x="42" y="100"/>
                    </a:lnTo>
                    <a:lnTo>
                      <a:pt x="42" y="100"/>
                    </a:lnTo>
                    <a:lnTo>
                      <a:pt x="60" y="110"/>
                    </a:lnTo>
                    <a:lnTo>
                      <a:pt x="78" y="116"/>
                    </a:lnTo>
                    <a:lnTo>
                      <a:pt x="94" y="120"/>
                    </a:lnTo>
                    <a:lnTo>
                      <a:pt x="110" y="122"/>
                    </a:lnTo>
                    <a:lnTo>
                      <a:pt x="126" y="122"/>
                    </a:lnTo>
                    <a:lnTo>
                      <a:pt x="142" y="122"/>
                    </a:lnTo>
                    <a:lnTo>
                      <a:pt x="174" y="116"/>
                    </a:lnTo>
                    <a:lnTo>
                      <a:pt x="206" y="108"/>
                    </a:lnTo>
                    <a:lnTo>
                      <a:pt x="240" y="98"/>
                    </a:lnTo>
                    <a:lnTo>
                      <a:pt x="274" y="90"/>
                    </a:lnTo>
                    <a:lnTo>
                      <a:pt x="292" y="86"/>
                    </a:lnTo>
                    <a:lnTo>
                      <a:pt x="312" y="84"/>
                    </a:lnTo>
                    <a:lnTo>
                      <a:pt x="204" y="20"/>
                    </a:lnTo>
                    <a:lnTo>
                      <a:pt x="204" y="20"/>
                    </a:lnTo>
                    <a:lnTo>
                      <a:pt x="190" y="14"/>
                    </a:lnTo>
                    <a:lnTo>
                      <a:pt x="176" y="8"/>
                    </a:lnTo>
                    <a:lnTo>
                      <a:pt x="162" y="4"/>
                    </a:lnTo>
                    <a:lnTo>
                      <a:pt x="148" y="0"/>
                    </a:lnTo>
                    <a:lnTo>
                      <a:pt x="136" y="0"/>
                    </a:lnTo>
                    <a:lnTo>
                      <a:pt x="122" y="0"/>
                    </a:lnTo>
                    <a:lnTo>
                      <a:pt x="110" y="2"/>
                    </a:lnTo>
                    <a:lnTo>
                      <a:pt x="98" y="4"/>
                    </a:lnTo>
                    <a:lnTo>
                      <a:pt x="74" y="14"/>
                    </a:lnTo>
                    <a:lnTo>
                      <a:pt x="50" y="26"/>
                    </a:lnTo>
                    <a:lnTo>
                      <a:pt x="2" y="56"/>
                    </a:lnTo>
                    <a:lnTo>
                      <a:pt x="2"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67" name="Freeform 90">
                <a:extLst>
                  <a:ext uri="{FF2B5EF4-FFF2-40B4-BE49-F238E27FC236}">
                    <a16:creationId xmlns:a16="http://schemas.microsoft.com/office/drawing/2014/main" id="{C50ADC0D-41D0-4E13-A451-9CDFF8139EDD}"/>
                  </a:ext>
                </a:extLst>
              </p:cNvPr>
              <p:cNvSpPr>
                <a:spLocks/>
              </p:cNvSpPr>
              <p:nvPr/>
            </p:nvSpPr>
            <p:spPr bwMode="auto">
              <a:xfrm>
                <a:off x="3896" y="3413"/>
                <a:ext cx="4" cy="2"/>
              </a:xfrm>
              <a:custGeom>
                <a:avLst/>
                <a:gdLst>
                  <a:gd name="T0" fmla="*/ 0 w 4"/>
                  <a:gd name="T1" fmla="*/ 0 h 2"/>
                  <a:gd name="T2" fmla="*/ 0 w 4"/>
                  <a:gd name="T3" fmla="*/ 0 h 2"/>
                  <a:gd name="T4" fmla="*/ 4 w 4"/>
                  <a:gd name="T5" fmla="*/ 2 h 2"/>
                  <a:gd name="T6" fmla="*/ 4 w 4"/>
                  <a:gd name="T7" fmla="*/ 2 h 2"/>
                  <a:gd name="T8" fmla="*/ 4 w 4"/>
                  <a:gd name="T9" fmla="*/ 0 h 2"/>
                  <a:gd name="T10" fmla="*/ 0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0" y="0"/>
                    </a:moveTo>
                    <a:lnTo>
                      <a:pt x="0" y="0"/>
                    </a:lnTo>
                    <a:lnTo>
                      <a:pt x="4" y="2"/>
                    </a:lnTo>
                    <a:lnTo>
                      <a:pt x="4" y="2"/>
                    </a:lnTo>
                    <a:lnTo>
                      <a:pt x="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68" name="Freeform 91">
                <a:extLst>
                  <a:ext uri="{FF2B5EF4-FFF2-40B4-BE49-F238E27FC236}">
                    <a16:creationId xmlns:a16="http://schemas.microsoft.com/office/drawing/2014/main" id="{D5F83EAA-579E-46AF-BD0A-4143FC20399F}"/>
                  </a:ext>
                </a:extLst>
              </p:cNvPr>
              <p:cNvSpPr>
                <a:spLocks/>
              </p:cNvSpPr>
              <p:nvPr/>
            </p:nvSpPr>
            <p:spPr bwMode="auto">
              <a:xfrm>
                <a:off x="3896" y="3415"/>
                <a:ext cx="284" cy="390"/>
              </a:xfrm>
              <a:custGeom>
                <a:avLst/>
                <a:gdLst>
                  <a:gd name="T0" fmla="*/ 56 w 284"/>
                  <a:gd name="T1" fmla="*/ 14 h 390"/>
                  <a:gd name="T2" fmla="*/ 56 w 284"/>
                  <a:gd name="T3" fmla="*/ 14 h 390"/>
                  <a:gd name="T4" fmla="*/ 70 w 284"/>
                  <a:gd name="T5" fmla="*/ 28 h 390"/>
                  <a:gd name="T6" fmla="*/ 82 w 284"/>
                  <a:gd name="T7" fmla="*/ 40 h 390"/>
                  <a:gd name="T8" fmla="*/ 102 w 284"/>
                  <a:gd name="T9" fmla="*/ 68 h 390"/>
                  <a:gd name="T10" fmla="*/ 122 w 284"/>
                  <a:gd name="T11" fmla="*/ 100 h 390"/>
                  <a:gd name="T12" fmla="*/ 142 w 284"/>
                  <a:gd name="T13" fmla="*/ 134 h 390"/>
                  <a:gd name="T14" fmla="*/ 142 w 284"/>
                  <a:gd name="T15" fmla="*/ 134 h 390"/>
                  <a:gd name="T16" fmla="*/ 168 w 284"/>
                  <a:gd name="T17" fmla="*/ 184 h 390"/>
                  <a:gd name="T18" fmla="*/ 176 w 284"/>
                  <a:gd name="T19" fmla="*/ 202 h 390"/>
                  <a:gd name="T20" fmla="*/ 176 w 284"/>
                  <a:gd name="T21" fmla="*/ 202 h 390"/>
                  <a:gd name="T22" fmla="*/ 160 w 284"/>
                  <a:gd name="T23" fmla="*/ 174 h 390"/>
                  <a:gd name="T24" fmla="*/ 140 w 284"/>
                  <a:gd name="T25" fmla="*/ 146 h 390"/>
                  <a:gd name="T26" fmla="*/ 122 w 284"/>
                  <a:gd name="T27" fmla="*/ 118 h 390"/>
                  <a:gd name="T28" fmla="*/ 100 w 284"/>
                  <a:gd name="T29" fmla="*/ 92 h 390"/>
                  <a:gd name="T30" fmla="*/ 78 w 284"/>
                  <a:gd name="T31" fmla="*/ 66 h 390"/>
                  <a:gd name="T32" fmla="*/ 54 w 284"/>
                  <a:gd name="T33" fmla="*/ 42 h 390"/>
                  <a:gd name="T34" fmla="*/ 30 w 284"/>
                  <a:gd name="T35" fmla="*/ 20 h 390"/>
                  <a:gd name="T36" fmla="*/ 4 w 284"/>
                  <a:gd name="T37" fmla="*/ 0 h 390"/>
                  <a:gd name="T38" fmla="*/ 4 w 284"/>
                  <a:gd name="T39" fmla="*/ 0 h 390"/>
                  <a:gd name="T40" fmla="*/ 2 w 284"/>
                  <a:gd name="T41" fmla="*/ 12 h 390"/>
                  <a:gd name="T42" fmla="*/ 0 w 284"/>
                  <a:gd name="T43" fmla="*/ 30 h 390"/>
                  <a:gd name="T44" fmla="*/ 0 w 284"/>
                  <a:gd name="T45" fmla="*/ 58 h 390"/>
                  <a:gd name="T46" fmla="*/ 2 w 284"/>
                  <a:gd name="T47" fmla="*/ 92 h 390"/>
                  <a:gd name="T48" fmla="*/ 2 w 284"/>
                  <a:gd name="T49" fmla="*/ 92 h 390"/>
                  <a:gd name="T50" fmla="*/ 10 w 284"/>
                  <a:gd name="T51" fmla="*/ 122 h 390"/>
                  <a:gd name="T52" fmla="*/ 18 w 284"/>
                  <a:gd name="T53" fmla="*/ 148 h 390"/>
                  <a:gd name="T54" fmla="*/ 30 w 284"/>
                  <a:gd name="T55" fmla="*/ 172 h 390"/>
                  <a:gd name="T56" fmla="*/ 42 w 284"/>
                  <a:gd name="T57" fmla="*/ 192 h 390"/>
                  <a:gd name="T58" fmla="*/ 58 w 284"/>
                  <a:gd name="T59" fmla="*/ 212 h 390"/>
                  <a:gd name="T60" fmla="*/ 74 w 284"/>
                  <a:gd name="T61" fmla="*/ 230 h 390"/>
                  <a:gd name="T62" fmla="*/ 92 w 284"/>
                  <a:gd name="T63" fmla="*/ 246 h 390"/>
                  <a:gd name="T64" fmla="*/ 112 w 284"/>
                  <a:gd name="T65" fmla="*/ 260 h 390"/>
                  <a:gd name="T66" fmla="*/ 154 w 284"/>
                  <a:gd name="T67" fmla="*/ 290 h 390"/>
                  <a:gd name="T68" fmla="*/ 198 w 284"/>
                  <a:gd name="T69" fmla="*/ 318 h 390"/>
                  <a:gd name="T70" fmla="*/ 220 w 284"/>
                  <a:gd name="T71" fmla="*/ 334 h 390"/>
                  <a:gd name="T72" fmla="*/ 240 w 284"/>
                  <a:gd name="T73" fmla="*/ 352 h 390"/>
                  <a:gd name="T74" fmla="*/ 262 w 284"/>
                  <a:gd name="T75" fmla="*/ 370 h 390"/>
                  <a:gd name="T76" fmla="*/ 284 w 284"/>
                  <a:gd name="T77" fmla="*/ 390 h 390"/>
                  <a:gd name="T78" fmla="*/ 252 w 284"/>
                  <a:gd name="T79" fmla="*/ 202 h 390"/>
                  <a:gd name="T80" fmla="*/ 252 w 284"/>
                  <a:gd name="T81" fmla="*/ 202 h 390"/>
                  <a:gd name="T82" fmla="*/ 248 w 284"/>
                  <a:gd name="T83" fmla="*/ 180 h 390"/>
                  <a:gd name="T84" fmla="*/ 242 w 284"/>
                  <a:gd name="T85" fmla="*/ 160 h 390"/>
                  <a:gd name="T86" fmla="*/ 234 w 284"/>
                  <a:gd name="T87" fmla="*/ 142 h 390"/>
                  <a:gd name="T88" fmla="*/ 226 w 284"/>
                  <a:gd name="T89" fmla="*/ 126 h 390"/>
                  <a:gd name="T90" fmla="*/ 218 w 284"/>
                  <a:gd name="T91" fmla="*/ 112 h 390"/>
                  <a:gd name="T92" fmla="*/ 206 w 284"/>
                  <a:gd name="T93" fmla="*/ 98 h 390"/>
                  <a:gd name="T94" fmla="*/ 196 w 284"/>
                  <a:gd name="T95" fmla="*/ 86 h 390"/>
                  <a:gd name="T96" fmla="*/ 184 w 284"/>
                  <a:gd name="T97" fmla="*/ 76 h 390"/>
                  <a:gd name="T98" fmla="*/ 170 w 284"/>
                  <a:gd name="T99" fmla="*/ 66 h 390"/>
                  <a:gd name="T100" fmla="*/ 156 w 284"/>
                  <a:gd name="T101" fmla="*/ 56 h 390"/>
                  <a:gd name="T102" fmla="*/ 126 w 284"/>
                  <a:gd name="T103" fmla="*/ 40 h 390"/>
                  <a:gd name="T104" fmla="*/ 92 w 284"/>
                  <a:gd name="T105" fmla="*/ 26 h 390"/>
                  <a:gd name="T106" fmla="*/ 56 w 284"/>
                  <a:gd name="T107" fmla="*/ 14 h 390"/>
                  <a:gd name="T108" fmla="*/ 56 w 284"/>
                  <a:gd name="T109" fmla="*/ 14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4" h="390">
                    <a:moveTo>
                      <a:pt x="56" y="14"/>
                    </a:moveTo>
                    <a:lnTo>
                      <a:pt x="56" y="14"/>
                    </a:lnTo>
                    <a:lnTo>
                      <a:pt x="70" y="28"/>
                    </a:lnTo>
                    <a:lnTo>
                      <a:pt x="82" y="40"/>
                    </a:lnTo>
                    <a:lnTo>
                      <a:pt x="102" y="68"/>
                    </a:lnTo>
                    <a:lnTo>
                      <a:pt x="122" y="100"/>
                    </a:lnTo>
                    <a:lnTo>
                      <a:pt x="142" y="134"/>
                    </a:lnTo>
                    <a:lnTo>
                      <a:pt x="142" y="134"/>
                    </a:lnTo>
                    <a:lnTo>
                      <a:pt x="168" y="184"/>
                    </a:lnTo>
                    <a:lnTo>
                      <a:pt x="176" y="202"/>
                    </a:lnTo>
                    <a:lnTo>
                      <a:pt x="176" y="202"/>
                    </a:lnTo>
                    <a:lnTo>
                      <a:pt x="160" y="174"/>
                    </a:lnTo>
                    <a:lnTo>
                      <a:pt x="140" y="146"/>
                    </a:lnTo>
                    <a:lnTo>
                      <a:pt x="122" y="118"/>
                    </a:lnTo>
                    <a:lnTo>
                      <a:pt x="100" y="92"/>
                    </a:lnTo>
                    <a:lnTo>
                      <a:pt x="78" y="66"/>
                    </a:lnTo>
                    <a:lnTo>
                      <a:pt x="54" y="42"/>
                    </a:lnTo>
                    <a:lnTo>
                      <a:pt x="30" y="20"/>
                    </a:lnTo>
                    <a:lnTo>
                      <a:pt x="4" y="0"/>
                    </a:lnTo>
                    <a:lnTo>
                      <a:pt x="4" y="0"/>
                    </a:lnTo>
                    <a:lnTo>
                      <a:pt x="2" y="12"/>
                    </a:lnTo>
                    <a:lnTo>
                      <a:pt x="0" y="30"/>
                    </a:lnTo>
                    <a:lnTo>
                      <a:pt x="0" y="58"/>
                    </a:lnTo>
                    <a:lnTo>
                      <a:pt x="2" y="92"/>
                    </a:lnTo>
                    <a:lnTo>
                      <a:pt x="2" y="92"/>
                    </a:lnTo>
                    <a:lnTo>
                      <a:pt x="10" y="122"/>
                    </a:lnTo>
                    <a:lnTo>
                      <a:pt x="18" y="148"/>
                    </a:lnTo>
                    <a:lnTo>
                      <a:pt x="30" y="172"/>
                    </a:lnTo>
                    <a:lnTo>
                      <a:pt x="42" y="192"/>
                    </a:lnTo>
                    <a:lnTo>
                      <a:pt x="58" y="212"/>
                    </a:lnTo>
                    <a:lnTo>
                      <a:pt x="74" y="230"/>
                    </a:lnTo>
                    <a:lnTo>
                      <a:pt x="92" y="246"/>
                    </a:lnTo>
                    <a:lnTo>
                      <a:pt x="112" y="260"/>
                    </a:lnTo>
                    <a:lnTo>
                      <a:pt x="154" y="290"/>
                    </a:lnTo>
                    <a:lnTo>
                      <a:pt x="198" y="318"/>
                    </a:lnTo>
                    <a:lnTo>
                      <a:pt x="220" y="334"/>
                    </a:lnTo>
                    <a:lnTo>
                      <a:pt x="240" y="352"/>
                    </a:lnTo>
                    <a:lnTo>
                      <a:pt x="262" y="370"/>
                    </a:lnTo>
                    <a:lnTo>
                      <a:pt x="284" y="390"/>
                    </a:lnTo>
                    <a:lnTo>
                      <a:pt x="252" y="202"/>
                    </a:lnTo>
                    <a:lnTo>
                      <a:pt x="252" y="202"/>
                    </a:lnTo>
                    <a:lnTo>
                      <a:pt x="248" y="180"/>
                    </a:lnTo>
                    <a:lnTo>
                      <a:pt x="242" y="160"/>
                    </a:lnTo>
                    <a:lnTo>
                      <a:pt x="234" y="142"/>
                    </a:lnTo>
                    <a:lnTo>
                      <a:pt x="226" y="126"/>
                    </a:lnTo>
                    <a:lnTo>
                      <a:pt x="218" y="112"/>
                    </a:lnTo>
                    <a:lnTo>
                      <a:pt x="206" y="98"/>
                    </a:lnTo>
                    <a:lnTo>
                      <a:pt x="196" y="86"/>
                    </a:lnTo>
                    <a:lnTo>
                      <a:pt x="184" y="76"/>
                    </a:lnTo>
                    <a:lnTo>
                      <a:pt x="170" y="66"/>
                    </a:lnTo>
                    <a:lnTo>
                      <a:pt x="156" y="56"/>
                    </a:lnTo>
                    <a:lnTo>
                      <a:pt x="126" y="40"/>
                    </a:lnTo>
                    <a:lnTo>
                      <a:pt x="92" y="26"/>
                    </a:lnTo>
                    <a:lnTo>
                      <a:pt x="56" y="14"/>
                    </a:lnTo>
                    <a:lnTo>
                      <a:pt x="5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69" name="Freeform 92">
                <a:extLst>
                  <a:ext uri="{FF2B5EF4-FFF2-40B4-BE49-F238E27FC236}">
                    <a16:creationId xmlns:a16="http://schemas.microsoft.com/office/drawing/2014/main" id="{352A9F66-93F0-4859-8D99-07158A8298EA}"/>
                  </a:ext>
                </a:extLst>
              </p:cNvPr>
              <p:cNvSpPr>
                <a:spLocks/>
              </p:cNvSpPr>
              <p:nvPr/>
            </p:nvSpPr>
            <p:spPr bwMode="auto">
              <a:xfrm>
                <a:off x="4797" y="1091"/>
                <a:ext cx="480" cy="238"/>
              </a:xfrm>
              <a:custGeom>
                <a:avLst/>
                <a:gdLst>
                  <a:gd name="T0" fmla="*/ 378 w 480"/>
                  <a:gd name="T1" fmla="*/ 238 h 238"/>
                  <a:gd name="T2" fmla="*/ 378 w 480"/>
                  <a:gd name="T3" fmla="*/ 238 h 238"/>
                  <a:gd name="T4" fmla="*/ 420 w 480"/>
                  <a:gd name="T5" fmla="*/ 234 h 238"/>
                  <a:gd name="T6" fmla="*/ 452 w 480"/>
                  <a:gd name="T7" fmla="*/ 228 h 238"/>
                  <a:gd name="T8" fmla="*/ 480 w 480"/>
                  <a:gd name="T9" fmla="*/ 222 h 238"/>
                  <a:gd name="T10" fmla="*/ 480 w 480"/>
                  <a:gd name="T11" fmla="*/ 222 h 238"/>
                  <a:gd name="T12" fmla="*/ 454 w 480"/>
                  <a:gd name="T13" fmla="*/ 176 h 238"/>
                  <a:gd name="T14" fmla="*/ 428 w 480"/>
                  <a:gd name="T15" fmla="*/ 134 h 238"/>
                  <a:gd name="T16" fmla="*/ 424 w 480"/>
                  <a:gd name="T17" fmla="*/ 130 h 238"/>
                  <a:gd name="T18" fmla="*/ 424 w 480"/>
                  <a:gd name="T19" fmla="*/ 130 h 238"/>
                  <a:gd name="T20" fmla="*/ 394 w 480"/>
                  <a:gd name="T21" fmla="*/ 112 h 238"/>
                  <a:gd name="T22" fmla="*/ 368 w 480"/>
                  <a:gd name="T23" fmla="*/ 100 h 238"/>
                  <a:gd name="T24" fmla="*/ 342 w 480"/>
                  <a:gd name="T25" fmla="*/ 92 h 238"/>
                  <a:gd name="T26" fmla="*/ 318 w 480"/>
                  <a:gd name="T27" fmla="*/ 88 h 238"/>
                  <a:gd name="T28" fmla="*/ 294 w 480"/>
                  <a:gd name="T29" fmla="*/ 86 h 238"/>
                  <a:gd name="T30" fmla="*/ 268 w 480"/>
                  <a:gd name="T31" fmla="*/ 86 h 238"/>
                  <a:gd name="T32" fmla="*/ 214 w 480"/>
                  <a:gd name="T33" fmla="*/ 86 h 238"/>
                  <a:gd name="T34" fmla="*/ 214 w 480"/>
                  <a:gd name="T35" fmla="*/ 86 h 238"/>
                  <a:gd name="T36" fmla="*/ 264 w 480"/>
                  <a:gd name="T37" fmla="*/ 80 h 238"/>
                  <a:gd name="T38" fmla="*/ 286 w 480"/>
                  <a:gd name="T39" fmla="*/ 80 h 238"/>
                  <a:gd name="T40" fmla="*/ 308 w 480"/>
                  <a:gd name="T41" fmla="*/ 80 h 238"/>
                  <a:gd name="T42" fmla="*/ 332 w 480"/>
                  <a:gd name="T43" fmla="*/ 82 h 238"/>
                  <a:gd name="T44" fmla="*/ 356 w 480"/>
                  <a:gd name="T45" fmla="*/ 86 h 238"/>
                  <a:gd name="T46" fmla="*/ 380 w 480"/>
                  <a:gd name="T47" fmla="*/ 92 h 238"/>
                  <a:gd name="T48" fmla="*/ 406 w 480"/>
                  <a:gd name="T49" fmla="*/ 100 h 238"/>
                  <a:gd name="T50" fmla="*/ 406 w 480"/>
                  <a:gd name="T51" fmla="*/ 100 h 238"/>
                  <a:gd name="T52" fmla="*/ 388 w 480"/>
                  <a:gd name="T53" fmla="*/ 76 h 238"/>
                  <a:gd name="T54" fmla="*/ 370 w 480"/>
                  <a:gd name="T55" fmla="*/ 58 h 238"/>
                  <a:gd name="T56" fmla="*/ 348 w 480"/>
                  <a:gd name="T57" fmla="*/ 40 h 238"/>
                  <a:gd name="T58" fmla="*/ 326 w 480"/>
                  <a:gd name="T59" fmla="*/ 24 h 238"/>
                  <a:gd name="T60" fmla="*/ 300 w 480"/>
                  <a:gd name="T61" fmla="*/ 14 h 238"/>
                  <a:gd name="T62" fmla="*/ 272 w 480"/>
                  <a:gd name="T63" fmla="*/ 6 h 238"/>
                  <a:gd name="T64" fmla="*/ 240 w 480"/>
                  <a:gd name="T65" fmla="*/ 0 h 238"/>
                  <a:gd name="T66" fmla="*/ 206 w 480"/>
                  <a:gd name="T67" fmla="*/ 0 h 238"/>
                  <a:gd name="T68" fmla="*/ 0 w 480"/>
                  <a:gd name="T69" fmla="*/ 10 h 238"/>
                  <a:gd name="T70" fmla="*/ 0 w 480"/>
                  <a:gd name="T71" fmla="*/ 10 h 238"/>
                  <a:gd name="T72" fmla="*/ 26 w 480"/>
                  <a:gd name="T73" fmla="*/ 28 h 238"/>
                  <a:gd name="T74" fmla="*/ 50 w 480"/>
                  <a:gd name="T75" fmla="*/ 46 h 238"/>
                  <a:gd name="T76" fmla="*/ 74 w 480"/>
                  <a:gd name="T77" fmla="*/ 66 h 238"/>
                  <a:gd name="T78" fmla="*/ 96 w 480"/>
                  <a:gd name="T79" fmla="*/ 84 h 238"/>
                  <a:gd name="T80" fmla="*/ 136 w 480"/>
                  <a:gd name="T81" fmla="*/ 124 h 238"/>
                  <a:gd name="T82" fmla="*/ 176 w 480"/>
                  <a:gd name="T83" fmla="*/ 160 h 238"/>
                  <a:gd name="T84" fmla="*/ 196 w 480"/>
                  <a:gd name="T85" fmla="*/ 178 h 238"/>
                  <a:gd name="T86" fmla="*/ 216 w 480"/>
                  <a:gd name="T87" fmla="*/ 192 h 238"/>
                  <a:gd name="T88" fmla="*/ 238 w 480"/>
                  <a:gd name="T89" fmla="*/ 206 h 238"/>
                  <a:gd name="T90" fmla="*/ 262 w 480"/>
                  <a:gd name="T91" fmla="*/ 218 h 238"/>
                  <a:gd name="T92" fmla="*/ 288 w 480"/>
                  <a:gd name="T93" fmla="*/ 228 h 238"/>
                  <a:gd name="T94" fmla="*/ 316 w 480"/>
                  <a:gd name="T95" fmla="*/ 234 h 238"/>
                  <a:gd name="T96" fmla="*/ 346 w 480"/>
                  <a:gd name="T97" fmla="*/ 236 h 238"/>
                  <a:gd name="T98" fmla="*/ 378 w 480"/>
                  <a:gd name="T99" fmla="*/ 238 h 238"/>
                  <a:gd name="T100" fmla="*/ 378 w 480"/>
                  <a:gd name="T10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0" h="238">
                    <a:moveTo>
                      <a:pt x="378" y="238"/>
                    </a:moveTo>
                    <a:lnTo>
                      <a:pt x="378" y="238"/>
                    </a:lnTo>
                    <a:lnTo>
                      <a:pt x="420" y="234"/>
                    </a:lnTo>
                    <a:lnTo>
                      <a:pt x="452" y="228"/>
                    </a:lnTo>
                    <a:lnTo>
                      <a:pt x="480" y="222"/>
                    </a:lnTo>
                    <a:lnTo>
                      <a:pt x="480" y="222"/>
                    </a:lnTo>
                    <a:lnTo>
                      <a:pt x="454" y="176"/>
                    </a:lnTo>
                    <a:lnTo>
                      <a:pt x="428" y="134"/>
                    </a:lnTo>
                    <a:lnTo>
                      <a:pt x="424" y="130"/>
                    </a:lnTo>
                    <a:lnTo>
                      <a:pt x="424" y="130"/>
                    </a:lnTo>
                    <a:lnTo>
                      <a:pt x="394" y="112"/>
                    </a:lnTo>
                    <a:lnTo>
                      <a:pt x="368" y="100"/>
                    </a:lnTo>
                    <a:lnTo>
                      <a:pt x="342" y="92"/>
                    </a:lnTo>
                    <a:lnTo>
                      <a:pt x="318" y="88"/>
                    </a:lnTo>
                    <a:lnTo>
                      <a:pt x="294" y="86"/>
                    </a:lnTo>
                    <a:lnTo>
                      <a:pt x="268" y="86"/>
                    </a:lnTo>
                    <a:lnTo>
                      <a:pt x="214" y="86"/>
                    </a:lnTo>
                    <a:lnTo>
                      <a:pt x="214" y="86"/>
                    </a:lnTo>
                    <a:lnTo>
                      <a:pt x="264" y="80"/>
                    </a:lnTo>
                    <a:lnTo>
                      <a:pt x="286" y="80"/>
                    </a:lnTo>
                    <a:lnTo>
                      <a:pt x="308" y="80"/>
                    </a:lnTo>
                    <a:lnTo>
                      <a:pt x="332" y="82"/>
                    </a:lnTo>
                    <a:lnTo>
                      <a:pt x="356" y="86"/>
                    </a:lnTo>
                    <a:lnTo>
                      <a:pt x="380" y="92"/>
                    </a:lnTo>
                    <a:lnTo>
                      <a:pt x="406" y="100"/>
                    </a:lnTo>
                    <a:lnTo>
                      <a:pt x="406" y="100"/>
                    </a:lnTo>
                    <a:lnTo>
                      <a:pt x="388" y="76"/>
                    </a:lnTo>
                    <a:lnTo>
                      <a:pt x="370" y="58"/>
                    </a:lnTo>
                    <a:lnTo>
                      <a:pt x="348" y="40"/>
                    </a:lnTo>
                    <a:lnTo>
                      <a:pt x="326" y="24"/>
                    </a:lnTo>
                    <a:lnTo>
                      <a:pt x="300" y="14"/>
                    </a:lnTo>
                    <a:lnTo>
                      <a:pt x="272" y="6"/>
                    </a:lnTo>
                    <a:lnTo>
                      <a:pt x="240" y="0"/>
                    </a:lnTo>
                    <a:lnTo>
                      <a:pt x="206" y="0"/>
                    </a:lnTo>
                    <a:lnTo>
                      <a:pt x="0" y="10"/>
                    </a:lnTo>
                    <a:lnTo>
                      <a:pt x="0" y="10"/>
                    </a:lnTo>
                    <a:lnTo>
                      <a:pt x="26" y="28"/>
                    </a:lnTo>
                    <a:lnTo>
                      <a:pt x="50" y="46"/>
                    </a:lnTo>
                    <a:lnTo>
                      <a:pt x="74" y="66"/>
                    </a:lnTo>
                    <a:lnTo>
                      <a:pt x="96" y="84"/>
                    </a:lnTo>
                    <a:lnTo>
                      <a:pt x="136" y="124"/>
                    </a:lnTo>
                    <a:lnTo>
                      <a:pt x="176" y="160"/>
                    </a:lnTo>
                    <a:lnTo>
                      <a:pt x="196" y="178"/>
                    </a:lnTo>
                    <a:lnTo>
                      <a:pt x="216" y="192"/>
                    </a:lnTo>
                    <a:lnTo>
                      <a:pt x="238" y="206"/>
                    </a:lnTo>
                    <a:lnTo>
                      <a:pt x="262" y="218"/>
                    </a:lnTo>
                    <a:lnTo>
                      <a:pt x="288" y="228"/>
                    </a:lnTo>
                    <a:lnTo>
                      <a:pt x="316" y="234"/>
                    </a:lnTo>
                    <a:lnTo>
                      <a:pt x="346" y="236"/>
                    </a:lnTo>
                    <a:lnTo>
                      <a:pt x="378" y="238"/>
                    </a:lnTo>
                    <a:lnTo>
                      <a:pt x="378" y="2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70" name="Freeform 93">
                <a:extLst>
                  <a:ext uri="{FF2B5EF4-FFF2-40B4-BE49-F238E27FC236}">
                    <a16:creationId xmlns:a16="http://schemas.microsoft.com/office/drawing/2014/main" id="{A1B8D0D8-2CB4-418A-838F-3AE53EF7D621}"/>
                  </a:ext>
                </a:extLst>
              </p:cNvPr>
              <p:cNvSpPr>
                <a:spLocks/>
              </p:cNvSpPr>
              <p:nvPr/>
            </p:nvSpPr>
            <p:spPr bwMode="auto">
              <a:xfrm>
                <a:off x="5163" y="749"/>
                <a:ext cx="212" cy="516"/>
              </a:xfrm>
              <a:custGeom>
                <a:avLst/>
                <a:gdLst>
                  <a:gd name="T0" fmla="*/ 74 w 212"/>
                  <a:gd name="T1" fmla="*/ 190 h 516"/>
                  <a:gd name="T2" fmla="*/ 74 w 212"/>
                  <a:gd name="T3" fmla="*/ 190 h 516"/>
                  <a:gd name="T4" fmla="*/ 72 w 212"/>
                  <a:gd name="T5" fmla="*/ 256 h 516"/>
                  <a:gd name="T6" fmla="*/ 72 w 212"/>
                  <a:gd name="T7" fmla="*/ 286 h 516"/>
                  <a:gd name="T8" fmla="*/ 72 w 212"/>
                  <a:gd name="T9" fmla="*/ 316 h 516"/>
                  <a:gd name="T10" fmla="*/ 74 w 212"/>
                  <a:gd name="T11" fmla="*/ 346 h 516"/>
                  <a:gd name="T12" fmla="*/ 80 w 212"/>
                  <a:gd name="T13" fmla="*/ 376 h 516"/>
                  <a:gd name="T14" fmla="*/ 88 w 212"/>
                  <a:gd name="T15" fmla="*/ 410 h 516"/>
                  <a:gd name="T16" fmla="*/ 102 w 212"/>
                  <a:gd name="T17" fmla="*/ 446 h 516"/>
                  <a:gd name="T18" fmla="*/ 102 w 212"/>
                  <a:gd name="T19" fmla="*/ 446 h 516"/>
                  <a:gd name="T20" fmla="*/ 112 w 212"/>
                  <a:gd name="T21" fmla="*/ 466 h 516"/>
                  <a:gd name="T22" fmla="*/ 112 w 212"/>
                  <a:gd name="T23" fmla="*/ 466 h 516"/>
                  <a:gd name="T24" fmla="*/ 164 w 212"/>
                  <a:gd name="T25" fmla="*/ 516 h 516"/>
                  <a:gd name="T26" fmla="*/ 164 w 212"/>
                  <a:gd name="T27" fmla="*/ 516 h 516"/>
                  <a:gd name="T28" fmla="*/ 176 w 212"/>
                  <a:gd name="T29" fmla="*/ 490 h 516"/>
                  <a:gd name="T30" fmla="*/ 188 w 212"/>
                  <a:gd name="T31" fmla="*/ 460 h 516"/>
                  <a:gd name="T32" fmla="*/ 202 w 212"/>
                  <a:gd name="T33" fmla="*/ 420 h 516"/>
                  <a:gd name="T34" fmla="*/ 202 w 212"/>
                  <a:gd name="T35" fmla="*/ 420 h 516"/>
                  <a:gd name="T36" fmla="*/ 208 w 212"/>
                  <a:gd name="T37" fmla="*/ 388 h 516"/>
                  <a:gd name="T38" fmla="*/ 212 w 212"/>
                  <a:gd name="T39" fmla="*/ 358 h 516"/>
                  <a:gd name="T40" fmla="*/ 212 w 212"/>
                  <a:gd name="T41" fmla="*/ 330 h 516"/>
                  <a:gd name="T42" fmla="*/ 210 w 212"/>
                  <a:gd name="T43" fmla="*/ 302 h 516"/>
                  <a:gd name="T44" fmla="*/ 204 w 212"/>
                  <a:gd name="T45" fmla="*/ 276 h 516"/>
                  <a:gd name="T46" fmla="*/ 194 w 212"/>
                  <a:gd name="T47" fmla="*/ 252 h 516"/>
                  <a:gd name="T48" fmla="*/ 184 w 212"/>
                  <a:gd name="T49" fmla="*/ 228 h 516"/>
                  <a:gd name="T50" fmla="*/ 172 w 212"/>
                  <a:gd name="T51" fmla="*/ 204 h 516"/>
                  <a:gd name="T52" fmla="*/ 146 w 212"/>
                  <a:gd name="T53" fmla="*/ 158 h 516"/>
                  <a:gd name="T54" fmla="*/ 118 w 212"/>
                  <a:gd name="T55" fmla="*/ 110 h 516"/>
                  <a:gd name="T56" fmla="*/ 102 w 212"/>
                  <a:gd name="T57" fmla="*/ 84 h 516"/>
                  <a:gd name="T58" fmla="*/ 90 w 212"/>
                  <a:gd name="T59" fmla="*/ 58 h 516"/>
                  <a:gd name="T60" fmla="*/ 78 w 212"/>
                  <a:gd name="T61" fmla="*/ 30 h 516"/>
                  <a:gd name="T62" fmla="*/ 66 w 212"/>
                  <a:gd name="T63" fmla="*/ 0 h 516"/>
                  <a:gd name="T64" fmla="*/ 10 w 212"/>
                  <a:gd name="T65" fmla="*/ 198 h 516"/>
                  <a:gd name="T66" fmla="*/ 10 w 212"/>
                  <a:gd name="T67" fmla="*/ 198 h 516"/>
                  <a:gd name="T68" fmla="*/ 6 w 212"/>
                  <a:gd name="T69" fmla="*/ 218 h 516"/>
                  <a:gd name="T70" fmla="*/ 2 w 212"/>
                  <a:gd name="T71" fmla="*/ 236 h 516"/>
                  <a:gd name="T72" fmla="*/ 0 w 212"/>
                  <a:gd name="T73" fmla="*/ 254 h 516"/>
                  <a:gd name="T74" fmla="*/ 0 w 212"/>
                  <a:gd name="T75" fmla="*/ 270 h 516"/>
                  <a:gd name="T76" fmla="*/ 0 w 212"/>
                  <a:gd name="T77" fmla="*/ 288 h 516"/>
                  <a:gd name="T78" fmla="*/ 2 w 212"/>
                  <a:gd name="T79" fmla="*/ 302 h 516"/>
                  <a:gd name="T80" fmla="*/ 6 w 212"/>
                  <a:gd name="T81" fmla="*/ 318 h 516"/>
                  <a:gd name="T82" fmla="*/ 10 w 212"/>
                  <a:gd name="T83" fmla="*/ 332 h 516"/>
                  <a:gd name="T84" fmla="*/ 22 w 212"/>
                  <a:gd name="T85" fmla="*/ 360 h 516"/>
                  <a:gd name="T86" fmla="*/ 38 w 212"/>
                  <a:gd name="T87" fmla="*/ 386 h 516"/>
                  <a:gd name="T88" fmla="*/ 58 w 212"/>
                  <a:gd name="T89" fmla="*/ 412 h 516"/>
                  <a:gd name="T90" fmla="*/ 80 w 212"/>
                  <a:gd name="T91" fmla="*/ 436 h 516"/>
                  <a:gd name="T92" fmla="*/ 80 w 212"/>
                  <a:gd name="T93" fmla="*/ 436 h 516"/>
                  <a:gd name="T94" fmla="*/ 74 w 212"/>
                  <a:gd name="T95" fmla="*/ 402 h 516"/>
                  <a:gd name="T96" fmla="*/ 68 w 212"/>
                  <a:gd name="T97" fmla="*/ 370 h 516"/>
                  <a:gd name="T98" fmla="*/ 66 w 212"/>
                  <a:gd name="T99" fmla="*/ 338 h 516"/>
                  <a:gd name="T100" fmla="*/ 66 w 212"/>
                  <a:gd name="T101" fmla="*/ 310 h 516"/>
                  <a:gd name="T102" fmla="*/ 66 w 212"/>
                  <a:gd name="T103" fmla="*/ 280 h 516"/>
                  <a:gd name="T104" fmla="*/ 68 w 212"/>
                  <a:gd name="T105" fmla="*/ 252 h 516"/>
                  <a:gd name="T106" fmla="*/ 74 w 212"/>
                  <a:gd name="T107" fmla="*/ 190 h 516"/>
                  <a:gd name="T108" fmla="*/ 74 w 212"/>
                  <a:gd name="T109" fmla="*/ 190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2" h="516">
                    <a:moveTo>
                      <a:pt x="74" y="190"/>
                    </a:moveTo>
                    <a:lnTo>
                      <a:pt x="74" y="190"/>
                    </a:lnTo>
                    <a:lnTo>
                      <a:pt x="72" y="256"/>
                    </a:lnTo>
                    <a:lnTo>
                      <a:pt x="72" y="286"/>
                    </a:lnTo>
                    <a:lnTo>
                      <a:pt x="72" y="316"/>
                    </a:lnTo>
                    <a:lnTo>
                      <a:pt x="74" y="346"/>
                    </a:lnTo>
                    <a:lnTo>
                      <a:pt x="80" y="376"/>
                    </a:lnTo>
                    <a:lnTo>
                      <a:pt x="88" y="410"/>
                    </a:lnTo>
                    <a:lnTo>
                      <a:pt x="102" y="446"/>
                    </a:lnTo>
                    <a:lnTo>
                      <a:pt x="102" y="446"/>
                    </a:lnTo>
                    <a:lnTo>
                      <a:pt x="112" y="466"/>
                    </a:lnTo>
                    <a:lnTo>
                      <a:pt x="112" y="466"/>
                    </a:lnTo>
                    <a:lnTo>
                      <a:pt x="164" y="516"/>
                    </a:lnTo>
                    <a:lnTo>
                      <a:pt x="164" y="516"/>
                    </a:lnTo>
                    <a:lnTo>
                      <a:pt x="176" y="490"/>
                    </a:lnTo>
                    <a:lnTo>
                      <a:pt x="188" y="460"/>
                    </a:lnTo>
                    <a:lnTo>
                      <a:pt x="202" y="420"/>
                    </a:lnTo>
                    <a:lnTo>
                      <a:pt x="202" y="420"/>
                    </a:lnTo>
                    <a:lnTo>
                      <a:pt x="208" y="388"/>
                    </a:lnTo>
                    <a:lnTo>
                      <a:pt x="212" y="358"/>
                    </a:lnTo>
                    <a:lnTo>
                      <a:pt x="212" y="330"/>
                    </a:lnTo>
                    <a:lnTo>
                      <a:pt x="210" y="302"/>
                    </a:lnTo>
                    <a:lnTo>
                      <a:pt x="204" y="276"/>
                    </a:lnTo>
                    <a:lnTo>
                      <a:pt x="194" y="252"/>
                    </a:lnTo>
                    <a:lnTo>
                      <a:pt x="184" y="228"/>
                    </a:lnTo>
                    <a:lnTo>
                      <a:pt x="172" y="204"/>
                    </a:lnTo>
                    <a:lnTo>
                      <a:pt x="146" y="158"/>
                    </a:lnTo>
                    <a:lnTo>
                      <a:pt x="118" y="110"/>
                    </a:lnTo>
                    <a:lnTo>
                      <a:pt x="102" y="84"/>
                    </a:lnTo>
                    <a:lnTo>
                      <a:pt x="90" y="58"/>
                    </a:lnTo>
                    <a:lnTo>
                      <a:pt x="78" y="30"/>
                    </a:lnTo>
                    <a:lnTo>
                      <a:pt x="66" y="0"/>
                    </a:lnTo>
                    <a:lnTo>
                      <a:pt x="10" y="198"/>
                    </a:lnTo>
                    <a:lnTo>
                      <a:pt x="10" y="198"/>
                    </a:lnTo>
                    <a:lnTo>
                      <a:pt x="6" y="218"/>
                    </a:lnTo>
                    <a:lnTo>
                      <a:pt x="2" y="236"/>
                    </a:lnTo>
                    <a:lnTo>
                      <a:pt x="0" y="254"/>
                    </a:lnTo>
                    <a:lnTo>
                      <a:pt x="0" y="270"/>
                    </a:lnTo>
                    <a:lnTo>
                      <a:pt x="0" y="288"/>
                    </a:lnTo>
                    <a:lnTo>
                      <a:pt x="2" y="302"/>
                    </a:lnTo>
                    <a:lnTo>
                      <a:pt x="6" y="318"/>
                    </a:lnTo>
                    <a:lnTo>
                      <a:pt x="10" y="332"/>
                    </a:lnTo>
                    <a:lnTo>
                      <a:pt x="22" y="360"/>
                    </a:lnTo>
                    <a:lnTo>
                      <a:pt x="38" y="386"/>
                    </a:lnTo>
                    <a:lnTo>
                      <a:pt x="58" y="412"/>
                    </a:lnTo>
                    <a:lnTo>
                      <a:pt x="80" y="436"/>
                    </a:lnTo>
                    <a:lnTo>
                      <a:pt x="80" y="436"/>
                    </a:lnTo>
                    <a:lnTo>
                      <a:pt x="74" y="402"/>
                    </a:lnTo>
                    <a:lnTo>
                      <a:pt x="68" y="370"/>
                    </a:lnTo>
                    <a:lnTo>
                      <a:pt x="66" y="338"/>
                    </a:lnTo>
                    <a:lnTo>
                      <a:pt x="66" y="310"/>
                    </a:lnTo>
                    <a:lnTo>
                      <a:pt x="66" y="280"/>
                    </a:lnTo>
                    <a:lnTo>
                      <a:pt x="68" y="252"/>
                    </a:lnTo>
                    <a:lnTo>
                      <a:pt x="74" y="190"/>
                    </a:lnTo>
                    <a:lnTo>
                      <a:pt x="74"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grpSp>
        <p:sp>
          <p:nvSpPr>
            <p:cNvPr id="31" name="ZoneTexte 30">
              <a:extLst>
                <a:ext uri="{FF2B5EF4-FFF2-40B4-BE49-F238E27FC236}">
                  <a16:creationId xmlns:a16="http://schemas.microsoft.com/office/drawing/2014/main" id="{A5ABFEF9-0D3F-453E-A350-64EADEE1EB71}"/>
                </a:ext>
              </a:extLst>
            </p:cNvPr>
            <p:cNvSpPr txBox="1"/>
            <p:nvPr/>
          </p:nvSpPr>
          <p:spPr>
            <a:xfrm>
              <a:off x="5129359" y="5229200"/>
              <a:ext cx="2293508" cy="1323439"/>
            </a:xfrm>
            <a:prstGeom prst="rect">
              <a:avLst/>
            </a:prstGeom>
            <a:noFill/>
          </p:spPr>
          <p:txBody>
            <a:bodyPr wrap="square" rtlCol="0">
              <a:spAutoFit/>
            </a:bodyPr>
            <a:lstStyle/>
            <a:p>
              <a:r>
                <a:rPr lang="fr-FR" sz="2000" b="1" dirty="0">
                  <a:solidFill>
                    <a:schemeClr val="accent2"/>
                  </a:solidFill>
                </a:rPr>
                <a:t>Engagement des équipes sur les objectifs du PI</a:t>
              </a:r>
            </a:p>
          </p:txBody>
        </p:sp>
        <p:sp>
          <p:nvSpPr>
            <p:cNvPr id="32" name="Flèche vers le bas 88">
              <a:extLst>
                <a:ext uri="{FF2B5EF4-FFF2-40B4-BE49-F238E27FC236}">
                  <a16:creationId xmlns:a16="http://schemas.microsoft.com/office/drawing/2014/main" id="{45E6268B-CA92-4606-92CD-15787C297E78}"/>
                </a:ext>
              </a:extLst>
            </p:cNvPr>
            <p:cNvSpPr/>
            <p:nvPr/>
          </p:nvSpPr>
          <p:spPr>
            <a:xfrm>
              <a:off x="5869932" y="4293096"/>
              <a:ext cx="504056" cy="696175"/>
            </a:xfrm>
            <a:prstGeom prst="downArrow">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dirty="0"/>
            </a:p>
          </p:txBody>
        </p:sp>
      </p:grpSp>
      <p:grpSp>
        <p:nvGrpSpPr>
          <p:cNvPr id="71" name="Groupe 70">
            <a:extLst>
              <a:ext uri="{FF2B5EF4-FFF2-40B4-BE49-F238E27FC236}">
                <a16:creationId xmlns:a16="http://schemas.microsoft.com/office/drawing/2014/main" id="{9E0200F7-DE11-43FB-9DB9-918FE0799213}"/>
              </a:ext>
            </a:extLst>
          </p:cNvPr>
          <p:cNvGrpSpPr/>
          <p:nvPr/>
        </p:nvGrpSpPr>
        <p:grpSpPr>
          <a:xfrm>
            <a:off x="479376" y="1792298"/>
            <a:ext cx="4700653" cy="3453791"/>
            <a:chOff x="639169" y="1538634"/>
            <a:chExt cx="4700653" cy="3453791"/>
          </a:xfrm>
        </p:grpSpPr>
        <p:grpSp>
          <p:nvGrpSpPr>
            <p:cNvPr id="72" name="Group 4">
              <a:extLst>
                <a:ext uri="{FF2B5EF4-FFF2-40B4-BE49-F238E27FC236}">
                  <a16:creationId xmlns:a16="http://schemas.microsoft.com/office/drawing/2014/main" id="{D19A8044-4D3F-4C70-B72E-849308222590}"/>
                </a:ext>
              </a:extLst>
            </p:cNvPr>
            <p:cNvGrpSpPr>
              <a:grpSpLocks noChangeAspect="1"/>
            </p:cNvGrpSpPr>
            <p:nvPr/>
          </p:nvGrpSpPr>
          <p:grpSpPr bwMode="auto">
            <a:xfrm>
              <a:off x="639169" y="1538634"/>
              <a:ext cx="1280066" cy="987361"/>
              <a:chOff x="543" y="2028"/>
              <a:chExt cx="1535" cy="1184"/>
            </a:xfrm>
            <a:solidFill>
              <a:schemeClr val="accent3"/>
            </a:solidFill>
          </p:grpSpPr>
          <p:sp>
            <p:nvSpPr>
              <p:cNvPr id="82" name="Freeform 6">
                <a:extLst>
                  <a:ext uri="{FF2B5EF4-FFF2-40B4-BE49-F238E27FC236}">
                    <a16:creationId xmlns:a16="http://schemas.microsoft.com/office/drawing/2014/main" id="{55DE9B84-D07D-4E63-902D-09CF74537F21}"/>
                  </a:ext>
                </a:extLst>
              </p:cNvPr>
              <p:cNvSpPr>
                <a:spLocks/>
              </p:cNvSpPr>
              <p:nvPr/>
            </p:nvSpPr>
            <p:spPr bwMode="auto">
              <a:xfrm>
                <a:off x="1199" y="2371"/>
                <a:ext cx="225" cy="109"/>
              </a:xfrm>
              <a:custGeom>
                <a:avLst/>
                <a:gdLst>
                  <a:gd name="T0" fmla="*/ 129 w 676"/>
                  <a:gd name="T1" fmla="*/ 0 h 326"/>
                  <a:gd name="T2" fmla="*/ 547 w 676"/>
                  <a:gd name="T3" fmla="*/ 0 h 326"/>
                  <a:gd name="T4" fmla="*/ 613 w 676"/>
                  <a:gd name="T5" fmla="*/ 3 h 326"/>
                  <a:gd name="T6" fmla="*/ 676 w 676"/>
                  <a:gd name="T7" fmla="*/ 13 h 326"/>
                  <a:gd name="T8" fmla="*/ 644 w 676"/>
                  <a:gd name="T9" fmla="*/ 65 h 326"/>
                  <a:gd name="T10" fmla="*/ 615 w 676"/>
                  <a:gd name="T11" fmla="*/ 121 h 326"/>
                  <a:gd name="T12" fmla="*/ 596 w 676"/>
                  <a:gd name="T13" fmla="*/ 179 h 326"/>
                  <a:gd name="T14" fmla="*/ 582 w 676"/>
                  <a:gd name="T15" fmla="*/ 241 h 326"/>
                  <a:gd name="T16" fmla="*/ 575 w 676"/>
                  <a:gd name="T17" fmla="*/ 305 h 326"/>
                  <a:gd name="T18" fmla="*/ 524 w 676"/>
                  <a:gd name="T19" fmla="*/ 285 h 326"/>
                  <a:gd name="T20" fmla="*/ 471 w 676"/>
                  <a:gd name="T21" fmla="*/ 271 h 326"/>
                  <a:gd name="T22" fmla="*/ 417 w 676"/>
                  <a:gd name="T23" fmla="*/ 262 h 326"/>
                  <a:gd name="T24" fmla="*/ 361 w 676"/>
                  <a:gd name="T25" fmla="*/ 259 h 326"/>
                  <a:gd name="T26" fmla="*/ 291 w 676"/>
                  <a:gd name="T27" fmla="*/ 264 h 326"/>
                  <a:gd name="T28" fmla="*/ 225 w 676"/>
                  <a:gd name="T29" fmla="*/ 276 h 326"/>
                  <a:gd name="T30" fmla="*/ 161 w 676"/>
                  <a:gd name="T31" fmla="*/ 298 h 326"/>
                  <a:gd name="T32" fmla="*/ 101 w 676"/>
                  <a:gd name="T33" fmla="*/ 326 h 326"/>
                  <a:gd name="T34" fmla="*/ 97 w 676"/>
                  <a:gd name="T35" fmla="*/ 257 h 326"/>
                  <a:gd name="T36" fmla="*/ 84 w 676"/>
                  <a:gd name="T37" fmla="*/ 191 h 326"/>
                  <a:gd name="T38" fmla="*/ 63 w 676"/>
                  <a:gd name="T39" fmla="*/ 128 h 326"/>
                  <a:gd name="T40" fmla="*/ 35 w 676"/>
                  <a:gd name="T41" fmla="*/ 68 h 326"/>
                  <a:gd name="T42" fmla="*/ 0 w 676"/>
                  <a:gd name="T43" fmla="*/ 13 h 326"/>
                  <a:gd name="T44" fmla="*/ 63 w 676"/>
                  <a:gd name="T45" fmla="*/ 3 h 326"/>
                  <a:gd name="T46" fmla="*/ 129 w 676"/>
                  <a:gd name="T47"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6" h="326">
                    <a:moveTo>
                      <a:pt x="129" y="0"/>
                    </a:moveTo>
                    <a:lnTo>
                      <a:pt x="547" y="0"/>
                    </a:lnTo>
                    <a:lnTo>
                      <a:pt x="613" y="3"/>
                    </a:lnTo>
                    <a:lnTo>
                      <a:pt x="676" y="13"/>
                    </a:lnTo>
                    <a:lnTo>
                      <a:pt x="644" y="65"/>
                    </a:lnTo>
                    <a:lnTo>
                      <a:pt x="615" y="121"/>
                    </a:lnTo>
                    <a:lnTo>
                      <a:pt x="596" y="179"/>
                    </a:lnTo>
                    <a:lnTo>
                      <a:pt x="582" y="241"/>
                    </a:lnTo>
                    <a:lnTo>
                      <a:pt x="575" y="305"/>
                    </a:lnTo>
                    <a:lnTo>
                      <a:pt x="524" y="285"/>
                    </a:lnTo>
                    <a:lnTo>
                      <a:pt x="471" y="271"/>
                    </a:lnTo>
                    <a:lnTo>
                      <a:pt x="417" y="262"/>
                    </a:lnTo>
                    <a:lnTo>
                      <a:pt x="361" y="259"/>
                    </a:lnTo>
                    <a:lnTo>
                      <a:pt x="291" y="264"/>
                    </a:lnTo>
                    <a:lnTo>
                      <a:pt x="225" y="276"/>
                    </a:lnTo>
                    <a:lnTo>
                      <a:pt x="161" y="298"/>
                    </a:lnTo>
                    <a:lnTo>
                      <a:pt x="101" y="326"/>
                    </a:lnTo>
                    <a:lnTo>
                      <a:pt x="97" y="257"/>
                    </a:lnTo>
                    <a:lnTo>
                      <a:pt x="84" y="191"/>
                    </a:lnTo>
                    <a:lnTo>
                      <a:pt x="63" y="128"/>
                    </a:lnTo>
                    <a:lnTo>
                      <a:pt x="35" y="68"/>
                    </a:lnTo>
                    <a:lnTo>
                      <a:pt x="0" y="13"/>
                    </a:lnTo>
                    <a:lnTo>
                      <a:pt x="63" y="3"/>
                    </a:lnTo>
                    <a:lnTo>
                      <a:pt x="1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83" name="Freeform 7">
                <a:extLst>
                  <a:ext uri="{FF2B5EF4-FFF2-40B4-BE49-F238E27FC236}">
                    <a16:creationId xmlns:a16="http://schemas.microsoft.com/office/drawing/2014/main" id="{0CEE69C0-68AB-43AC-A351-DDE98BD68AC5}"/>
                  </a:ext>
                </a:extLst>
              </p:cNvPr>
              <p:cNvSpPr>
                <a:spLocks/>
              </p:cNvSpPr>
              <p:nvPr/>
            </p:nvSpPr>
            <p:spPr bwMode="auto">
              <a:xfrm>
                <a:off x="1147" y="2028"/>
                <a:ext cx="329" cy="332"/>
              </a:xfrm>
              <a:custGeom>
                <a:avLst/>
                <a:gdLst>
                  <a:gd name="T0" fmla="*/ 492 w 986"/>
                  <a:gd name="T1" fmla="*/ 0 h 994"/>
                  <a:gd name="T2" fmla="*/ 554 w 986"/>
                  <a:gd name="T3" fmla="*/ 4 h 994"/>
                  <a:gd name="T4" fmla="*/ 614 w 986"/>
                  <a:gd name="T5" fmla="*/ 16 h 994"/>
                  <a:gd name="T6" fmla="*/ 671 w 986"/>
                  <a:gd name="T7" fmla="*/ 34 h 994"/>
                  <a:gd name="T8" fmla="*/ 724 w 986"/>
                  <a:gd name="T9" fmla="*/ 58 h 994"/>
                  <a:gd name="T10" fmla="*/ 775 w 986"/>
                  <a:gd name="T11" fmla="*/ 89 h 994"/>
                  <a:gd name="T12" fmla="*/ 820 w 986"/>
                  <a:gd name="T13" fmla="*/ 126 h 994"/>
                  <a:gd name="T14" fmla="*/ 860 w 986"/>
                  <a:gd name="T15" fmla="*/ 167 h 994"/>
                  <a:gd name="T16" fmla="*/ 897 w 986"/>
                  <a:gd name="T17" fmla="*/ 213 h 994"/>
                  <a:gd name="T18" fmla="*/ 928 w 986"/>
                  <a:gd name="T19" fmla="*/ 264 h 994"/>
                  <a:gd name="T20" fmla="*/ 952 w 986"/>
                  <a:gd name="T21" fmla="*/ 317 h 994"/>
                  <a:gd name="T22" fmla="*/ 970 w 986"/>
                  <a:gd name="T23" fmla="*/ 375 h 994"/>
                  <a:gd name="T24" fmla="*/ 981 w 986"/>
                  <a:gd name="T25" fmla="*/ 435 h 994"/>
                  <a:gd name="T26" fmla="*/ 986 w 986"/>
                  <a:gd name="T27" fmla="*/ 497 h 994"/>
                  <a:gd name="T28" fmla="*/ 981 w 986"/>
                  <a:gd name="T29" fmla="*/ 560 h 994"/>
                  <a:gd name="T30" fmla="*/ 970 w 986"/>
                  <a:gd name="T31" fmla="*/ 619 h 994"/>
                  <a:gd name="T32" fmla="*/ 952 w 986"/>
                  <a:gd name="T33" fmla="*/ 677 h 994"/>
                  <a:gd name="T34" fmla="*/ 928 w 986"/>
                  <a:gd name="T35" fmla="*/ 731 h 994"/>
                  <a:gd name="T36" fmla="*/ 897 w 986"/>
                  <a:gd name="T37" fmla="*/ 780 h 994"/>
                  <a:gd name="T38" fmla="*/ 860 w 986"/>
                  <a:gd name="T39" fmla="*/ 827 h 994"/>
                  <a:gd name="T40" fmla="*/ 820 w 986"/>
                  <a:gd name="T41" fmla="*/ 868 h 994"/>
                  <a:gd name="T42" fmla="*/ 775 w 986"/>
                  <a:gd name="T43" fmla="*/ 905 h 994"/>
                  <a:gd name="T44" fmla="*/ 724 w 986"/>
                  <a:gd name="T45" fmla="*/ 935 h 994"/>
                  <a:gd name="T46" fmla="*/ 671 w 986"/>
                  <a:gd name="T47" fmla="*/ 960 h 994"/>
                  <a:gd name="T48" fmla="*/ 614 w 986"/>
                  <a:gd name="T49" fmla="*/ 979 h 994"/>
                  <a:gd name="T50" fmla="*/ 554 w 986"/>
                  <a:gd name="T51" fmla="*/ 990 h 994"/>
                  <a:gd name="T52" fmla="*/ 492 w 986"/>
                  <a:gd name="T53" fmla="*/ 994 h 994"/>
                  <a:gd name="T54" fmla="*/ 430 w 986"/>
                  <a:gd name="T55" fmla="*/ 990 h 994"/>
                  <a:gd name="T56" fmla="*/ 371 w 986"/>
                  <a:gd name="T57" fmla="*/ 979 h 994"/>
                  <a:gd name="T58" fmla="*/ 313 w 986"/>
                  <a:gd name="T59" fmla="*/ 960 h 994"/>
                  <a:gd name="T60" fmla="*/ 260 w 986"/>
                  <a:gd name="T61" fmla="*/ 935 h 994"/>
                  <a:gd name="T62" fmla="*/ 211 w 986"/>
                  <a:gd name="T63" fmla="*/ 905 h 994"/>
                  <a:gd name="T64" fmla="*/ 164 w 986"/>
                  <a:gd name="T65" fmla="*/ 868 h 994"/>
                  <a:gd name="T66" fmla="*/ 124 w 986"/>
                  <a:gd name="T67" fmla="*/ 827 h 994"/>
                  <a:gd name="T68" fmla="*/ 87 w 986"/>
                  <a:gd name="T69" fmla="*/ 780 h 994"/>
                  <a:gd name="T70" fmla="*/ 57 w 986"/>
                  <a:gd name="T71" fmla="*/ 731 h 994"/>
                  <a:gd name="T72" fmla="*/ 32 w 986"/>
                  <a:gd name="T73" fmla="*/ 677 h 994"/>
                  <a:gd name="T74" fmla="*/ 14 w 986"/>
                  <a:gd name="T75" fmla="*/ 619 h 994"/>
                  <a:gd name="T76" fmla="*/ 3 w 986"/>
                  <a:gd name="T77" fmla="*/ 560 h 994"/>
                  <a:gd name="T78" fmla="*/ 0 w 986"/>
                  <a:gd name="T79" fmla="*/ 497 h 994"/>
                  <a:gd name="T80" fmla="*/ 3 w 986"/>
                  <a:gd name="T81" fmla="*/ 435 h 994"/>
                  <a:gd name="T82" fmla="*/ 14 w 986"/>
                  <a:gd name="T83" fmla="*/ 375 h 994"/>
                  <a:gd name="T84" fmla="*/ 32 w 986"/>
                  <a:gd name="T85" fmla="*/ 317 h 994"/>
                  <a:gd name="T86" fmla="*/ 57 w 986"/>
                  <a:gd name="T87" fmla="*/ 264 h 994"/>
                  <a:gd name="T88" fmla="*/ 87 w 986"/>
                  <a:gd name="T89" fmla="*/ 213 h 994"/>
                  <a:gd name="T90" fmla="*/ 124 w 986"/>
                  <a:gd name="T91" fmla="*/ 167 h 994"/>
                  <a:gd name="T92" fmla="*/ 164 w 986"/>
                  <a:gd name="T93" fmla="*/ 126 h 994"/>
                  <a:gd name="T94" fmla="*/ 211 w 986"/>
                  <a:gd name="T95" fmla="*/ 89 h 994"/>
                  <a:gd name="T96" fmla="*/ 260 w 986"/>
                  <a:gd name="T97" fmla="*/ 58 h 994"/>
                  <a:gd name="T98" fmla="*/ 313 w 986"/>
                  <a:gd name="T99" fmla="*/ 34 h 994"/>
                  <a:gd name="T100" fmla="*/ 371 w 986"/>
                  <a:gd name="T101" fmla="*/ 16 h 994"/>
                  <a:gd name="T102" fmla="*/ 430 w 986"/>
                  <a:gd name="T103" fmla="*/ 4 h 994"/>
                  <a:gd name="T104" fmla="*/ 492 w 986"/>
                  <a:gd name="T105"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86" h="994">
                    <a:moveTo>
                      <a:pt x="492" y="0"/>
                    </a:moveTo>
                    <a:lnTo>
                      <a:pt x="554" y="4"/>
                    </a:lnTo>
                    <a:lnTo>
                      <a:pt x="614" y="16"/>
                    </a:lnTo>
                    <a:lnTo>
                      <a:pt x="671" y="34"/>
                    </a:lnTo>
                    <a:lnTo>
                      <a:pt x="724" y="58"/>
                    </a:lnTo>
                    <a:lnTo>
                      <a:pt x="775" y="89"/>
                    </a:lnTo>
                    <a:lnTo>
                      <a:pt x="820" y="126"/>
                    </a:lnTo>
                    <a:lnTo>
                      <a:pt x="860" y="167"/>
                    </a:lnTo>
                    <a:lnTo>
                      <a:pt x="897" y="213"/>
                    </a:lnTo>
                    <a:lnTo>
                      <a:pt x="928" y="264"/>
                    </a:lnTo>
                    <a:lnTo>
                      <a:pt x="952" y="317"/>
                    </a:lnTo>
                    <a:lnTo>
                      <a:pt x="970" y="375"/>
                    </a:lnTo>
                    <a:lnTo>
                      <a:pt x="981" y="435"/>
                    </a:lnTo>
                    <a:lnTo>
                      <a:pt x="986" y="497"/>
                    </a:lnTo>
                    <a:lnTo>
                      <a:pt x="981" y="560"/>
                    </a:lnTo>
                    <a:lnTo>
                      <a:pt x="970" y="619"/>
                    </a:lnTo>
                    <a:lnTo>
                      <a:pt x="952" y="677"/>
                    </a:lnTo>
                    <a:lnTo>
                      <a:pt x="928" y="731"/>
                    </a:lnTo>
                    <a:lnTo>
                      <a:pt x="897" y="780"/>
                    </a:lnTo>
                    <a:lnTo>
                      <a:pt x="860" y="827"/>
                    </a:lnTo>
                    <a:lnTo>
                      <a:pt x="820" y="868"/>
                    </a:lnTo>
                    <a:lnTo>
                      <a:pt x="775" y="905"/>
                    </a:lnTo>
                    <a:lnTo>
                      <a:pt x="724" y="935"/>
                    </a:lnTo>
                    <a:lnTo>
                      <a:pt x="671" y="960"/>
                    </a:lnTo>
                    <a:lnTo>
                      <a:pt x="614" y="979"/>
                    </a:lnTo>
                    <a:lnTo>
                      <a:pt x="554" y="990"/>
                    </a:lnTo>
                    <a:lnTo>
                      <a:pt x="492" y="994"/>
                    </a:lnTo>
                    <a:lnTo>
                      <a:pt x="430" y="990"/>
                    </a:lnTo>
                    <a:lnTo>
                      <a:pt x="371" y="979"/>
                    </a:lnTo>
                    <a:lnTo>
                      <a:pt x="313" y="960"/>
                    </a:lnTo>
                    <a:lnTo>
                      <a:pt x="260" y="935"/>
                    </a:lnTo>
                    <a:lnTo>
                      <a:pt x="211" y="905"/>
                    </a:lnTo>
                    <a:lnTo>
                      <a:pt x="164" y="868"/>
                    </a:lnTo>
                    <a:lnTo>
                      <a:pt x="124" y="827"/>
                    </a:lnTo>
                    <a:lnTo>
                      <a:pt x="87" y="780"/>
                    </a:lnTo>
                    <a:lnTo>
                      <a:pt x="57" y="731"/>
                    </a:lnTo>
                    <a:lnTo>
                      <a:pt x="32" y="677"/>
                    </a:lnTo>
                    <a:lnTo>
                      <a:pt x="14" y="619"/>
                    </a:lnTo>
                    <a:lnTo>
                      <a:pt x="3" y="560"/>
                    </a:lnTo>
                    <a:lnTo>
                      <a:pt x="0" y="497"/>
                    </a:lnTo>
                    <a:lnTo>
                      <a:pt x="3" y="435"/>
                    </a:lnTo>
                    <a:lnTo>
                      <a:pt x="14" y="375"/>
                    </a:lnTo>
                    <a:lnTo>
                      <a:pt x="32" y="317"/>
                    </a:lnTo>
                    <a:lnTo>
                      <a:pt x="57" y="264"/>
                    </a:lnTo>
                    <a:lnTo>
                      <a:pt x="87" y="213"/>
                    </a:lnTo>
                    <a:lnTo>
                      <a:pt x="124" y="167"/>
                    </a:lnTo>
                    <a:lnTo>
                      <a:pt x="164" y="126"/>
                    </a:lnTo>
                    <a:lnTo>
                      <a:pt x="211" y="89"/>
                    </a:lnTo>
                    <a:lnTo>
                      <a:pt x="260" y="58"/>
                    </a:lnTo>
                    <a:lnTo>
                      <a:pt x="313" y="34"/>
                    </a:lnTo>
                    <a:lnTo>
                      <a:pt x="371" y="16"/>
                    </a:lnTo>
                    <a:lnTo>
                      <a:pt x="430" y="4"/>
                    </a:lnTo>
                    <a:lnTo>
                      <a:pt x="49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84" name="Freeform 8">
                <a:extLst>
                  <a:ext uri="{FF2B5EF4-FFF2-40B4-BE49-F238E27FC236}">
                    <a16:creationId xmlns:a16="http://schemas.microsoft.com/office/drawing/2014/main" id="{9401AB64-F584-4DE1-8A55-3660E02867E9}"/>
                  </a:ext>
                </a:extLst>
              </p:cNvPr>
              <p:cNvSpPr>
                <a:spLocks/>
              </p:cNvSpPr>
              <p:nvPr/>
            </p:nvSpPr>
            <p:spPr bwMode="auto">
              <a:xfrm>
                <a:off x="1418" y="2337"/>
                <a:ext cx="303" cy="305"/>
              </a:xfrm>
              <a:custGeom>
                <a:avLst/>
                <a:gdLst>
                  <a:gd name="T0" fmla="*/ 454 w 908"/>
                  <a:gd name="T1" fmla="*/ 0 h 915"/>
                  <a:gd name="T2" fmla="*/ 516 w 908"/>
                  <a:gd name="T3" fmla="*/ 5 h 915"/>
                  <a:gd name="T4" fmla="*/ 575 w 908"/>
                  <a:gd name="T5" fmla="*/ 16 h 915"/>
                  <a:gd name="T6" fmla="*/ 631 w 908"/>
                  <a:gd name="T7" fmla="*/ 36 h 915"/>
                  <a:gd name="T8" fmla="*/ 683 w 908"/>
                  <a:gd name="T9" fmla="*/ 63 h 915"/>
                  <a:gd name="T10" fmla="*/ 732 w 908"/>
                  <a:gd name="T11" fmla="*/ 95 h 915"/>
                  <a:gd name="T12" fmla="*/ 776 w 908"/>
                  <a:gd name="T13" fmla="*/ 133 h 915"/>
                  <a:gd name="T14" fmla="*/ 814 w 908"/>
                  <a:gd name="T15" fmla="*/ 177 h 915"/>
                  <a:gd name="T16" fmla="*/ 846 w 908"/>
                  <a:gd name="T17" fmla="*/ 227 h 915"/>
                  <a:gd name="T18" fmla="*/ 873 w 908"/>
                  <a:gd name="T19" fmla="*/ 279 h 915"/>
                  <a:gd name="T20" fmla="*/ 893 w 908"/>
                  <a:gd name="T21" fmla="*/ 336 h 915"/>
                  <a:gd name="T22" fmla="*/ 904 w 908"/>
                  <a:gd name="T23" fmla="*/ 395 h 915"/>
                  <a:gd name="T24" fmla="*/ 908 w 908"/>
                  <a:gd name="T25" fmla="*/ 458 h 915"/>
                  <a:gd name="T26" fmla="*/ 904 w 908"/>
                  <a:gd name="T27" fmla="*/ 520 h 915"/>
                  <a:gd name="T28" fmla="*/ 893 w 908"/>
                  <a:gd name="T29" fmla="*/ 579 h 915"/>
                  <a:gd name="T30" fmla="*/ 873 w 908"/>
                  <a:gd name="T31" fmla="*/ 636 h 915"/>
                  <a:gd name="T32" fmla="*/ 846 w 908"/>
                  <a:gd name="T33" fmla="*/ 688 h 915"/>
                  <a:gd name="T34" fmla="*/ 814 w 908"/>
                  <a:gd name="T35" fmla="*/ 737 h 915"/>
                  <a:gd name="T36" fmla="*/ 776 w 908"/>
                  <a:gd name="T37" fmla="*/ 780 h 915"/>
                  <a:gd name="T38" fmla="*/ 732 w 908"/>
                  <a:gd name="T39" fmla="*/ 820 h 915"/>
                  <a:gd name="T40" fmla="*/ 683 w 908"/>
                  <a:gd name="T41" fmla="*/ 853 h 915"/>
                  <a:gd name="T42" fmla="*/ 631 w 908"/>
                  <a:gd name="T43" fmla="*/ 880 h 915"/>
                  <a:gd name="T44" fmla="*/ 575 w 908"/>
                  <a:gd name="T45" fmla="*/ 899 h 915"/>
                  <a:gd name="T46" fmla="*/ 516 w 908"/>
                  <a:gd name="T47" fmla="*/ 911 h 915"/>
                  <a:gd name="T48" fmla="*/ 454 w 908"/>
                  <a:gd name="T49" fmla="*/ 915 h 915"/>
                  <a:gd name="T50" fmla="*/ 403 w 908"/>
                  <a:gd name="T51" fmla="*/ 912 h 915"/>
                  <a:gd name="T52" fmla="*/ 354 w 908"/>
                  <a:gd name="T53" fmla="*/ 904 h 915"/>
                  <a:gd name="T54" fmla="*/ 308 w 908"/>
                  <a:gd name="T55" fmla="*/ 891 h 915"/>
                  <a:gd name="T56" fmla="*/ 263 w 908"/>
                  <a:gd name="T57" fmla="*/ 873 h 915"/>
                  <a:gd name="T58" fmla="*/ 251 w 908"/>
                  <a:gd name="T59" fmla="*/ 806 h 915"/>
                  <a:gd name="T60" fmla="*/ 233 w 908"/>
                  <a:gd name="T61" fmla="*/ 744 h 915"/>
                  <a:gd name="T62" fmla="*/ 209 w 908"/>
                  <a:gd name="T63" fmla="*/ 684 h 915"/>
                  <a:gd name="T64" fmla="*/ 178 w 908"/>
                  <a:gd name="T65" fmla="*/ 629 h 915"/>
                  <a:gd name="T66" fmla="*/ 142 w 908"/>
                  <a:gd name="T67" fmla="*/ 577 h 915"/>
                  <a:gd name="T68" fmla="*/ 100 w 908"/>
                  <a:gd name="T69" fmla="*/ 530 h 915"/>
                  <a:gd name="T70" fmla="*/ 52 w 908"/>
                  <a:gd name="T71" fmla="*/ 487 h 915"/>
                  <a:gd name="T72" fmla="*/ 0 w 908"/>
                  <a:gd name="T73" fmla="*/ 451 h 915"/>
                  <a:gd name="T74" fmla="*/ 5 w 908"/>
                  <a:gd name="T75" fmla="*/ 390 h 915"/>
                  <a:gd name="T76" fmla="*/ 18 w 908"/>
                  <a:gd name="T77" fmla="*/ 330 h 915"/>
                  <a:gd name="T78" fmla="*/ 38 w 908"/>
                  <a:gd name="T79" fmla="*/ 275 h 915"/>
                  <a:gd name="T80" fmla="*/ 64 w 908"/>
                  <a:gd name="T81" fmla="*/ 223 h 915"/>
                  <a:gd name="T82" fmla="*/ 97 w 908"/>
                  <a:gd name="T83" fmla="*/ 174 h 915"/>
                  <a:gd name="T84" fmla="*/ 135 w 908"/>
                  <a:gd name="T85" fmla="*/ 132 h 915"/>
                  <a:gd name="T86" fmla="*/ 178 w 908"/>
                  <a:gd name="T87" fmla="*/ 94 h 915"/>
                  <a:gd name="T88" fmla="*/ 226 w 908"/>
                  <a:gd name="T89" fmla="*/ 61 h 915"/>
                  <a:gd name="T90" fmla="*/ 278 w 908"/>
                  <a:gd name="T91" fmla="*/ 36 h 915"/>
                  <a:gd name="T92" fmla="*/ 334 w 908"/>
                  <a:gd name="T93" fmla="*/ 16 h 915"/>
                  <a:gd name="T94" fmla="*/ 393 w 908"/>
                  <a:gd name="T95" fmla="*/ 5 h 915"/>
                  <a:gd name="T96" fmla="*/ 454 w 908"/>
                  <a:gd name="T97" fmla="*/ 0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08" h="915">
                    <a:moveTo>
                      <a:pt x="454" y="0"/>
                    </a:moveTo>
                    <a:lnTo>
                      <a:pt x="516" y="5"/>
                    </a:lnTo>
                    <a:lnTo>
                      <a:pt x="575" y="16"/>
                    </a:lnTo>
                    <a:lnTo>
                      <a:pt x="631" y="36"/>
                    </a:lnTo>
                    <a:lnTo>
                      <a:pt x="683" y="63"/>
                    </a:lnTo>
                    <a:lnTo>
                      <a:pt x="732" y="95"/>
                    </a:lnTo>
                    <a:lnTo>
                      <a:pt x="776" y="133"/>
                    </a:lnTo>
                    <a:lnTo>
                      <a:pt x="814" y="177"/>
                    </a:lnTo>
                    <a:lnTo>
                      <a:pt x="846" y="227"/>
                    </a:lnTo>
                    <a:lnTo>
                      <a:pt x="873" y="279"/>
                    </a:lnTo>
                    <a:lnTo>
                      <a:pt x="893" y="336"/>
                    </a:lnTo>
                    <a:lnTo>
                      <a:pt x="904" y="395"/>
                    </a:lnTo>
                    <a:lnTo>
                      <a:pt x="908" y="458"/>
                    </a:lnTo>
                    <a:lnTo>
                      <a:pt x="904" y="520"/>
                    </a:lnTo>
                    <a:lnTo>
                      <a:pt x="893" y="579"/>
                    </a:lnTo>
                    <a:lnTo>
                      <a:pt x="873" y="636"/>
                    </a:lnTo>
                    <a:lnTo>
                      <a:pt x="846" y="688"/>
                    </a:lnTo>
                    <a:lnTo>
                      <a:pt x="814" y="737"/>
                    </a:lnTo>
                    <a:lnTo>
                      <a:pt x="776" y="780"/>
                    </a:lnTo>
                    <a:lnTo>
                      <a:pt x="732" y="820"/>
                    </a:lnTo>
                    <a:lnTo>
                      <a:pt x="683" y="853"/>
                    </a:lnTo>
                    <a:lnTo>
                      <a:pt x="631" y="880"/>
                    </a:lnTo>
                    <a:lnTo>
                      <a:pt x="575" y="899"/>
                    </a:lnTo>
                    <a:lnTo>
                      <a:pt x="516" y="911"/>
                    </a:lnTo>
                    <a:lnTo>
                      <a:pt x="454" y="915"/>
                    </a:lnTo>
                    <a:lnTo>
                      <a:pt x="403" y="912"/>
                    </a:lnTo>
                    <a:lnTo>
                      <a:pt x="354" y="904"/>
                    </a:lnTo>
                    <a:lnTo>
                      <a:pt x="308" y="891"/>
                    </a:lnTo>
                    <a:lnTo>
                      <a:pt x="263" y="873"/>
                    </a:lnTo>
                    <a:lnTo>
                      <a:pt x="251" y="806"/>
                    </a:lnTo>
                    <a:lnTo>
                      <a:pt x="233" y="744"/>
                    </a:lnTo>
                    <a:lnTo>
                      <a:pt x="209" y="684"/>
                    </a:lnTo>
                    <a:lnTo>
                      <a:pt x="178" y="629"/>
                    </a:lnTo>
                    <a:lnTo>
                      <a:pt x="142" y="577"/>
                    </a:lnTo>
                    <a:lnTo>
                      <a:pt x="100" y="530"/>
                    </a:lnTo>
                    <a:lnTo>
                      <a:pt x="52" y="487"/>
                    </a:lnTo>
                    <a:lnTo>
                      <a:pt x="0" y="451"/>
                    </a:lnTo>
                    <a:lnTo>
                      <a:pt x="5" y="390"/>
                    </a:lnTo>
                    <a:lnTo>
                      <a:pt x="18" y="330"/>
                    </a:lnTo>
                    <a:lnTo>
                      <a:pt x="38" y="275"/>
                    </a:lnTo>
                    <a:lnTo>
                      <a:pt x="64" y="223"/>
                    </a:lnTo>
                    <a:lnTo>
                      <a:pt x="97" y="174"/>
                    </a:lnTo>
                    <a:lnTo>
                      <a:pt x="135" y="132"/>
                    </a:lnTo>
                    <a:lnTo>
                      <a:pt x="178" y="94"/>
                    </a:lnTo>
                    <a:lnTo>
                      <a:pt x="226" y="61"/>
                    </a:lnTo>
                    <a:lnTo>
                      <a:pt x="278" y="36"/>
                    </a:lnTo>
                    <a:lnTo>
                      <a:pt x="334" y="16"/>
                    </a:lnTo>
                    <a:lnTo>
                      <a:pt x="393" y="5"/>
                    </a:lnTo>
                    <a:lnTo>
                      <a:pt x="4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85" name="Freeform 9">
                <a:extLst>
                  <a:ext uri="{FF2B5EF4-FFF2-40B4-BE49-F238E27FC236}">
                    <a16:creationId xmlns:a16="http://schemas.microsoft.com/office/drawing/2014/main" id="{8367E8EF-D812-4D70-909F-ED934CF3ACE8}"/>
                  </a:ext>
                </a:extLst>
              </p:cNvPr>
              <p:cNvSpPr>
                <a:spLocks/>
              </p:cNvSpPr>
              <p:nvPr/>
            </p:nvSpPr>
            <p:spPr bwMode="auto">
              <a:xfrm>
                <a:off x="902" y="2337"/>
                <a:ext cx="303" cy="305"/>
              </a:xfrm>
              <a:custGeom>
                <a:avLst/>
                <a:gdLst>
                  <a:gd name="T0" fmla="*/ 456 w 910"/>
                  <a:gd name="T1" fmla="*/ 0 h 915"/>
                  <a:gd name="T2" fmla="*/ 516 w 910"/>
                  <a:gd name="T3" fmla="*/ 5 h 915"/>
                  <a:gd name="T4" fmla="*/ 575 w 910"/>
                  <a:gd name="T5" fmla="*/ 16 h 915"/>
                  <a:gd name="T6" fmla="*/ 631 w 910"/>
                  <a:gd name="T7" fmla="*/ 36 h 915"/>
                  <a:gd name="T8" fmla="*/ 685 w 910"/>
                  <a:gd name="T9" fmla="*/ 63 h 915"/>
                  <a:gd name="T10" fmla="*/ 733 w 910"/>
                  <a:gd name="T11" fmla="*/ 95 h 915"/>
                  <a:gd name="T12" fmla="*/ 776 w 910"/>
                  <a:gd name="T13" fmla="*/ 133 h 915"/>
                  <a:gd name="T14" fmla="*/ 814 w 910"/>
                  <a:gd name="T15" fmla="*/ 177 h 915"/>
                  <a:gd name="T16" fmla="*/ 846 w 910"/>
                  <a:gd name="T17" fmla="*/ 227 h 915"/>
                  <a:gd name="T18" fmla="*/ 873 w 910"/>
                  <a:gd name="T19" fmla="*/ 279 h 915"/>
                  <a:gd name="T20" fmla="*/ 893 w 910"/>
                  <a:gd name="T21" fmla="*/ 336 h 915"/>
                  <a:gd name="T22" fmla="*/ 906 w 910"/>
                  <a:gd name="T23" fmla="*/ 395 h 915"/>
                  <a:gd name="T24" fmla="*/ 910 w 910"/>
                  <a:gd name="T25" fmla="*/ 458 h 915"/>
                  <a:gd name="T26" fmla="*/ 908 w 910"/>
                  <a:gd name="T27" fmla="*/ 483 h 915"/>
                  <a:gd name="T28" fmla="*/ 862 w 910"/>
                  <a:gd name="T29" fmla="*/ 523 h 915"/>
                  <a:gd name="T30" fmla="*/ 821 w 910"/>
                  <a:gd name="T31" fmla="*/ 568 h 915"/>
                  <a:gd name="T32" fmla="*/ 785 w 910"/>
                  <a:gd name="T33" fmla="*/ 616 h 915"/>
                  <a:gd name="T34" fmla="*/ 754 w 910"/>
                  <a:gd name="T35" fmla="*/ 669 h 915"/>
                  <a:gd name="T36" fmla="*/ 728 w 910"/>
                  <a:gd name="T37" fmla="*/ 724 h 915"/>
                  <a:gd name="T38" fmla="*/ 710 w 910"/>
                  <a:gd name="T39" fmla="*/ 783 h 915"/>
                  <a:gd name="T40" fmla="*/ 696 w 910"/>
                  <a:gd name="T41" fmla="*/ 844 h 915"/>
                  <a:gd name="T42" fmla="*/ 652 w 910"/>
                  <a:gd name="T43" fmla="*/ 868 h 915"/>
                  <a:gd name="T44" fmla="*/ 606 w 910"/>
                  <a:gd name="T45" fmla="*/ 888 h 915"/>
                  <a:gd name="T46" fmla="*/ 558 w 910"/>
                  <a:gd name="T47" fmla="*/ 904 h 915"/>
                  <a:gd name="T48" fmla="*/ 508 w 910"/>
                  <a:gd name="T49" fmla="*/ 912 h 915"/>
                  <a:gd name="T50" fmla="*/ 456 w 910"/>
                  <a:gd name="T51" fmla="*/ 915 h 915"/>
                  <a:gd name="T52" fmla="*/ 394 w 910"/>
                  <a:gd name="T53" fmla="*/ 911 h 915"/>
                  <a:gd name="T54" fmla="*/ 335 w 910"/>
                  <a:gd name="T55" fmla="*/ 899 h 915"/>
                  <a:gd name="T56" fmla="*/ 278 w 910"/>
                  <a:gd name="T57" fmla="*/ 880 h 915"/>
                  <a:gd name="T58" fmla="*/ 225 w 910"/>
                  <a:gd name="T59" fmla="*/ 853 h 915"/>
                  <a:gd name="T60" fmla="*/ 177 w 910"/>
                  <a:gd name="T61" fmla="*/ 820 h 915"/>
                  <a:gd name="T62" fmla="*/ 133 w 910"/>
                  <a:gd name="T63" fmla="*/ 780 h 915"/>
                  <a:gd name="T64" fmla="*/ 96 w 910"/>
                  <a:gd name="T65" fmla="*/ 737 h 915"/>
                  <a:gd name="T66" fmla="*/ 62 w 910"/>
                  <a:gd name="T67" fmla="*/ 688 h 915"/>
                  <a:gd name="T68" fmla="*/ 36 w 910"/>
                  <a:gd name="T69" fmla="*/ 636 h 915"/>
                  <a:gd name="T70" fmla="*/ 17 w 910"/>
                  <a:gd name="T71" fmla="*/ 579 h 915"/>
                  <a:gd name="T72" fmla="*/ 4 w 910"/>
                  <a:gd name="T73" fmla="*/ 520 h 915"/>
                  <a:gd name="T74" fmla="*/ 0 w 910"/>
                  <a:gd name="T75" fmla="*/ 458 h 915"/>
                  <a:gd name="T76" fmla="*/ 4 w 910"/>
                  <a:gd name="T77" fmla="*/ 395 h 915"/>
                  <a:gd name="T78" fmla="*/ 17 w 910"/>
                  <a:gd name="T79" fmla="*/ 336 h 915"/>
                  <a:gd name="T80" fmla="*/ 36 w 910"/>
                  <a:gd name="T81" fmla="*/ 279 h 915"/>
                  <a:gd name="T82" fmla="*/ 62 w 910"/>
                  <a:gd name="T83" fmla="*/ 227 h 915"/>
                  <a:gd name="T84" fmla="*/ 96 w 910"/>
                  <a:gd name="T85" fmla="*/ 177 h 915"/>
                  <a:gd name="T86" fmla="*/ 133 w 910"/>
                  <a:gd name="T87" fmla="*/ 133 h 915"/>
                  <a:gd name="T88" fmla="*/ 177 w 910"/>
                  <a:gd name="T89" fmla="*/ 95 h 915"/>
                  <a:gd name="T90" fmla="*/ 225 w 910"/>
                  <a:gd name="T91" fmla="*/ 63 h 915"/>
                  <a:gd name="T92" fmla="*/ 278 w 910"/>
                  <a:gd name="T93" fmla="*/ 36 h 915"/>
                  <a:gd name="T94" fmla="*/ 335 w 910"/>
                  <a:gd name="T95" fmla="*/ 16 h 915"/>
                  <a:gd name="T96" fmla="*/ 394 w 910"/>
                  <a:gd name="T97" fmla="*/ 5 h 915"/>
                  <a:gd name="T98" fmla="*/ 456 w 910"/>
                  <a:gd name="T99" fmla="*/ 0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10" h="915">
                    <a:moveTo>
                      <a:pt x="456" y="0"/>
                    </a:moveTo>
                    <a:lnTo>
                      <a:pt x="516" y="5"/>
                    </a:lnTo>
                    <a:lnTo>
                      <a:pt x="575" y="16"/>
                    </a:lnTo>
                    <a:lnTo>
                      <a:pt x="631" y="36"/>
                    </a:lnTo>
                    <a:lnTo>
                      <a:pt x="685" y="63"/>
                    </a:lnTo>
                    <a:lnTo>
                      <a:pt x="733" y="95"/>
                    </a:lnTo>
                    <a:lnTo>
                      <a:pt x="776" y="133"/>
                    </a:lnTo>
                    <a:lnTo>
                      <a:pt x="814" y="177"/>
                    </a:lnTo>
                    <a:lnTo>
                      <a:pt x="846" y="227"/>
                    </a:lnTo>
                    <a:lnTo>
                      <a:pt x="873" y="279"/>
                    </a:lnTo>
                    <a:lnTo>
                      <a:pt x="893" y="336"/>
                    </a:lnTo>
                    <a:lnTo>
                      <a:pt x="906" y="395"/>
                    </a:lnTo>
                    <a:lnTo>
                      <a:pt x="910" y="458"/>
                    </a:lnTo>
                    <a:lnTo>
                      <a:pt x="908" y="483"/>
                    </a:lnTo>
                    <a:lnTo>
                      <a:pt x="862" y="523"/>
                    </a:lnTo>
                    <a:lnTo>
                      <a:pt x="821" y="568"/>
                    </a:lnTo>
                    <a:lnTo>
                      <a:pt x="785" y="616"/>
                    </a:lnTo>
                    <a:lnTo>
                      <a:pt x="754" y="669"/>
                    </a:lnTo>
                    <a:lnTo>
                      <a:pt x="728" y="724"/>
                    </a:lnTo>
                    <a:lnTo>
                      <a:pt x="710" y="783"/>
                    </a:lnTo>
                    <a:lnTo>
                      <a:pt x="696" y="844"/>
                    </a:lnTo>
                    <a:lnTo>
                      <a:pt x="652" y="868"/>
                    </a:lnTo>
                    <a:lnTo>
                      <a:pt x="606" y="888"/>
                    </a:lnTo>
                    <a:lnTo>
                      <a:pt x="558" y="904"/>
                    </a:lnTo>
                    <a:lnTo>
                      <a:pt x="508" y="912"/>
                    </a:lnTo>
                    <a:lnTo>
                      <a:pt x="456" y="915"/>
                    </a:lnTo>
                    <a:lnTo>
                      <a:pt x="394" y="911"/>
                    </a:lnTo>
                    <a:lnTo>
                      <a:pt x="335" y="899"/>
                    </a:lnTo>
                    <a:lnTo>
                      <a:pt x="278" y="880"/>
                    </a:lnTo>
                    <a:lnTo>
                      <a:pt x="225" y="853"/>
                    </a:lnTo>
                    <a:lnTo>
                      <a:pt x="177" y="820"/>
                    </a:lnTo>
                    <a:lnTo>
                      <a:pt x="133" y="780"/>
                    </a:lnTo>
                    <a:lnTo>
                      <a:pt x="96" y="737"/>
                    </a:lnTo>
                    <a:lnTo>
                      <a:pt x="62" y="688"/>
                    </a:lnTo>
                    <a:lnTo>
                      <a:pt x="36" y="636"/>
                    </a:lnTo>
                    <a:lnTo>
                      <a:pt x="17" y="579"/>
                    </a:lnTo>
                    <a:lnTo>
                      <a:pt x="4" y="520"/>
                    </a:lnTo>
                    <a:lnTo>
                      <a:pt x="0" y="458"/>
                    </a:lnTo>
                    <a:lnTo>
                      <a:pt x="4" y="395"/>
                    </a:lnTo>
                    <a:lnTo>
                      <a:pt x="17" y="336"/>
                    </a:lnTo>
                    <a:lnTo>
                      <a:pt x="36" y="279"/>
                    </a:lnTo>
                    <a:lnTo>
                      <a:pt x="62" y="227"/>
                    </a:lnTo>
                    <a:lnTo>
                      <a:pt x="96" y="177"/>
                    </a:lnTo>
                    <a:lnTo>
                      <a:pt x="133" y="133"/>
                    </a:lnTo>
                    <a:lnTo>
                      <a:pt x="177" y="95"/>
                    </a:lnTo>
                    <a:lnTo>
                      <a:pt x="225" y="63"/>
                    </a:lnTo>
                    <a:lnTo>
                      <a:pt x="278" y="36"/>
                    </a:lnTo>
                    <a:lnTo>
                      <a:pt x="335" y="16"/>
                    </a:lnTo>
                    <a:lnTo>
                      <a:pt x="394" y="5"/>
                    </a:lnTo>
                    <a:lnTo>
                      <a:pt x="4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86" name="Freeform 10">
                <a:extLst>
                  <a:ext uri="{FF2B5EF4-FFF2-40B4-BE49-F238E27FC236}">
                    <a16:creationId xmlns:a16="http://schemas.microsoft.com/office/drawing/2014/main" id="{B1152814-B85A-46EC-99FC-DF6BD85E9CF5}"/>
                  </a:ext>
                </a:extLst>
              </p:cNvPr>
              <p:cNvSpPr>
                <a:spLocks/>
              </p:cNvSpPr>
              <p:nvPr/>
            </p:nvSpPr>
            <p:spPr bwMode="auto">
              <a:xfrm>
                <a:off x="1668" y="2184"/>
                <a:ext cx="303" cy="305"/>
              </a:xfrm>
              <a:custGeom>
                <a:avLst/>
                <a:gdLst>
                  <a:gd name="T0" fmla="*/ 455 w 909"/>
                  <a:gd name="T1" fmla="*/ 0 h 915"/>
                  <a:gd name="T2" fmla="*/ 516 w 909"/>
                  <a:gd name="T3" fmla="*/ 4 h 915"/>
                  <a:gd name="T4" fmla="*/ 575 w 909"/>
                  <a:gd name="T5" fmla="*/ 16 h 915"/>
                  <a:gd name="T6" fmla="*/ 632 w 909"/>
                  <a:gd name="T7" fmla="*/ 35 h 915"/>
                  <a:gd name="T8" fmla="*/ 684 w 909"/>
                  <a:gd name="T9" fmla="*/ 62 h 915"/>
                  <a:gd name="T10" fmla="*/ 732 w 909"/>
                  <a:gd name="T11" fmla="*/ 95 h 915"/>
                  <a:gd name="T12" fmla="*/ 777 w 909"/>
                  <a:gd name="T13" fmla="*/ 133 h 915"/>
                  <a:gd name="T14" fmla="*/ 815 w 909"/>
                  <a:gd name="T15" fmla="*/ 177 h 915"/>
                  <a:gd name="T16" fmla="*/ 847 w 909"/>
                  <a:gd name="T17" fmla="*/ 227 h 915"/>
                  <a:gd name="T18" fmla="*/ 874 w 909"/>
                  <a:gd name="T19" fmla="*/ 279 h 915"/>
                  <a:gd name="T20" fmla="*/ 893 w 909"/>
                  <a:gd name="T21" fmla="*/ 336 h 915"/>
                  <a:gd name="T22" fmla="*/ 905 w 909"/>
                  <a:gd name="T23" fmla="*/ 395 h 915"/>
                  <a:gd name="T24" fmla="*/ 909 w 909"/>
                  <a:gd name="T25" fmla="*/ 457 h 915"/>
                  <a:gd name="T26" fmla="*/ 905 w 909"/>
                  <a:gd name="T27" fmla="*/ 520 h 915"/>
                  <a:gd name="T28" fmla="*/ 893 w 909"/>
                  <a:gd name="T29" fmla="*/ 579 h 915"/>
                  <a:gd name="T30" fmla="*/ 874 w 909"/>
                  <a:gd name="T31" fmla="*/ 636 h 915"/>
                  <a:gd name="T32" fmla="*/ 847 w 909"/>
                  <a:gd name="T33" fmla="*/ 688 h 915"/>
                  <a:gd name="T34" fmla="*/ 815 w 909"/>
                  <a:gd name="T35" fmla="*/ 736 h 915"/>
                  <a:gd name="T36" fmla="*/ 777 w 909"/>
                  <a:gd name="T37" fmla="*/ 780 h 915"/>
                  <a:gd name="T38" fmla="*/ 732 w 909"/>
                  <a:gd name="T39" fmla="*/ 820 h 915"/>
                  <a:gd name="T40" fmla="*/ 684 w 909"/>
                  <a:gd name="T41" fmla="*/ 853 h 915"/>
                  <a:gd name="T42" fmla="*/ 632 w 909"/>
                  <a:gd name="T43" fmla="*/ 878 h 915"/>
                  <a:gd name="T44" fmla="*/ 575 w 909"/>
                  <a:gd name="T45" fmla="*/ 898 h 915"/>
                  <a:gd name="T46" fmla="*/ 516 w 909"/>
                  <a:gd name="T47" fmla="*/ 911 h 915"/>
                  <a:gd name="T48" fmla="*/ 455 w 909"/>
                  <a:gd name="T49" fmla="*/ 915 h 915"/>
                  <a:gd name="T50" fmla="*/ 404 w 909"/>
                  <a:gd name="T51" fmla="*/ 912 h 915"/>
                  <a:gd name="T52" fmla="*/ 355 w 909"/>
                  <a:gd name="T53" fmla="*/ 903 h 915"/>
                  <a:gd name="T54" fmla="*/ 307 w 909"/>
                  <a:gd name="T55" fmla="*/ 889 h 915"/>
                  <a:gd name="T56" fmla="*/ 262 w 909"/>
                  <a:gd name="T57" fmla="*/ 871 h 915"/>
                  <a:gd name="T58" fmla="*/ 252 w 909"/>
                  <a:gd name="T59" fmla="*/ 806 h 915"/>
                  <a:gd name="T60" fmla="*/ 234 w 909"/>
                  <a:gd name="T61" fmla="*/ 743 h 915"/>
                  <a:gd name="T62" fmla="*/ 210 w 909"/>
                  <a:gd name="T63" fmla="*/ 684 h 915"/>
                  <a:gd name="T64" fmla="*/ 179 w 909"/>
                  <a:gd name="T65" fmla="*/ 629 h 915"/>
                  <a:gd name="T66" fmla="*/ 141 w 909"/>
                  <a:gd name="T67" fmla="*/ 576 h 915"/>
                  <a:gd name="T68" fmla="*/ 99 w 909"/>
                  <a:gd name="T69" fmla="*/ 530 h 915"/>
                  <a:gd name="T70" fmla="*/ 52 w 909"/>
                  <a:gd name="T71" fmla="*/ 487 h 915"/>
                  <a:gd name="T72" fmla="*/ 0 w 909"/>
                  <a:gd name="T73" fmla="*/ 450 h 915"/>
                  <a:gd name="T74" fmla="*/ 6 w 909"/>
                  <a:gd name="T75" fmla="*/ 389 h 915"/>
                  <a:gd name="T76" fmla="*/ 19 w 909"/>
                  <a:gd name="T77" fmla="*/ 330 h 915"/>
                  <a:gd name="T78" fmla="*/ 38 w 909"/>
                  <a:gd name="T79" fmla="*/ 275 h 915"/>
                  <a:gd name="T80" fmla="*/ 65 w 909"/>
                  <a:gd name="T81" fmla="*/ 222 h 915"/>
                  <a:gd name="T82" fmla="*/ 97 w 909"/>
                  <a:gd name="T83" fmla="*/ 174 h 915"/>
                  <a:gd name="T84" fmla="*/ 135 w 909"/>
                  <a:gd name="T85" fmla="*/ 132 h 915"/>
                  <a:gd name="T86" fmla="*/ 179 w 909"/>
                  <a:gd name="T87" fmla="*/ 94 h 915"/>
                  <a:gd name="T88" fmla="*/ 227 w 909"/>
                  <a:gd name="T89" fmla="*/ 61 h 915"/>
                  <a:gd name="T90" fmla="*/ 279 w 909"/>
                  <a:gd name="T91" fmla="*/ 35 h 915"/>
                  <a:gd name="T92" fmla="*/ 335 w 909"/>
                  <a:gd name="T93" fmla="*/ 16 h 915"/>
                  <a:gd name="T94" fmla="*/ 394 w 909"/>
                  <a:gd name="T95" fmla="*/ 4 h 915"/>
                  <a:gd name="T96" fmla="*/ 455 w 909"/>
                  <a:gd name="T97" fmla="*/ 0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09" h="915">
                    <a:moveTo>
                      <a:pt x="455" y="0"/>
                    </a:moveTo>
                    <a:lnTo>
                      <a:pt x="516" y="4"/>
                    </a:lnTo>
                    <a:lnTo>
                      <a:pt x="575" y="16"/>
                    </a:lnTo>
                    <a:lnTo>
                      <a:pt x="632" y="35"/>
                    </a:lnTo>
                    <a:lnTo>
                      <a:pt x="684" y="62"/>
                    </a:lnTo>
                    <a:lnTo>
                      <a:pt x="732" y="95"/>
                    </a:lnTo>
                    <a:lnTo>
                      <a:pt x="777" y="133"/>
                    </a:lnTo>
                    <a:lnTo>
                      <a:pt x="815" y="177"/>
                    </a:lnTo>
                    <a:lnTo>
                      <a:pt x="847" y="227"/>
                    </a:lnTo>
                    <a:lnTo>
                      <a:pt x="874" y="279"/>
                    </a:lnTo>
                    <a:lnTo>
                      <a:pt x="893" y="336"/>
                    </a:lnTo>
                    <a:lnTo>
                      <a:pt x="905" y="395"/>
                    </a:lnTo>
                    <a:lnTo>
                      <a:pt x="909" y="457"/>
                    </a:lnTo>
                    <a:lnTo>
                      <a:pt x="905" y="520"/>
                    </a:lnTo>
                    <a:lnTo>
                      <a:pt x="893" y="579"/>
                    </a:lnTo>
                    <a:lnTo>
                      <a:pt x="874" y="636"/>
                    </a:lnTo>
                    <a:lnTo>
                      <a:pt x="847" y="688"/>
                    </a:lnTo>
                    <a:lnTo>
                      <a:pt x="815" y="736"/>
                    </a:lnTo>
                    <a:lnTo>
                      <a:pt x="777" y="780"/>
                    </a:lnTo>
                    <a:lnTo>
                      <a:pt x="732" y="820"/>
                    </a:lnTo>
                    <a:lnTo>
                      <a:pt x="684" y="853"/>
                    </a:lnTo>
                    <a:lnTo>
                      <a:pt x="632" y="878"/>
                    </a:lnTo>
                    <a:lnTo>
                      <a:pt x="575" y="898"/>
                    </a:lnTo>
                    <a:lnTo>
                      <a:pt x="516" y="911"/>
                    </a:lnTo>
                    <a:lnTo>
                      <a:pt x="455" y="915"/>
                    </a:lnTo>
                    <a:lnTo>
                      <a:pt x="404" y="912"/>
                    </a:lnTo>
                    <a:lnTo>
                      <a:pt x="355" y="903"/>
                    </a:lnTo>
                    <a:lnTo>
                      <a:pt x="307" y="889"/>
                    </a:lnTo>
                    <a:lnTo>
                      <a:pt x="262" y="871"/>
                    </a:lnTo>
                    <a:lnTo>
                      <a:pt x="252" y="806"/>
                    </a:lnTo>
                    <a:lnTo>
                      <a:pt x="234" y="743"/>
                    </a:lnTo>
                    <a:lnTo>
                      <a:pt x="210" y="684"/>
                    </a:lnTo>
                    <a:lnTo>
                      <a:pt x="179" y="629"/>
                    </a:lnTo>
                    <a:lnTo>
                      <a:pt x="141" y="576"/>
                    </a:lnTo>
                    <a:lnTo>
                      <a:pt x="99" y="530"/>
                    </a:lnTo>
                    <a:lnTo>
                      <a:pt x="52" y="487"/>
                    </a:lnTo>
                    <a:lnTo>
                      <a:pt x="0" y="450"/>
                    </a:lnTo>
                    <a:lnTo>
                      <a:pt x="6" y="389"/>
                    </a:lnTo>
                    <a:lnTo>
                      <a:pt x="19" y="330"/>
                    </a:lnTo>
                    <a:lnTo>
                      <a:pt x="38" y="275"/>
                    </a:lnTo>
                    <a:lnTo>
                      <a:pt x="65" y="222"/>
                    </a:lnTo>
                    <a:lnTo>
                      <a:pt x="97" y="174"/>
                    </a:lnTo>
                    <a:lnTo>
                      <a:pt x="135" y="132"/>
                    </a:lnTo>
                    <a:lnTo>
                      <a:pt x="179" y="94"/>
                    </a:lnTo>
                    <a:lnTo>
                      <a:pt x="227" y="61"/>
                    </a:lnTo>
                    <a:lnTo>
                      <a:pt x="279" y="35"/>
                    </a:lnTo>
                    <a:lnTo>
                      <a:pt x="335" y="16"/>
                    </a:lnTo>
                    <a:lnTo>
                      <a:pt x="394" y="4"/>
                    </a:lnTo>
                    <a:lnTo>
                      <a:pt x="45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87" name="Freeform 11">
                <a:extLst>
                  <a:ext uri="{FF2B5EF4-FFF2-40B4-BE49-F238E27FC236}">
                    <a16:creationId xmlns:a16="http://schemas.microsoft.com/office/drawing/2014/main" id="{4D0C9E25-7BE0-4F18-985F-06A685E98C60}"/>
                  </a:ext>
                </a:extLst>
              </p:cNvPr>
              <p:cNvSpPr>
                <a:spLocks/>
              </p:cNvSpPr>
              <p:nvPr/>
            </p:nvSpPr>
            <p:spPr bwMode="auto">
              <a:xfrm>
                <a:off x="1167" y="2494"/>
                <a:ext cx="304" cy="306"/>
              </a:xfrm>
              <a:custGeom>
                <a:avLst/>
                <a:gdLst>
                  <a:gd name="T0" fmla="*/ 456 w 910"/>
                  <a:gd name="T1" fmla="*/ 0 h 916"/>
                  <a:gd name="T2" fmla="*/ 516 w 910"/>
                  <a:gd name="T3" fmla="*/ 4 h 916"/>
                  <a:gd name="T4" fmla="*/ 575 w 910"/>
                  <a:gd name="T5" fmla="*/ 17 h 916"/>
                  <a:gd name="T6" fmla="*/ 632 w 910"/>
                  <a:gd name="T7" fmla="*/ 37 h 916"/>
                  <a:gd name="T8" fmla="*/ 685 w 910"/>
                  <a:gd name="T9" fmla="*/ 64 h 916"/>
                  <a:gd name="T10" fmla="*/ 733 w 910"/>
                  <a:gd name="T11" fmla="*/ 96 h 916"/>
                  <a:gd name="T12" fmla="*/ 777 w 910"/>
                  <a:gd name="T13" fmla="*/ 134 h 916"/>
                  <a:gd name="T14" fmla="*/ 815 w 910"/>
                  <a:gd name="T15" fmla="*/ 178 h 916"/>
                  <a:gd name="T16" fmla="*/ 848 w 910"/>
                  <a:gd name="T17" fmla="*/ 226 h 916"/>
                  <a:gd name="T18" fmla="*/ 874 w 910"/>
                  <a:gd name="T19" fmla="*/ 280 h 916"/>
                  <a:gd name="T20" fmla="*/ 893 w 910"/>
                  <a:gd name="T21" fmla="*/ 337 h 916"/>
                  <a:gd name="T22" fmla="*/ 906 w 910"/>
                  <a:gd name="T23" fmla="*/ 396 h 916"/>
                  <a:gd name="T24" fmla="*/ 910 w 910"/>
                  <a:gd name="T25" fmla="*/ 459 h 916"/>
                  <a:gd name="T26" fmla="*/ 906 w 910"/>
                  <a:gd name="T27" fmla="*/ 519 h 916"/>
                  <a:gd name="T28" fmla="*/ 893 w 910"/>
                  <a:gd name="T29" fmla="*/ 579 h 916"/>
                  <a:gd name="T30" fmla="*/ 874 w 910"/>
                  <a:gd name="T31" fmla="*/ 636 h 916"/>
                  <a:gd name="T32" fmla="*/ 848 w 910"/>
                  <a:gd name="T33" fmla="*/ 689 h 916"/>
                  <a:gd name="T34" fmla="*/ 815 w 910"/>
                  <a:gd name="T35" fmla="*/ 738 h 916"/>
                  <a:gd name="T36" fmla="*/ 777 w 910"/>
                  <a:gd name="T37" fmla="*/ 781 h 916"/>
                  <a:gd name="T38" fmla="*/ 733 w 910"/>
                  <a:gd name="T39" fmla="*/ 820 h 916"/>
                  <a:gd name="T40" fmla="*/ 685 w 910"/>
                  <a:gd name="T41" fmla="*/ 854 h 916"/>
                  <a:gd name="T42" fmla="*/ 632 w 910"/>
                  <a:gd name="T43" fmla="*/ 879 h 916"/>
                  <a:gd name="T44" fmla="*/ 575 w 910"/>
                  <a:gd name="T45" fmla="*/ 899 h 916"/>
                  <a:gd name="T46" fmla="*/ 516 w 910"/>
                  <a:gd name="T47" fmla="*/ 912 h 916"/>
                  <a:gd name="T48" fmla="*/ 456 w 910"/>
                  <a:gd name="T49" fmla="*/ 916 h 916"/>
                  <a:gd name="T50" fmla="*/ 394 w 910"/>
                  <a:gd name="T51" fmla="*/ 912 h 916"/>
                  <a:gd name="T52" fmla="*/ 335 w 910"/>
                  <a:gd name="T53" fmla="*/ 899 h 916"/>
                  <a:gd name="T54" fmla="*/ 279 w 910"/>
                  <a:gd name="T55" fmla="*/ 879 h 916"/>
                  <a:gd name="T56" fmla="*/ 225 w 910"/>
                  <a:gd name="T57" fmla="*/ 854 h 916"/>
                  <a:gd name="T58" fmla="*/ 177 w 910"/>
                  <a:gd name="T59" fmla="*/ 820 h 916"/>
                  <a:gd name="T60" fmla="*/ 134 w 910"/>
                  <a:gd name="T61" fmla="*/ 781 h 916"/>
                  <a:gd name="T62" fmla="*/ 96 w 910"/>
                  <a:gd name="T63" fmla="*/ 738 h 916"/>
                  <a:gd name="T64" fmla="*/ 62 w 910"/>
                  <a:gd name="T65" fmla="*/ 689 h 916"/>
                  <a:gd name="T66" fmla="*/ 37 w 910"/>
                  <a:gd name="T67" fmla="*/ 636 h 916"/>
                  <a:gd name="T68" fmla="*/ 17 w 910"/>
                  <a:gd name="T69" fmla="*/ 579 h 916"/>
                  <a:gd name="T70" fmla="*/ 4 w 910"/>
                  <a:gd name="T71" fmla="*/ 519 h 916"/>
                  <a:gd name="T72" fmla="*/ 0 w 910"/>
                  <a:gd name="T73" fmla="*/ 459 h 916"/>
                  <a:gd name="T74" fmla="*/ 4 w 910"/>
                  <a:gd name="T75" fmla="*/ 396 h 916"/>
                  <a:gd name="T76" fmla="*/ 17 w 910"/>
                  <a:gd name="T77" fmla="*/ 337 h 916"/>
                  <a:gd name="T78" fmla="*/ 37 w 910"/>
                  <a:gd name="T79" fmla="*/ 280 h 916"/>
                  <a:gd name="T80" fmla="*/ 62 w 910"/>
                  <a:gd name="T81" fmla="*/ 226 h 916"/>
                  <a:gd name="T82" fmla="*/ 96 w 910"/>
                  <a:gd name="T83" fmla="*/ 178 h 916"/>
                  <a:gd name="T84" fmla="*/ 134 w 910"/>
                  <a:gd name="T85" fmla="*/ 134 h 916"/>
                  <a:gd name="T86" fmla="*/ 177 w 910"/>
                  <a:gd name="T87" fmla="*/ 96 h 916"/>
                  <a:gd name="T88" fmla="*/ 225 w 910"/>
                  <a:gd name="T89" fmla="*/ 64 h 916"/>
                  <a:gd name="T90" fmla="*/ 279 w 910"/>
                  <a:gd name="T91" fmla="*/ 37 h 916"/>
                  <a:gd name="T92" fmla="*/ 335 w 910"/>
                  <a:gd name="T93" fmla="*/ 17 h 916"/>
                  <a:gd name="T94" fmla="*/ 394 w 910"/>
                  <a:gd name="T95" fmla="*/ 4 h 916"/>
                  <a:gd name="T96" fmla="*/ 456 w 910"/>
                  <a:gd name="T97" fmla="*/ 0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10" h="916">
                    <a:moveTo>
                      <a:pt x="456" y="0"/>
                    </a:moveTo>
                    <a:lnTo>
                      <a:pt x="516" y="4"/>
                    </a:lnTo>
                    <a:lnTo>
                      <a:pt x="575" y="17"/>
                    </a:lnTo>
                    <a:lnTo>
                      <a:pt x="632" y="37"/>
                    </a:lnTo>
                    <a:lnTo>
                      <a:pt x="685" y="64"/>
                    </a:lnTo>
                    <a:lnTo>
                      <a:pt x="733" y="96"/>
                    </a:lnTo>
                    <a:lnTo>
                      <a:pt x="777" y="134"/>
                    </a:lnTo>
                    <a:lnTo>
                      <a:pt x="815" y="178"/>
                    </a:lnTo>
                    <a:lnTo>
                      <a:pt x="848" y="226"/>
                    </a:lnTo>
                    <a:lnTo>
                      <a:pt x="874" y="280"/>
                    </a:lnTo>
                    <a:lnTo>
                      <a:pt x="893" y="337"/>
                    </a:lnTo>
                    <a:lnTo>
                      <a:pt x="906" y="396"/>
                    </a:lnTo>
                    <a:lnTo>
                      <a:pt x="910" y="459"/>
                    </a:lnTo>
                    <a:lnTo>
                      <a:pt x="906" y="519"/>
                    </a:lnTo>
                    <a:lnTo>
                      <a:pt x="893" y="579"/>
                    </a:lnTo>
                    <a:lnTo>
                      <a:pt x="874" y="636"/>
                    </a:lnTo>
                    <a:lnTo>
                      <a:pt x="848" y="689"/>
                    </a:lnTo>
                    <a:lnTo>
                      <a:pt x="815" y="738"/>
                    </a:lnTo>
                    <a:lnTo>
                      <a:pt x="777" y="781"/>
                    </a:lnTo>
                    <a:lnTo>
                      <a:pt x="733" y="820"/>
                    </a:lnTo>
                    <a:lnTo>
                      <a:pt x="685" y="854"/>
                    </a:lnTo>
                    <a:lnTo>
                      <a:pt x="632" y="879"/>
                    </a:lnTo>
                    <a:lnTo>
                      <a:pt x="575" y="899"/>
                    </a:lnTo>
                    <a:lnTo>
                      <a:pt x="516" y="912"/>
                    </a:lnTo>
                    <a:lnTo>
                      <a:pt x="456" y="916"/>
                    </a:lnTo>
                    <a:lnTo>
                      <a:pt x="394" y="912"/>
                    </a:lnTo>
                    <a:lnTo>
                      <a:pt x="335" y="899"/>
                    </a:lnTo>
                    <a:lnTo>
                      <a:pt x="279" y="879"/>
                    </a:lnTo>
                    <a:lnTo>
                      <a:pt x="225" y="854"/>
                    </a:lnTo>
                    <a:lnTo>
                      <a:pt x="177" y="820"/>
                    </a:lnTo>
                    <a:lnTo>
                      <a:pt x="134" y="781"/>
                    </a:lnTo>
                    <a:lnTo>
                      <a:pt x="96" y="738"/>
                    </a:lnTo>
                    <a:lnTo>
                      <a:pt x="62" y="689"/>
                    </a:lnTo>
                    <a:lnTo>
                      <a:pt x="37" y="636"/>
                    </a:lnTo>
                    <a:lnTo>
                      <a:pt x="17" y="579"/>
                    </a:lnTo>
                    <a:lnTo>
                      <a:pt x="4" y="519"/>
                    </a:lnTo>
                    <a:lnTo>
                      <a:pt x="0" y="459"/>
                    </a:lnTo>
                    <a:lnTo>
                      <a:pt x="4" y="396"/>
                    </a:lnTo>
                    <a:lnTo>
                      <a:pt x="17" y="337"/>
                    </a:lnTo>
                    <a:lnTo>
                      <a:pt x="37" y="280"/>
                    </a:lnTo>
                    <a:lnTo>
                      <a:pt x="62" y="226"/>
                    </a:lnTo>
                    <a:lnTo>
                      <a:pt x="96" y="178"/>
                    </a:lnTo>
                    <a:lnTo>
                      <a:pt x="134" y="134"/>
                    </a:lnTo>
                    <a:lnTo>
                      <a:pt x="177" y="96"/>
                    </a:lnTo>
                    <a:lnTo>
                      <a:pt x="225" y="64"/>
                    </a:lnTo>
                    <a:lnTo>
                      <a:pt x="279" y="37"/>
                    </a:lnTo>
                    <a:lnTo>
                      <a:pt x="335" y="17"/>
                    </a:lnTo>
                    <a:lnTo>
                      <a:pt x="394" y="4"/>
                    </a:lnTo>
                    <a:lnTo>
                      <a:pt x="4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88" name="Freeform 12">
                <a:extLst>
                  <a:ext uri="{FF2B5EF4-FFF2-40B4-BE49-F238E27FC236}">
                    <a16:creationId xmlns:a16="http://schemas.microsoft.com/office/drawing/2014/main" id="{892C13A6-5533-4836-A73A-17271669DC7C}"/>
                  </a:ext>
                </a:extLst>
              </p:cNvPr>
              <p:cNvSpPr>
                <a:spLocks/>
              </p:cNvSpPr>
              <p:nvPr/>
            </p:nvSpPr>
            <p:spPr bwMode="auto">
              <a:xfrm>
                <a:off x="1449" y="2652"/>
                <a:ext cx="379" cy="402"/>
              </a:xfrm>
              <a:custGeom>
                <a:avLst/>
                <a:gdLst>
                  <a:gd name="T0" fmla="*/ 173 w 1138"/>
                  <a:gd name="T1" fmla="*/ 0 h 1205"/>
                  <a:gd name="T2" fmla="*/ 556 w 1138"/>
                  <a:gd name="T3" fmla="*/ 0 h 1205"/>
                  <a:gd name="T4" fmla="*/ 625 w 1138"/>
                  <a:gd name="T5" fmla="*/ 4 h 1205"/>
                  <a:gd name="T6" fmla="*/ 689 w 1138"/>
                  <a:gd name="T7" fmla="*/ 16 h 1205"/>
                  <a:gd name="T8" fmla="*/ 752 w 1138"/>
                  <a:gd name="T9" fmla="*/ 34 h 1205"/>
                  <a:gd name="T10" fmla="*/ 812 w 1138"/>
                  <a:gd name="T11" fmla="*/ 60 h 1205"/>
                  <a:gd name="T12" fmla="*/ 868 w 1138"/>
                  <a:gd name="T13" fmla="*/ 92 h 1205"/>
                  <a:gd name="T14" fmla="*/ 920 w 1138"/>
                  <a:gd name="T15" fmla="*/ 129 h 1205"/>
                  <a:gd name="T16" fmla="*/ 968 w 1138"/>
                  <a:gd name="T17" fmla="*/ 171 h 1205"/>
                  <a:gd name="T18" fmla="*/ 1010 w 1138"/>
                  <a:gd name="T19" fmla="*/ 220 h 1205"/>
                  <a:gd name="T20" fmla="*/ 1046 w 1138"/>
                  <a:gd name="T21" fmla="*/ 272 h 1205"/>
                  <a:gd name="T22" fmla="*/ 1079 w 1138"/>
                  <a:gd name="T23" fmla="*/ 329 h 1205"/>
                  <a:gd name="T24" fmla="*/ 1104 w 1138"/>
                  <a:gd name="T25" fmla="*/ 390 h 1205"/>
                  <a:gd name="T26" fmla="*/ 1122 w 1138"/>
                  <a:gd name="T27" fmla="*/ 452 h 1205"/>
                  <a:gd name="T28" fmla="*/ 1134 w 1138"/>
                  <a:gd name="T29" fmla="*/ 518 h 1205"/>
                  <a:gd name="T30" fmla="*/ 1138 w 1138"/>
                  <a:gd name="T31" fmla="*/ 586 h 1205"/>
                  <a:gd name="T32" fmla="*/ 1138 w 1138"/>
                  <a:gd name="T33" fmla="*/ 1061 h 1205"/>
                  <a:gd name="T34" fmla="*/ 1135 w 1138"/>
                  <a:gd name="T35" fmla="*/ 1061 h 1205"/>
                  <a:gd name="T36" fmla="*/ 1104 w 1138"/>
                  <a:gd name="T37" fmla="*/ 1076 h 1205"/>
                  <a:gd name="T38" fmla="*/ 1097 w 1138"/>
                  <a:gd name="T39" fmla="*/ 1081 h 1205"/>
                  <a:gd name="T40" fmla="*/ 1083 w 1138"/>
                  <a:gd name="T41" fmla="*/ 1086 h 1205"/>
                  <a:gd name="T42" fmla="*/ 1062 w 1138"/>
                  <a:gd name="T43" fmla="*/ 1095 h 1205"/>
                  <a:gd name="T44" fmla="*/ 1035 w 1138"/>
                  <a:gd name="T45" fmla="*/ 1106 h 1205"/>
                  <a:gd name="T46" fmla="*/ 1000 w 1138"/>
                  <a:gd name="T47" fmla="*/ 1119 h 1205"/>
                  <a:gd name="T48" fmla="*/ 959 w 1138"/>
                  <a:gd name="T49" fmla="*/ 1132 h 1205"/>
                  <a:gd name="T50" fmla="*/ 911 w 1138"/>
                  <a:gd name="T51" fmla="*/ 1146 h 1205"/>
                  <a:gd name="T52" fmla="*/ 857 w 1138"/>
                  <a:gd name="T53" fmla="*/ 1158 h 1205"/>
                  <a:gd name="T54" fmla="*/ 796 w 1138"/>
                  <a:gd name="T55" fmla="*/ 1171 h 1205"/>
                  <a:gd name="T56" fmla="*/ 730 w 1138"/>
                  <a:gd name="T57" fmla="*/ 1184 h 1205"/>
                  <a:gd name="T58" fmla="*/ 657 w 1138"/>
                  <a:gd name="T59" fmla="*/ 1194 h 1205"/>
                  <a:gd name="T60" fmla="*/ 578 w 1138"/>
                  <a:gd name="T61" fmla="*/ 1201 h 1205"/>
                  <a:gd name="T62" fmla="*/ 494 w 1138"/>
                  <a:gd name="T63" fmla="*/ 1205 h 1205"/>
                  <a:gd name="T64" fmla="*/ 494 w 1138"/>
                  <a:gd name="T65" fmla="*/ 1059 h 1205"/>
                  <a:gd name="T66" fmla="*/ 490 w 1138"/>
                  <a:gd name="T67" fmla="*/ 981 h 1205"/>
                  <a:gd name="T68" fmla="*/ 477 w 1138"/>
                  <a:gd name="T69" fmla="*/ 906 h 1205"/>
                  <a:gd name="T70" fmla="*/ 457 w 1138"/>
                  <a:gd name="T71" fmla="*/ 834 h 1205"/>
                  <a:gd name="T72" fmla="*/ 429 w 1138"/>
                  <a:gd name="T73" fmla="*/ 766 h 1205"/>
                  <a:gd name="T74" fmla="*/ 395 w 1138"/>
                  <a:gd name="T75" fmla="*/ 701 h 1205"/>
                  <a:gd name="T76" fmla="*/ 354 w 1138"/>
                  <a:gd name="T77" fmla="*/ 640 h 1205"/>
                  <a:gd name="T78" fmla="*/ 308 w 1138"/>
                  <a:gd name="T79" fmla="*/ 585 h 1205"/>
                  <a:gd name="T80" fmla="*/ 255 w 1138"/>
                  <a:gd name="T81" fmla="*/ 534 h 1205"/>
                  <a:gd name="T82" fmla="*/ 198 w 1138"/>
                  <a:gd name="T83" fmla="*/ 489 h 1205"/>
                  <a:gd name="T84" fmla="*/ 137 w 1138"/>
                  <a:gd name="T85" fmla="*/ 450 h 1205"/>
                  <a:gd name="T86" fmla="*/ 70 w 1138"/>
                  <a:gd name="T87" fmla="*/ 418 h 1205"/>
                  <a:gd name="T88" fmla="*/ 0 w 1138"/>
                  <a:gd name="T89" fmla="*/ 392 h 1205"/>
                  <a:gd name="T90" fmla="*/ 42 w 1138"/>
                  <a:gd name="T91" fmla="*/ 348 h 1205"/>
                  <a:gd name="T92" fmla="*/ 79 w 1138"/>
                  <a:gd name="T93" fmla="*/ 299 h 1205"/>
                  <a:gd name="T94" fmla="*/ 111 w 1138"/>
                  <a:gd name="T95" fmla="*/ 245 h 1205"/>
                  <a:gd name="T96" fmla="*/ 137 w 1138"/>
                  <a:gd name="T97" fmla="*/ 188 h 1205"/>
                  <a:gd name="T98" fmla="*/ 155 w 1138"/>
                  <a:gd name="T99" fmla="*/ 128 h 1205"/>
                  <a:gd name="T100" fmla="*/ 167 w 1138"/>
                  <a:gd name="T101" fmla="*/ 65 h 1205"/>
                  <a:gd name="T102" fmla="*/ 173 w 1138"/>
                  <a:gd name="T103" fmla="*/ 0 h 1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38" h="1205">
                    <a:moveTo>
                      <a:pt x="173" y="0"/>
                    </a:moveTo>
                    <a:lnTo>
                      <a:pt x="556" y="0"/>
                    </a:lnTo>
                    <a:lnTo>
                      <a:pt x="625" y="4"/>
                    </a:lnTo>
                    <a:lnTo>
                      <a:pt x="689" y="16"/>
                    </a:lnTo>
                    <a:lnTo>
                      <a:pt x="752" y="34"/>
                    </a:lnTo>
                    <a:lnTo>
                      <a:pt x="812" y="60"/>
                    </a:lnTo>
                    <a:lnTo>
                      <a:pt x="868" y="92"/>
                    </a:lnTo>
                    <a:lnTo>
                      <a:pt x="920" y="129"/>
                    </a:lnTo>
                    <a:lnTo>
                      <a:pt x="968" y="171"/>
                    </a:lnTo>
                    <a:lnTo>
                      <a:pt x="1010" y="220"/>
                    </a:lnTo>
                    <a:lnTo>
                      <a:pt x="1046" y="272"/>
                    </a:lnTo>
                    <a:lnTo>
                      <a:pt x="1079" y="329"/>
                    </a:lnTo>
                    <a:lnTo>
                      <a:pt x="1104" y="390"/>
                    </a:lnTo>
                    <a:lnTo>
                      <a:pt x="1122" y="452"/>
                    </a:lnTo>
                    <a:lnTo>
                      <a:pt x="1134" y="518"/>
                    </a:lnTo>
                    <a:lnTo>
                      <a:pt x="1138" y="586"/>
                    </a:lnTo>
                    <a:lnTo>
                      <a:pt x="1138" y="1061"/>
                    </a:lnTo>
                    <a:lnTo>
                      <a:pt x="1135" y="1061"/>
                    </a:lnTo>
                    <a:lnTo>
                      <a:pt x="1104" y="1076"/>
                    </a:lnTo>
                    <a:lnTo>
                      <a:pt x="1097" y="1081"/>
                    </a:lnTo>
                    <a:lnTo>
                      <a:pt x="1083" y="1086"/>
                    </a:lnTo>
                    <a:lnTo>
                      <a:pt x="1062" y="1095"/>
                    </a:lnTo>
                    <a:lnTo>
                      <a:pt x="1035" y="1106"/>
                    </a:lnTo>
                    <a:lnTo>
                      <a:pt x="1000" y="1119"/>
                    </a:lnTo>
                    <a:lnTo>
                      <a:pt x="959" y="1132"/>
                    </a:lnTo>
                    <a:lnTo>
                      <a:pt x="911" y="1146"/>
                    </a:lnTo>
                    <a:lnTo>
                      <a:pt x="857" y="1158"/>
                    </a:lnTo>
                    <a:lnTo>
                      <a:pt x="796" y="1171"/>
                    </a:lnTo>
                    <a:lnTo>
                      <a:pt x="730" y="1184"/>
                    </a:lnTo>
                    <a:lnTo>
                      <a:pt x="657" y="1194"/>
                    </a:lnTo>
                    <a:lnTo>
                      <a:pt x="578" y="1201"/>
                    </a:lnTo>
                    <a:lnTo>
                      <a:pt x="494" y="1205"/>
                    </a:lnTo>
                    <a:lnTo>
                      <a:pt x="494" y="1059"/>
                    </a:lnTo>
                    <a:lnTo>
                      <a:pt x="490" y="981"/>
                    </a:lnTo>
                    <a:lnTo>
                      <a:pt x="477" y="906"/>
                    </a:lnTo>
                    <a:lnTo>
                      <a:pt x="457" y="834"/>
                    </a:lnTo>
                    <a:lnTo>
                      <a:pt x="429" y="766"/>
                    </a:lnTo>
                    <a:lnTo>
                      <a:pt x="395" y="701"/>
                    </a:lnTo>
                    <a:lnTo>
                      <a:pt x="354" y="640"/>
                    </a:lnTo>
                    <a:lnTo>
                      <a:pt x="308" y="585"/>
                    </a:lnTo>
                    <a:lnTo>
                      <a:pt x="255" y="534"/>
                    </a:lnTo>
                    <a:lnTo>
                      <a:pt x="198" y="489"/>
                    </a:lnTo>
                    <a:lnTo>
                      <a:pt x="137" y="450"/>
                    </a:lnTo>
                    <a:lnTo>
                      <a:pt x="70" y="418"/>
                    </a:lnTo>
                    <a:lnTo>
                      <a:pt x="0" y="392"/>
                    </a:lnTo>
                    <a:lnTo>
                      <a:pt x="42" y="348"/>
                    </a:lnTo>
                    <a:lnTo>
                      <a:pt x="79" y="299"/>
                    </a:lnTo>
                    <a:lnTo>
                      <a:pt x="111" y="245"/>
                    </a:lnTo>
                    <a:lnTo>
                      <a:pt x="137" y="188"/>
                    </a:lnTo>
                    <a:lnTo>
                      <a:pt x="155" y="128"/>
                    </a:lnTo>
                    <a:lnTo>
                      <a:pt x="167" y="65"/>
                    </a:lnTo>
                    <a:lnTo>
                      <a:pt x="17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89" name="Freeform 13">
                <a:extLst>
                  <a:ext uri="{FF2B5EF4-FFF2-40B4-BE49-F238E27FC236}">
                    <a16:creationId xmlns:a16="http://schemas.microsoft.com/office/drawing/2014/main" id="{5E519022-7E1C-4187-BB18-8FEF701F9F1A}"/>
                  </a:ext>
                </a:extLst>
              </p:cNvPr>
              <p:cNvSpPr>
                <a:spLocks/>
              </p:cNvSpPr>
              <p:nvPr/>
            </p:nvSpPr>
            <p:spPr bwMode="auto">
              <a:xfrm>
                <a:off x="1699" y="2499"/>
                <a:ext cx="379" cy="402"/>
              </a:xfrm>
              <a:custGeom>
                <a:avLst/>
                <a:gdLst>
                  <a:gd name="T0" fmla="*/ 173 w 1137"/>
                  <a:gd name="T1" fmla="*/ 0 h 1205"/>
                  <a:gd name="T2" fmla="*/ 555 w 1137"/>
                  <a:gd name="T3" fmla="*/ 0 h 1205"/>
                  <a:gd name="T4" fmla="*/ 623 w 1137"/>
                  <a:gd name="T5" fmla="*/ 4 h 1205"/>
                  <a:gd name="T6" fmla="*/ 689 w 1137"/>
                  <a:gd name="T7" fmla="*/ 16 h 1205"/>
                  <a:gd name="T8" fmla="*/ 751 w 1137"/>
                  <a:gd name="T9" fmla="*/ 34 h 1205"/>
                  <a:gd name="T10" fmla="*/ 811 w 1137"/>
                  <a:gd name="T11" fmla="*/ 59 h 1205"/>
                  <a:gd name="T12" fmla="*/ 867 w 1137"/>
                  <a:gd name="T13" fmla="*/ 91 h 1205"/>
                  <a:gd name="T14" fmla="*/ 919 w 1137"/>
                  <a:gd name="T15" fmla="*/ 129 h 1205"/>
                  <a:gd name="T16" fmla="*/ 967 w 1137"/>
                  <a:gd name="T17" fmla="*/ 171 h 1205"/>
                  <a:gd name="T18" fmla="*/ 1009 w 1137"/>
                  <a:gd name="T19" fmla="*/ 219 h 1205"/>
                  <a:gd name="T20" fmla="*/ 1046 w 1137"/>
                  <a:gd name="T21" fmla="*/ 272 h 1205"/>
                  <a:gd name="T22" fmla="*/ 1078 w 1137"/>
                  <a:gd name="T23" fmla="*/ 328 h 1205"/>
                  <a:gd name="T24" fmla="*/ 1104 w 1137"/>
                  <a:gd name="T25" fmla="*/ 388 h 1205"/>
                  <a:gd name="T26" fmla="*/ 1122 w 1137"/>
                  <a:gd name="T27" fmla="*/ 452 h 1205"/>
                  <a:gd name="T28" fmla="*/ 1133 w 1137"/>
                  <a:gd name="T29" fmla="*/ 518 h 1205"/>
                  <a:gd name="T30" fmla="*/ 1137 w 1137"/>
                  <a:gd name="T31" fmla="*/ 586 h 1205"/>
                  <a:gd name="T32" fmla="*/ 1137 w 1137"/>
                  <a:gd name="T33" fmla="*/ 1061 h 1205"/>
                  <a:gd name="T34" fmla="*/ 1135 w 1137"/>
                  <a:gd name="T35" fmla="*/ 1061 h 1205"/>
                  <a:gd name="T36" fmla="*/ 1104 w 1137"/>
                  <a:gd name="T37" fmla="*/ 1076 h 1205"/>
                  <a:gd name="T38" fmla="*/ 1097 w 1137"/>
                  <a:gd name="T39" fmla="*/ 1080 h 1205"/>
                  <a:gd name="T40" fmla="*/ 1083 w 1137"/>
                  <a:gd name="T41" fmla="*/ 1086 h 1205"/>
                  <a:gd name="T42" fmla="*/ 1061 w 1137"/>
                  <a:gd name="T43" fmla="*/ 1095 h 1205"/>
                  <a:gd name="T44" fmla="*/ 1033 w 1137"/>
                  <a:gd name="T45" fmla="*/ 1106 h 1205"/>
                  <a:gd name="T46" fmla="*/ 1000 w 1137"/>
                  <a:gd name="T47" fmla="*/ 1119 h 1205"/>
                  <a:gd name="T48" fmla="*/ 957 w 1137"/>
                  <a:gd name="T49" fmla="*/ 1131 h 1205"/>
                  <a:gd name="T50" fmla="*/ 910 w 1137"/>
                  <a:gd name="T51" fmla="*/ 1146 h 1205"/>
                  <a:gd name="T52" fmla="*/ 856 w 1137"/>
                  <a:gd name="T53" fmla="*/ 1158 h 1205"/>
                  <a:gd name="T54" fmla="*/ 796 w 1137"/>
                  <a:gd name="T55" fmla="*/ 1171 h 1205"/>
                  <a:gd name="T56" fmla="*/ 730 w 1137"/>
                  <a:gd name="T57" fmla="*/ 1184 h 1205"/>
                  <a:gd name="T58" fmla="*/ 656 w 1137"/>
                  <a:gd name="T59" fmla="*/ 1192 h 1205"/>
                  <a:gd name="T60" fmla="*/ 578 w 1137"/>
                  <a:gd name="T61" fmla="*/ 1201 h 1205"/>
                  <a:gd name="T62" fmla="*/ 493 w 1137"/>
                  <a:gd name="T63" fmla="*/ 1205 h 1205"/>
                  <a:gd name="T64" fmla="*/ 493 w 1137"/>
                  <a:gd name="T65" fmla="*/ 1059 h 1205"/>
                  <a:gd name="T66" fmla="*/ 489 w 1137"/>
                  <a:gd name="T67" fmla="*/ 981 h 1205"/>
                  <a:gd name="T68" fmla="*/ 476 w 1137"/>
                  <a:gd name="T69" fmla="*/ 906 h 1205"/>
                  <a:gd name="T70" fmla="*/ 457 w 1137"/>
                  <a:gd name="T71" fmla="*/ 834 h 1205"/>
                  <a:gd name="T72" fmla="*/ 429 w 1137"/>
                  <a:gd name="T73" fmla="*/ 766 h 1205"/>
                  <a:gd name="T74" fmla="*/ 395 w 1137"/>
                  <a:gd name="T75" fmla="*/ 701 h 1205"/>
                  <a:gd name="T76" fmla="*/ 354 w 1137"/>
                  <a:gd name="T77" fmla="*/ 640 h 1205"/>
                  <a:gd name="T78" fmla="*/ 306 w 1137"/>
                  <a:gd name="T79" fmla="*/ 585 h 1205"/>
                  <a:gd name="T80" fmla="*/ 254 w 1137"/>
                  <a:gd name="T81" fmla="*/ 534 h 1205"/>
                  <a:gd name="T82" fmla="*/ 197 w 1137"/>
                  <a:gd name="T83" fmla="*/ 488 h 1205"/>
                  <a:gd name="T84" fmla="*/ 135 w 1137"/>
                  <a:gd name="T85" fmla="*/ 450 h 1205"/>
                  <a:gd name="T86" fmla="*/ 70 w 1137"/>
                  <a:gd name="T87" fmla="*/ 418 h 1205"/>
                  <a:gd name="T88" fmla="*/ 0 w 1137"/>
                  <a:gd name="T89" fmla="*/ 392 h 1205"/>
                  <a:gd name="T90" fmla="*/ 42 w 1137"/>
                  <a:gd name="T91" fmla="*/ 348 h 1205"/>
                  <a:gd name="T92" fmla="*/ 78 w 1137"/>
                  <a:gd name="T93" fmla="*/ 299 h 1205"/>
                  <a:gd name="T94" fmla="*/ 109 w 1137"/>
                  <a:gd name="T95" fmla="*/ 245 h 1205"/>
                  <a:gd name="T96" fmla="*/ 135 w 1137"/>
                  <a:gd name="T97" fmla="*/ 188 h 1205"/>
                  <a:gd name="T98" fmla="*/ 154 w 1137"/>
                  <a:gd name="T99" fmla="*/ 127 h 1205"/>
                  <a:gd name="T100" fmla="*/ 167 w 1137"/>
                  <a:gd name="T101" fmla="*/ 65 h 1205"/>
                  <a:gd name="T102" fmla="*/ 173 w 1137"/>
                  <a:gd name="T103" fmla="*/ 0 h 1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37" h="1205">
                    <a:moveTo>
                      <a:pt x="173" y="0"/>
                    </a:moveTo>
                    <a:lnTo>
                      <a:pt x="555" y="0"/>
                    </a:lnTo>
                    <a:lnTo>
                      <a:pt x="623" y="4"/>
                    </a:lnTo>
                    <a:lnTo>
                      <a:pt x="689" y="16"/>
                    </a:lnTo>
                    <a:lnTo>
                      <a:pt x="751" y="34"/>
                    </a:lnTo>
                    <a:lnTo>
                      <a:pt x="811" y="59"/>
                    </a:lnTo>
                    <a:lnTo>
                      <a:pt x="867" y="91"/>
                    </a:lnTo>
                    <a:lnTo>
                      <a:pt x="919" y="129"/>
                    </a:lnTo>
                    <a:lnTo>
                      <a:pt x="967" y="171"/>
                    </a:lnTo>
                    <a:lnTo>
                      <a:pt x="1009" y="219"/>
                    </a:lnTo>
                    <a:lnTo>
                      <a:pt x="1046" y="272"/>
                    </a:lnTo>
                    <a:lnTo>
                      <a:pt x="1078" y="328"/>
                    </a:lnTo>
                    <a:lnTo>
                      <a:pt x="1104" y="388"/>
                    </a:lnTo>
                    <a:lnTo>
                      <a:pt x="1122" y="452"/>
                    </a:lnTo>
                    <a:lnTo>
                      <a:pt x="1133" y="518"/>
                    </a:lnTo>
                    <a:lnTo>
                      <a:pt x="1137" y="586"/>
                    </a:lnTo>
                    <a:lnTo>
                      <a:pt x="1137" y="1061"/>
                    </a:lnTo>
                    <a:lnTo>
                      <a:pt x="1135" y="1061"/>
                    </a:lnTo>
                    <a:lnTo>
                      <a:pt x="1104" y="1076"/>
                    </a:lnTo>
                    <a:lnTo>
                      <a:pt x="1097" y="1080"/>
                    </a:lnTo>
                    <a:lnTo>
                      <a:pt x="1083" y="1086"/>
                    </a:lnTo>
                    <a:lnTo>
                      <a:pt x="1061" y="1095"/>
                    </a:lnTo>
                    <a:lnTo>
                      <a:pt x="1033" y="1106"/>
                    </a:lnTo>
                    <a:lnTo>
                      <a:pt x="1000" y="1119"/>
                    </a:lnTo>
                    <a:lnTo>
                      <a:pt x="957" y="1131"/>
                    </a:lnTo>
                    <a:lnTo>
                      <a:pt x="910" y="1146"/>
                    </a:lnTo>
                    <a:lnTo>
                      <a:pt x="856" y="1158"/>
                    </a:lnTo>
                    <a:lnTo>
                      <a:pt x="796" y="1171"/>
                    </a:lnTo>
                    <a:lnTo>
                      <a:pt x="730" y="1184"/>
                    </a:lnTo>
                    <a:lnTo>
                      <a:pt x="656" y="1192"/>
                    </a:lnTo>
                    <a:lnTo>
                      <a:pt x="578" y="1201"/>
                    </a:lnTo>
                    <a:lnTo>
                      <a:pt x="493" y="1205"/>
                    </a:lnTo>
                    <a:lnTo>
                      <a:pt x="493" y="1059"/>
                    </a:lnTo>
                    <a:lnTo>
                      <a:pt x="489" y="981"/>
                    </a:lnTo>
                    <a:lnTo>
                      <a:pt x="476" y="906"/>
                    </a:lnTo>
                    <a:lnTo>
                      <a:pt x="457" y="834"/>
                    </a:lnTo>
                    <a:lnTo>
                      <a:pt x="429" y="766"/>
                    </a:lnTo>
                    <a:lnTo>
                      <a:pt x="395" y="701"/>
                    </a:lnTo>
                    <a:lnTo>
                      <a:pt x="354" y="640"/>
                    </a:lnTo>
                    <a:lnTo>
                      <a:pt x="306" y="585"/>
                    </a:lnTo>
                    <a:lnTo>
                      <a:pt x="254" y="534"/>
                    </a:lnTo>
                    <a:lnTo>
                      <a:pt x="197" y="488"/>
                    </a:lnTo>
                    <a:lnTo>
                      <a:pt x="135" y="450"/>
                    </a:lnTo>
                    <a:lnTo>
                      <a:pt x="70" y="418"/>
                    </a:lnTo>
                    <a:lnTo>
                      <a:pt x="0" y="392"/>
                    </a:lnTo>
                    <a:lnTo>
                      <a:pt x="42" y="348"/>
                    </a:lnTo>
                    <a:lnTo>
                      <a:pt x="78" y="299"/>
                    </a:lnTo>
                    <a:lnTo>
                      <a:pt x="109" y="245"/>
                    </a:lnTo>
                    <a:lnTo>
                      <a:pt x="135" y="188"/>
                    </a:lnTo>
                    <a:lnTo>
                      <a:pt x="154" y="127"/>
                    </a:lnTo>
                    <a:lnTo>
                      <a:pt x="167" y="65"/>
                    </a:lnTo>
                    <a:lnTo>
                      <a:pt x="17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90" name="Freeform 14">
                <a:extLst>
                  <a:ext uri="{FF2B5EF4-FFF2-40B4-BE49-F238E27FC236}">
                    <a16:creationId xmlns:a16="http://schemas.microsoft.com/office/drawing/2014/main" id="{3BC1EBC5-5B49-4957-BDE0-B46A38E42D2A}"/>
                  </a:ext>
                </a:extLst>
              </p:cNvPr>
              <p:cNvSpPr>
                <a:spLocks/>
              </p:cNvSpPr>
              <p:nvPr/>
            </p:nvSpPr>
            <p:spPr bwMode="auto">
              <a:xfrm>
                <a:off x="795" y="2652"/>
                <a:ext cx="394" cy="401"/>
              </a:xfrm>
              <a:custGeom>
                <a:avLst/>
                <a:gdLst>
                  <a:gd name="T0" fmla="*/ 582 w 1184"/>
                  <a:gd name="T1" fmla="*/ 0 h 1202"/>
                  <a:gd name="T2" fmla="*/ 968 w 1184"/>
                  <a:gd name="T3" fmla="*/ 0 h 1202"/>
                  <a:gd name="T4" fmla="*/ 1011 w 1184"/>
                  <a:gd name="T5" fmla="*/ 3 h 1202"/>
                  <a:gd name="T6" fmla="*/ 1017 w 1184"/>
                  <a:gd name="T7" fmla="*/ 67 h 1202"/>
                  <a:gd name="T8" fmla="*/ 1030 w 1184"/>
                  <a:gd name="T9" fmla="*/ 129 h 1202"/>
                  <a:gd name="T10" fmla="*/ 1049 w 1184"/>
                  <a:gd name="T11" fmla="*/ 190 h 1202"/>
                  <a:gd name="T12" fmla="*/ 1075 w 1184"/>
                  <a:gd name="T13" fmla="*/ 247 h 1202"/>
                  <a:gd name="T14" fmla="*/ 1106 w 1184"/>
                  <a:gd name="T15" fmla="*/ 299 h 1202"/>
                  <a:gd name="T16" fmla="*/ 1142 w 1184"/>
                  <a:gd name="T17" fmla="*/ 348 h 1202"/>
                  <a:gd name="T18" fmla="*/ 1184 w 1184"/>
                  <a:gd name="T19" fmla="*/ 392 h 1202"/>
                  <a:gd name="T20" fmla="*/ 1114 w 1184"/>
                  <a:gd name="T21" fmla="*/ 418 h 1202"/>
                  <a:gd name="T22" fmla="*/ 1048 w 1184"/>
                  <a:gd name="T23" fmla="*/ 450 h 1202"/>
                  <a:gd name="T24" fmla="*/ 986 w 1184"/>
                  <a:gd name="T25" fmla="*/ 489 h 1202"/>
                  <a:gd name="T26" fmla="*/ 928 w 1184"/>
                  <a:gd name="T27" fmla="*/ 534 h 1202"/>
                  <a:gd name="T28" fmla="*/ 876 w 1184"/>
                  <a:gd name="T29" fmla="*/ 585 h 1202"/>
                  <a:gd name="T30" fmla="*/ 830 w 1184"/>
                  <a:gd name="T31" fmla="*/ 640 h 1202"/>
                  <a:gd name="T32" fmla="*/ 789 w 1184"/>
                  <a:gd name="T33" fmla="*/ 701 h 1202"/>
                  <a:gd name="T34" fmla="*/ 754 w 1184"/>
                  <a:gd name="T35" fmla="*/ 766 h 1202"/>
                  <a:gd name="T36" fmla="*/ 727 w 1184"/>
                  <a:gd name="T37" fmla="*/ 834 h 1202"/>
                  <a:gd name="T38" fmla="*/ 706 w 1184"/>
                  <a:gd name="T39" fmla="*/ 906 h 1202"/>
                  <a:gd name="T40" fmla="*/ 695 w 1184"/>
                  <a:gd name="T41" fmla="*/ 981 h 1202"/>
                  <a:gd name="T42" fmla="*/ 691 w 1184"/>
                  <a:gd name="T43" fmla="*/ 1059 h 1202"/>
                  <a:gd name="T44" fmla="*/ 691 w 1184"/>
                  <a:gd name="T45" fmla="*/ 1202 h 1202"/>
                  <a:gd name="T46" fmla="*/ 606 w 1184"/>
                  <a:gd name="T47" fmla="*/ 1197 h 1202"/>
                  <a:gd name="T48" fmla="*/ 519 w 1184"/>
                  <a:gd name="T49" fmla="*/ 1187 h 1202"/>
                  <a:gd name="T50" fmla="*/ 429 w 1184"/>
                  <a:gd name="T51" fmla="*/ 1174 h 1202"/>
                  <a:gd name="T52" fmla="*/ 336 w 1184"/>
                  <a:gd name="T53" fmla="*/ 1157 h 1202"/>
                  <a:gd name="T54" fmla="*/ 239 w 1184"/>
                  <a:gd name="T55" fmla="*/ 1136 h 1202"/>
                  <a:gd name="T56" fmla="*/ 138 w 1184"/>
                  <a:gd name="T57" fmla="*/ 1109 h 1202"/>
                  <a:gd name="T58" fmla="*/ 34 w 1184"/>
                  <a:gd name="T59" fmla="*/ 1079 h 1202"/>
                  <a:gd name="T60" fmla="*/ 2 w 1184"/>
                  <a:gd name="T61" fmla="*/ 1068 h 1202"/>
                  <a:gd name="T62" fmla="*/ 0 w 1184"/>
                  <a:gd name="T63" fmla="*/ 1061 h 1202"/>
                  <a:gd name="T64" fmla="*/ 0 w 1184"/>
                  <a:gd name="T65" fmla="*/ 586 h 1202"/>
                  <a:gd name="T66" fmla="*/ 4 w 1184"/>
                  <a:gd name="T67" fmla="*/ 518 h 1202"/>
                  <a:gd name="T68" fmla="*/ 16 w 1184"/>
                  <a:gd name="T69" fmla="*/ 452 h 1202"/>
                  <a:gd name="T70" fmla="*/ 35 w 1184"/>
                  <a:gd name="T71" fmla="*/ 390 h 1202"/>
                  <a:gd name="T72" fmla="*/ 61 w 1184"/>
                  <a:gd name="T73" fmla="*/ 329 h 1202"/>
                  <a:gd name="T74" fmla="*/ 92 w 1184"/>
                  <a:gd name="T75" fmla="*/ 272 h 1202"/>
                  <a:gd name="T76" fmla="*/ 130 w 1184"/>
                  <a:gd name="T77" fmla="*/ 220 h 1202"/>
                  <a:gd name="T78" fmla="*/ 172 w 1184"/>
                  <a:gd name="T79" fmla="*/ 171 h 1202"/>
                  <a:gd name="T80" fmla="*/ 220 w 1184"/>
                  <a:gd name="T81" fmla="*/ 129 h 1202"/>
                  <a:gd name="T82" fmla="*/ 272 w 1184"/>
                  <a:gd name="T83" fmla="*/ 92 h 1202"/>
                  <a:gd name="T84" fmla="*/ 326 w 1184"/>
                  <a:gd name="T85" fmla="*/ 60 h 1202"/>
                  <a:gd name="T86" fmla="*/ 387 w 1184"/>
                  <a:gd name="T87" fmla="*/ 34 h 1202"/>
                  <a:gd name="T88" fmla="*/ 450 w 1184"/>
                  <a:gd name="T89" fmla="*/ 16 h 1202"/>
                  <a:gd name="T90" fmla="*/ 515 w 1184"/>
                  <a:gd name="T91" fmla="*/ 4 h 1202"/>
                  <a:gd name="T92" fmla="*/ 582 w 1184"/>
                  <a:gd name="T93" fmla="*/ 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84" h="1202">
                    <a:moveTo>
                      <a:pt x="582" y="0"/>
                    </a:moveTo>
                    <a:lnTo>
                      <a:pt x="968" y="0"/>
                    </a:lnTo>
                    <a:lnTo>
                      <a:pt x="1011" y="3"/>
                    </a:lnTo>
                    <a:lnTo>
                      <a:pt x="1017" y="67"/>
                    </a:lnTo>
                    <a:lnTo>
                      <a:pt x="1030" y="129"/>
                    </a:lnTo>
                    <a:lnTo>
                      <a:pt x="1049" y="190"/>
                    </a:lnTo>
                    <a:lnTo>
                      <a:pt x="1075" y="247"/>
                    </a:lnTo>
                    <a:lnTo>
                      <a:pt x="1106" y="299"/>
                    </a:lnTo>
                    <a:lnTo>
                      <a:pt x="1142" y="348"/>
                    </a:lnTo>
                    <a:lnTo>
                      <a:pt x="1184" y="392"/>
                    </a:lnTo>
                    <a:lnTo>
                      <a:pt x="1114" y="418"/>
                    </a:lnTo>
                    <a:lnTo>
                      <a:pt x="1048" y="450"/>
                    </a:lnTo>
                    <a:lnTo>
                      <a:pt x="986" y="489"/>
                    </a:lnTo>
                    <a:lnTo>
                      <a:pt x="928" y="534"/>
                    </a:lnTo>
                    <a:lnTo>
                      <a:pt x="876" y="585"/>
                    </a:lnTo>
                    <a:lnTo>
                      <a:pt x="830" y="640"/>
                    </a:lnTo>
                    <a:lnTo>
                      <a:pt x="789" y="701"/>
                    </a:lnTo>
                    <a:lnTo>
                      <a:pt x="754" y="766"/>
                    </a:lnTo>
                    <a:lnTo>
                      <a:pt x="727" y="834"/>
                    </a:lnTo>
                    <a:lnTo>
                      <a:pt x="706" y="906"/>
                    </a:lnTo>
                    <a:lnTo>
                      <a:pt x="695" y="981"/>
                    </a:lnTo>
                    <a:lnTo>
                      <a:pt x="691" y="1059"/>
                    </a:lnTo>
                    <a:lnTo>
                      <a:pt x="691" y="1202"/>
                    </a:lnTo>
                    <a:lnTo>
                      <a:pt x="606" y="1197"/>
                    </a:lnTo>
                    <a:lnTo>
                      <a:pt x="519" y="1187"/>
                    </a:lnTo>
                    <a:lnTo>
                      <a:pt x="429" y="1174"/>
                    </a:lnTo>
                    <a:lnTo>
                      <a:pt x="336" y="1157"/>
                    </a:lnTo>
                    <a:lnTo>
                      <a:pt x="239" y="1136"/>
                    </a:lnTo>
                    <a:lnTo>
                      <a:pt x="138" y="1109"/>
                    </a:lnTo>
                    <a:lnTo>
                      <a:pt x="34" y="1079"/>
                    </a:lnTo>
                    <a:lnTo>
                      <a:pt x="2" y="1068"/>
                    </a:lnTo>
                    <a:lnTo>
                      <a:pt x="0" y="1061"/>
                    </a:lnTo>
                    <a:lnTo>
                      <a:pt x="0" y="586"/>
                    </a:lnTo>
                    <a:lnTo>
                      <a:pt x="4" y="518"/>
                    </a:lnTo>
                    <a:lnTo>
                      <a:pt x="16" y="452"/>
                    </a:lnTo>
                    <a:lnTo>
                      <a:pt x="35" y="390"/>
                    </a:lnTo>
                    <a:lnTo>
                      <a:pt x="61" y="329"/>
                    </a:lnTo>
                    <a:lnTo>
                      <a:pt x="92" y="272"/>
                    </a:lnTo>
                    <a:lnTo>
                      <a:pt x="130" y="220"/>
                    </a:lnTo>
                    <a:lnTo>
                      <a:pt x="172" y="171"/>
                    </a:lnTo>
                    <a:lnTo>
                      <a:pt x="220" y="129"/>
                    </a:lnTo>
                    <a:lnTo>
                      <a:pt x="272" y="92"/>
                    </a:lnTo>
                    <a:lnTo>
                      <a:pt x="326" y="60"/>
                    </a:lnTo>
                    <a:lnTo>
                      <a:pt x="387" y="34"/>
                    </a:lnTo>
                    <a:lnTo>
                      <a:pt x="450" y="16"/>
                    </a:lnTo>
                    <a:lnTo>
                      <a:pt x="515" y="4"/>
                    </a:lnTo>
                    <a:lnTo>
                      <a:pt x="58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91" name="Freeform 15">
                <a:extLst>
                  <a:ext uri="{FF2B5EF4-FFF2-40B4-BE49-F238E27FC236}">
                    <a16:creationId xmlns:a16="http://schemas.microsoft.com/office/drawing/2014/main" id="{6C161FB4-0BD8-438E-804C-F05B9D4C3EBD}"/>
                  </a:ext>
                </a:extLst>
              </p:cNvPr>
              <p:cNvSpPr>
                <a:spLocks/>
              </p:cNvSpPr>
              <p:nvPr/>
            </p:nvSpPr>
            <p:spPr bwMode="auto">
              <a:xfrm>
                <a:off x="1061" y="2810"/>
                <a:ext cx="516" cy="402"/>
              </a:xfrm>
              <a:custGeom>
                <a:avLst/>
                <a:gdLst>
                  <a:gd name="T0" fmla="*/ 582 w 1549"/>
                  <a:gd name="T1" fmla="*/ 0 h 1207"/>
                  <a:gd name="T2" fmla="*/ 969 w 1549"/>
                  <a:gd name="T3" fmla="*/ 0 h 1207"/>
                  <a:gd name="T4" fmla="*/ 1036 w 1549"/>
                  <a:gd name="T5" fmla="*/ 4 h 1207"/>
                  <a:gd name="T6" fmla="*/ 1101 w 1549"/>
                  <a:gd name="T7" fmla="*/ 16 h 1207"/>
                  <a:gd name="T8" fmla="*/ 1164 w 1549"/>
                  <a:gd name="T9" fmla="*/ 34 h 1207"/>
                  <a:gd name="T10" fmla="*/ 1223 w 1549"/>
                  <a:gd name="T11" fmla="*/ 60 h 1207"/>
                  <a:gd name="T12" fmla="*/ 1279 w 1549"/>
                  <a:gd name="T13" fmla="*/ 91 h 1207"/>
                  <a:gd name="T14" fmla="*/ 1331 w 1549"/>
                  <a:gd name="T15" fmla="*/ 129 h 1207"/>
                  <a:gd name="T16" fmla="*/ 1379 w 1549"/>
                  <a:gd name="T17" fmla="*/ 171 h 1207"/>
                  <a:gd name="T18" fmla="*/ 1421 w 1549"/>
                  <a:gd name="T19" fmla="*/ 220 h 1207"/>
                  <a:gd name="T20" fmla="*/ 1459 w 1549"/>
                  <a:gd name="T21" fmla="*/ 272 h 1207"/>
                  <a:gd name="T22" fmla="*/ 1490 w 1549"/>
                  <a:gd name="T23" fmla="*/ 329 h 1207"/>
                  <a:gd name="T24" fmla="*/ 1516 w 1549"/>
                  <a:gd name="T25" fmla="*/ 388 h 1207"/>
                  <a:gd name="T26" fmla="*/ 1534 w 1549"/>
                  <a:gd name="T27" fmla="*/ 452 h 1207"/>
                  <a:gd name="T28" fmla="*/ 1545 w 1549"/>
                  <a:gd name="T29" fmla="*/ 517 h 1207"/>
                  <a:gd name="T30" fmla="*/ 1549 w 1549"/>
                  <a:gd name="T31" fmla="*/ 586 h 1207"/>
                  <a:gd name="T32" fmla="*/ 1549 w 1549"/>
                  <a:gd name="T33" fmla="*/ 1061 h 1207"/>
                  <a:gd name="T34" fmla="*/ 1547 w 1549"/>
                  <a:gd name="T35" fmla="*/ 1061 h 1207"/>
                  <a:gd name="T36" fmla="*/ 1516 w 1549"/>
                  <a:gd name="T37" fmla="*/ 1076 h 1207"/>
                  <a:gd name="T38" fmla="*/ 1510 w 1549"/>
                  <a:gd name="T39" fmla="*/ 1079 h 1207"/>
                  <a:gd name="T40" fmla="*/ 1496 w 1549"/>
                  <a:gd name="T41" fmla="*/ 1086 h 1207"/>
                  <a:gd name="T42" fmla="*/ 1475 w 1549"/>
                  <a:gd name="T43" fmla="*/ 1095 h 1207"/>
                  <a:gd name="T44" fmla="*/ 1447 w 1549"/>
                  <a:gd name="T45" fmla="*/ 1106 h 1207"/>
                  <a:gd name="T46" fmla="*/ 1413 w 1549"/>
                  <a:gd name="T47" fmla="*/ 1117 h 1207"/>
                  <a:gd name="T48" fmla="*/ 1372 w 1549"/>
                  <a:gd name="T49" fmla="*/ 1131 h 1207"/>
                  <a:gd name="T50" fmla="*/ 1326 w 1549"/>
                  <a:gd name="T51" fmla="*/ 1144 h 1207"/>
                  <a:gd name="T52" fmla="*/ 1272 w 1549"/>
                  <a:gd name="T53" fmla="*/ 1158 h 1207"/>
                  <a:gd name="T54" fmla="*/ 1212 w 1549"/>
                  <a:gd name="T55" fmla="*/ 1171 h 1207"/>
                  <a:gd name="T56" fmla="*/ 1147 w 1549"/>
                  <a:gd name="T57" fmla="*/ 1182 h 1207"/>
                  <a:gd name="T58" fmla="*/ 1075 w 1549"/>
                  <a:gd name="T59" fmla="*/ 1192 h 1207"/>
                  <a:gd name="T60" fmla="*/ 998 w 1549"/>
                  <a:gd name="T61" fmla="*/ 1199 h 1207"/>
                  <a:gd name="T62" fmla="*/ 914 w 1549"/>
                  <a:gd name="T63" fmla="*/ 1205 h 1207"/>
                  <a:gd name="T64" fmla="*/ 825 w 1549"/>
                  <a:gd name="T65" fmla="*/ 1207 h 1207"/>
                  <a:gd name="T66" fmla="*/ 741 w 1549"/>
                  <a:gd name="T67" fmla="*/ 1205 h 1207"/>
                  <a:gd name="T68" fmla="*/ 652 w 1549"/>
                  <a:gd name="T69" fmla="*/ 1201 h 1207"/>
                  <a:gd name="T70" fmla="*/ 559 w 1549"/>
                  <a:gd name="T71" fmla="*/ 1191 h 1207"/>
                  <a:gd name="T72" fmla="*/ 462 w 1549"/>
                  <a:gd name="T73" fmla="*/ 1178 h 1207"/>
                  <a:gd name="T74" fmla="*/ 361 w 1549"/>
                  <a:gd name="T75" fmla="*/ 1161 h 1207"/>
                  <a:gd name="T76" fmla="*/ 256 w 1549"/>
                  <a:gd name="T77" fmla="*/ 1139 h 1207"/>
                  <a:gd name="T78" fmla="*/ 147 w 1549"/>
                  <a:gd name="T79" fmla="*/ 1112 h 1207"/>
                  <a:gd name="T80" fmla="*/ 35 w 1549"/>
                  <a:gd name="T81" fmla="*/ 1078 h 1207"/>
                  <a:gd name="T82" fmla="*/ 1 w 1549"/>
                  <a:gd name="T83" fmla="*/ 1068 h 1207"/>
                  <a:gd name="T84" fmla="*/ 0 w 1549"/>
                  <a:gd name="T85" fmla="*/ 1061 h 1207"/>
                  <a:gd name="T86" fmla="*/ 0 w 1549"/>
                  <a:gd name="T87" fmla="*/ 586 h 1207"/>
                  <a:gd name="T88" fmla="*/ 4 w 1549"/>
                  <a:gd name="T89" fmla="*/ 517 h 1207"/>
                  <a:gd name="T90" fmla="*/ 15 w 1549"/>
                  <a:gd name="T91" fmla="*/ 452 h 1207"/>
                  <a:gd name="T92" fmla="*/ 35 w 1549"/>
                  <a:gd name="T93" fmla="*/ 388 h 1207"/>
                  <a:gd name="T94" fmla="*/ 60 w 1549"/>
                  <a:gd name="T95" fmla="*/ 329 h 1207"/>
                  <a:gd name="T96" fmla="*/ 91 w 1549"/>
                  <a:gd name="T97" fmla="*/ 272 h 1207"/>
                  <a:gd name="T98" fmla="*/ 129 w 1549"/>
                  <a:gd name="T99" fmla="*/ 220 h 1207"/>
                  <a:gd name="T100" fmla="*/ 171 w 1549"/>
                  <a:gd name="T101" fmla="*/ 171 h 1207"/>
                  <a:gd name="T102" fmla="*/ 219 w 1549"/>
                  <a:gd name="T103" fmla="*/ 129 h 1207"/>
                  <a:gd name="T104" fmla="*/ 271 w 1549"/>
                  <a:gd name="T105" fmla="*/ 91 h 1207"/>
                  <a:gd name="T106" fmla="*/ 327 w 1549"/>
                  <a:gd name="T107" fmla="*/ 60 h 1207"/>
                  <a:gd name="T108" fmla="*/ 386 w 1549"/>
                  <a:gd name="T109" fmla="*/ 34 h 1207"/>
                  <a:gd name="T110" fmla="*/ 450 w 1549"/>
                  <a:gd name="T111" fmla="*/ 16 h 1207"/>
                  <a:gd name="T112" fmla="*/ 514 w 1549"/>
                  <a:gd name="T113" fmla="*/ 4 h 1207"/>
                  <a:gd name="T114" fmla="*/ 582 w 1549"/>
                  <a:gd name="T115" fmla="*/ 0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49" h="1207">
                    <a:moveTo>
                      <a:pt x="582" y="0"/>
                    </a:moveTo>
                    <a:lnTo>
                      <a:pt x="969" y="0"/>
                    </a:lnTo>
                    <a:lnTo>
                      <a:pt x="1036" y="4"/>
                    </a:lnTo>
                    <a:lnTo>
                      <a:pt x="1101" y="16"/>
                    </a:lnTo>
                    <a:lnTo>
                      <a:pt x="1164" y="34"/>
                    </a:lnTo>
                    <a:lnTo>
                      <a:pt x="1223" y="60"/>
                    </a:lnTo>
                    <a:lnTo>
                      <a:pt x="1279" y="91"/>
                    </a:lnTo>
                    <a:lnTo>
                      <a:pt x="1331" y="129"/>
                    </a:lnTo>
                    <a:lnTo>
                      <a:pt x="1379" y="171"/>
                    </a:lnTo>
                    <a:lnTo>
                      <a:pt x="1421" y="220"/>
                    </a:lnTo>
                    <a:lnTo>
                      <a:pt x="1459" y="272"/>
                    </a:lnTo>
                    <a:lnTo>
                      <a:pt x="1490" y="329"/>
                    </a:lnTo>
                    <a:lnTo>
                      <a:pt x="1516" y="388"/>
                    </a:lnTo>
                    <a:lnTo>
                      <a:pt x="1534" y="452"/>
                    </a:lnTo>
                    <a:lnTo>
                      <a:pt x="1545" y="517"/>
                    </a:lnTo>
                    <a:lnTo>
                      <a:pt x="1549" y="586"/>
                    </a:lnTo>
                    <a:lnTo>
                      <a:pt x="1549" y="1061"/>
                    </a:lnTo>
                    <a:lnTo>
                      <a:pt x="1547" y="1061"/>
                    </a:lnTo>
                    <a:lnTo>
                      <a:pt x="1516" y="1076"/>
                    </a:lnTo>
                    <a:lnTo>
                      <a:pt x="1510" y="1079"/>
                    </a:lnTo>
                    <a:lnTo>
                      <a:pt x="1496" y="1086"/>
                    </a:lnTo>
                    <a:lnTo>
                      <a:pt x="1475" y="1095"/>
                    </a:lnTo>
                    <a:lnTo>
                      <a:pt x="1447" y="1106"/>
                    </a:lnTo>
                    <a:lnTo>
                      <a:pt x="1413" y="1117"/>
                    </a:lnTo>
                    <a:lnTo>
                      <a:pt x="1372" y="1131"/>
                    </a:lnTo>
                    <a:lnTo>
                      <a:pt x="1326" y="1144"/>
                    </a:lnTo>
                    <a:lnTo>
                      <a:pt x="1272" y="1158"/>
                    </a:lnTo>
                    <a:lnTo>
                      <a:pt x="1212" y="1171"/>
                    </a:lnTo>
                    <a:lnTo>
                      <a:pt x="1147" y="1182"/>
                    </a:lnTo>
                    <a:lnTo>
                      <a:pt x="1075" y="1192"/>
                    </a:lnTo>
                    <a:lnTo>
                      <a:pt x="998" y="1199"/>
                    </a:lnTo>
                    <a:lnTo>
                      <a:pt x="914" y="1205"/>
                    </a:lnTo>
                    <a:lnTo>
                      <a:pt x="825" y="1207"/>
                    </a:lnTo>
                    <a:lnTo>
                      <a:pt x="741" y="1205"/>
                    </a:lnTo>
                    <a:lnTo>
                      <a:pt x="652" y="1201"/>
                    </a:lnTo>
                    <a:lnTo>
                      <a:pt x="559" y="1191"/>
                    </a:lnTo>
                    <a:lnTo>
                      <a:pt x="462" y="1178"/>
                    </a:lnTo>
                    <a:lnTo>
                      <a:pt x="361" y="1161"/>
                    </a:lnTo>
                    <a:lnTo>
                      <a:pt x="256" y="1139"/>
                    </a:lnTo>
                    <a:lnTo>
                      <a:pt x="147" y="1112"/>
                    </a:lnTo>
                    <a:lnTo>
                      <a:pt x="35" y="1078"/>
                    </a:lnTo>
                    <a:lnTo>
                      <a:pt x="1" y="1068"/>
                    </a:lnTo>
                    <a:lnTo>
                      <a:pt x="0" y="1061"/>
                    </a:lnTo>
                    <a:lnTo>
                      <a:pt x="0" y="586"/>
                    </a:lnTo>
                    <a:lnTo>
                      <a:pt x="4" y="517"/>
                    </a:lnTo>
                    <a:lnTo>
                      <a:pt x="15" y="452"/>
                    </a:lnTo>
                    <a:lnTo>
                      <a:pt x="35" y="388"/>
                    </a:lnTo>
                    <a:lnTo>
                      <a:pt x="60" y="329"/>
                    </a:lnTo>
                    <a:lnTo>
                      <a:pt x="91" y="272"/>
                    </a:lnTo>
                    <a:lnTo>
                      <a:pt x="129" y="220"/>
                    </a:lnTo>
                    <a:lnTo>
                      <a:pt x="171" y="171"/>
                    </a:lnTo>
                    <a:lnTo>
                      <a:pt x="219" y="129"/>
                    </a:lnTo>
                    <a:lnTo>
                      <a:pt x="271" y="91"/>
                    </a:lnTo>
                    <a:lnTo>
                      <a:pt x="327" y="60"/>
                    </a:lnTo>
                    <a:lnTo>
                      <a:pt x="386" y="34"/>
                    </a:lnTo>
                    <a:lnTo>
                      <a:pt x="450" y="16"/>
                    </a:lnTo>
                    <a:lnTo>
                      <a:pt x="514" y="4"/>
                    </a:lnTo>
                    <a:lnTo>
                      <a:pt x="58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92" name="Freeform 16">
                <a:extLst>
                  <a:ext uri="{FF2B5EF4-FFF2-40B4-BE49-F238E27FC236}">
                    <a16:creationId xmlns:a16="http://schemas.microsoft.com/office/drawing/2014/main" id="{73EC41B7-FB0A-482C-A73B-0ABFD52713CD}"/>
                  </a:ext>
                </a:extLst>
              </p:cNvPr>
              <p:cNvSpPr>
                <a:spLocks/>
              </p:cNvSpPr>
              <p:nvPr/>
            </p:nvSpPr>
            <p:spPr bwMode="auto">
              <a:xfrm>
                <a:off x="650" y="2188"/>
                <a:ext cx="303" cy="305"/>
              </a:xfrm>
              <a:custGeom>
                <a:avLst/>
                <a:gdLst>
                  <a:gd name="T0" fmla="*/ 454 w 908"/>
                  <a:gd name="T1" fmla="*/ 0 h 915"/>
                  <a:gd name="T2" fmla="*/ 514 w 908"/>
                  <a:gd name="T3" fmla="*/ 4 h 915"/>
                  <a:gd name="T4" fmla="*/ 573 w 908"/>
                  <a:gd name="T5" fmla="*/ 16 h 915"/>
                  <a:gd name="T6" fmla="*/ 630 w 908"/>
                  <a:gd name="T7" fmla="*/ 36 h 915"/>
                  <a:gd name="T8" fmla="*/ 682 w 908"/>
                  <a:gd name="T9" fmla="*/ 61 h 915"/>
                  <a:gd name="T10" fmla="*/ 730 w 908"/>
                  <a:gd name="T11" fmla="*/ 94 h 915"/>
                  <a:gd name="T12" fmla="*/ 773 w 908"/>
                  <a:gd name="T13" fmla="*/ 132 h 915"/>
                  <a:gd name="T14" fmla="*/ 811 w 908"/>
                  <a:gd name="T15" fmla="*/ 174 h 915"/>
                  <a:gd name="T16" fmla="*/ 843 w 908"/>
                  <a:gd name="T17" fmla="*/ 223 h 915"/>
                  <a:gd name="T18" fmla="*/ 870 w 908"/>
                  <a:gd name="T19" fmla="*/ 275 h 915"/>
                  <a:gd name="T20" fmla="*/ 890 w 908"/>
                  <a:gd name="T21" fmla="*/ 330 h 915"/>
                  <a:gd name="T22" fmla="*/ 903 w 908"/>
                  <a:gd name="T23" fmla="*/ 390 h 915"/>
                  <a:gd name="T24" fmla="*/ 908 w 908"/>
                  <a:gd name="T25" fmla="*/ 451 h 915"/>
                  <a:gd name="T26" fmla="*/ 856 w 908"/>
                  <a:gd name="T27" fmla="*/ 487 h 915"/>
                  <a:gd name="T28" fmla="*/ 810 w 908"/>
                  <a:gd name="T29" fmla="*/ 530 h 915"/>
                  <a:gd name="T30" fmla="*/ 768 w 908"/>
                  <a:gd name="T31" fmla="*/ 577 h 915"/>
                  <a:gd name="T32" fmla="*/ 730 w 908"/>
                  <a:gd name="T33" fmla="*/ 629 h 915"/>
                  <a:gd name="T34" fmla="*/ 699 w 908"/>
                  <a:gd name="T35" fmla="*/ 684 h 915"/>
                  <a:gd name="T36" fmla="*/ 675 w 908"/>
                  <a:gd name="T37" fmla="*/ 744 h 915"/>
                  <a:gd name="T38" fmla="*/ 656 w 908"/>
                  <a:gd name="T39" fmla="*/ 806 h 915"/>
                  <a:gd name="T40" fmla="*/ 645 w 908"/>
                  <a:gd name="T41" fmla="*/ 872 h 915"/>
                  <a:gd name="T42" fmla="*/ 602 w 908"/>
                  <a:gd name="T43" fmla="*/ 891 h 915"/>
                  <a:gd name="T44" fmla="*/ 554 w 908"/>
                  <a:gd name="T45" fmla="*/ 904 h 915"/>
                  <a:gd name="T46" fmla="*/ 505 w 908"/>
                  <a:gd name="T47" fmla="*/ 912 h 915"/>
                  <a:gd name="T48" fmla="*/ 454 w 908"/>
                  <a:gd name="T49" fmla="*/ 915 h 915"/>
                  <a:gd name="T50" fmla="*/ 392 w 908"/>
                  <a:gd name="T51" fmla="*/ 911 h 915"/>
                  <a:gd name="T52" fmla="*/ 333 w 908"/>
                  <a:gd name="T53" fmla="*/ 899 h 915"/>
                  <a:gd name="T54" fmla="*/ 277 w 908"/>
                  <a:gd name="T55" fmla="*/ 880 h 915"/>
                  <a:gd name="T56" fmla="*/ 225 w 908"/>
                  <a:gd name="T57" fmla="*/ 853 h 915"/>
                  <a:gd name="T58" fmla="*/ 175 w 908"/>
                  <a:gd name="T59" fmla="*/ 820 h 915"/>
                  <a:gd name="T60" fmla="*/ 132 w 908"/>
                  <a:gd name="T61" fmla="*/ 782 h 915"/>
                  <a:gd name="T62" fmla="*/ 94 w 908"/>
                  <a:gd name="T63" fmla="*/ 738 h 915"/>
                  <a:gd name="T64" fmla="*/ 62 w 908"/>
                  <a:gd name="T65" fmla="*/ 688 h 915"/>
                  <a:gd name="T66" fmla="*/ 35 w 908"/>
                  <a:gd name="T67" fmla="*/ 636 h 915"/>
                  <a:gd name="T68" fmla="*/ 15 w 908"/>
                  <a:gd name="T69" fmla="*/ 579 h 915"/>
                  <a:gd name="T70" fmla="*/ 4 w 908"/>
                  <a:gd name="T71" fmla="*/ 520 h 915"/>
                  <a:gd name="T72" fmla="*/ 0 w 908"/>
                  <a:gd name="T73" fmla="*/ 458 h 915"/>
                  <a:gd name="T74" fmla="*/ 4 w 908"/>
                  <a:gd name="T75" fmla="*/ 395 h 915"/>
                  <a:gd name="T76" fmla="*/ 15 w 908"/>
                  <a:gd name="T77" fmla="*/ 336 h 915"/>
                  <a:gd name="T78" fmla="*/ 35 w 908"/>
                  <a:gd name="T79" fmla="*/ 279 h 915"/>
                  <a:gd name="T80" fmla="*/ 62 w 908"/>
                  <a:gd name="T81" fmla="*/ 227 h 915"/>
                  <a:gd name="T82" fmla="*/ 94 w 908"/>
                  <a:gd name="T83" fmla="*/ 179 h 915"/>
                  <a:gd name="T84" fmla="*/ 132 w 908"/>
                  <a:gd name="T85" fmla="*/ 135 h 915"/>
                  <a:gd name="T86" fmla="*/ 175 w 908"/>
                  <a:gd name="T87" fmla="*/ 95 h 915"/>
                  <a:gd name="T88" fmla="*/ 225 w 908"/>
                  <a:gd name="T89" fmla="*/ 63 h 915"/>
                  <a:gd name="T90" fmla="*/ 277 w 908"/>
                  <a:gd name="T91" fmla="*/ 36 h 915"/>
                  <a:gd name="T92" fmla="*/ 333 w 908"/>
                  <a:gd name="T93" fmla="*/ 16 h 915"/>
                  <a:gd name="T94" fmla="*/ 392 w 908"/>
                  <a:gd name="T95" fmla="*/ 4 h 915"/>
                  <a:gd name="T96" fmla="*/ 454 w 908"/>
                  <a:gd name="T97" fmla="*/ 0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08" h="915">
                    <a:moveTo>
                      <a:pt x="454" y="0"/>
                    </a:moveTo>
                    <a:lnTo>
                      <a:pt x="514" y="4"/>
                    </a:lnTo>
                    <a:lnTo>
                      <a:pt x="573" y="16"/>
                    </a:lnTo>
                    <a:lnTo>
                      <a:pt x="630" y="36"/>
                    </a:lnTo>
                    <a:lnTo>
                      <a:pt x="682" y="61"/>
                    </a:lnTo>
                    <a:lnTo>
                      <a:pt x="730" y="94"/>
                    </a:lnTo>
                    <a:lnTo>
                      <a:pt x="773" y="132"/>
                    </a:lnTo>
                    <a:lnTo>
                      <a:pt x="811" y="174"/>
                    </a:lnTo>
                    <a:lnTo>
                      <a:pt x="843" y="223"/>
                    </a:lnTo>
                    <a:lnTo>
                      <a:pt x="870" y="275"/>
                    </a:lnTo>
                    <a:lnTo>
                      <a:pt x="890" y="330"/>
                    </a:lnTo>
                    <a:lnTo>
                      <a:pt x="903" y="390"/>
                    </a:lnTo>
                    <a:lnTo>
                      <a:pt x="908" y="451"/>
                    </a:lnTo>
                    <a:lnTo>
                      <a:pt x="856" y="487"/>
                    </a:lnTo>
                    <a:lnTo>
                      <a:pt x="810" y="530"/>
                    </a:lnTo>
                    <a:lnTo>
                      <a:pt x="768" y="577"/>
                    </a:lnTo>
                    <a:lnTo>
                      <a:pt x="730" y="629"/>
                    </a:lnTo>
                    <a:lnTo>
                      <a:pt x="699" y="684"/>
                    </a:lnTo>
                    <a:lnTo>
                      <a:pt x="675" y="744"/>
                    </a:lnTo>
                    <a:lnTo>
                      <a:pt x="656" y="806"/>
                    </a:lnTo>
                    <a:lnTo>
                      <a:pt x="645" y="872"/>
                    </a:lnTo>
                    <a:lnTo>
                      <a:pt x="602" y="891"/>
                    </a:lnTo>
                    <a:lnTo>
                      <a:pt x="554" y="904"/>
                    </a:lnTo>
                    <a:lnTo>
                      <a:pt x="505" y="912"/>
                    </a:lnTo>
                    <a:lnTo>
                      <a:pt x="454" y="915"/>
                    </a:lnTo>
                    <a:lnTo>
                      <a:pt x="392" y="911"/>
                    </a:lnTo>
                    <a:lnTo>
                      <a:pt x="333" y="899"/>
                    </a:lnTo>
                    <a:lnTo>
                      <a:pt x="277" y="880"/>
                    </a:lnTo>
                    <a:lnTo>
                      <a:pt x="225" y="853"/>
                    </a:lnTo>
                    <a:lnTo>
                      <a:pt x="175" y="820"/>
                    </a:lnTo>
                    <a:lnTo>
                      <a:pt x="132" y="782"/>
                    </a:lnTo>
                    <a:lnTo>
                      <a:pt x="94" y="738"/>
                    </a:lnTo>
                    <a:lnTo>
                      <a:pt x="62" y="688"/>
                    </a:lnTo>
                    <a:lnTo>
                      <a:pt x="35" y="636"/>
                    </a:lnTo>
                    <a:lnTo>
                      <a:pt x="15" y="579"/>
                    </a:lnTo>
                    <a:lnTo>
                      <a:pt x="4" y="520"/>
                    </a:lnTo>
                    <a:lnTo>
                      <a:pt x="0" y="458"/>
                    </a:lnTo>
                    <a:lnTo>
                      <a:pt x="4" y="395"/>
                    </a:lnTo>
                    <a:lnTo>
                      <a:pt x="15" y="336"/>
                    </a:lnTo>
                    <a:lnTo>
                      <a:pt x="35" y="279"/>
                    </a:lnTo>
                    <a:lnTo>
                      <a:pt x="62" y="227"/>
                    </a:lnTo>
                    <a:lnTo>
                      <a:pt x="94" y="179"/>
                    </a:lnTo>
                    <a:lnTo>
                      <a:pt x="132" y="135"/>
                    </a:lnTo>
                    <a:lnTo>
                      <a:pt x="175" y="95"/>
                    </a:lnTo>
                    <a:lnTo>
                      <a:pt x="225" y="63"/>
                    </a:lnTo>
                    <a:lnTo>
                      <a:pt x="277" y="36"/>
                    </a:lnTo>
                    <a:lnTo>
                      <a:pt x="333" y="16"/>
                    </a:lnTo>
                    <a:lnTo>
                      <a:pt x="392" y="4"/>
                    </a:lnTo>
                    <a:lnTo>
                      <a:pt x="4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93" name="Freeform 17">
                <a:extLst>
                  <a:ext uri="{FF2B5EF4-FFF2-40B4-BE49-F238E27FC236}">
                    <a16:creationId xmlns:a16="http://schemas.microsoft.com/office/drawing/2014/main" id="{4592DE6D-1895-4553-B78F-D0B64617B402}"/>
                  </a:ext>
                </a:extLst>
              </p:cNvPr>
              <p:cNvSpPr>
                <a:spLocks/>
              </p:cNvSpPr>
              <p:nvPr/>
            </p:nvSpPr>
            <p:spPr bwMode="auto">
              <a:xfrm>
                <a:off x="543" y="2504"/>
                <a:ext cx="379" cy="402"/>
              </a:xfrm>
              <a:custGeom>
                <a:avLst/>
                <a:gdLst>
                  <a:gd name="T0" fmla="*/ 582 w 1138"/>
                  <a:gd name="T1" fmla="*/ 0 h 1207"/>
                  <a:gd name="T2" fmla="*/ 965 w 1138"/>
                  <a:gd name="T3" fmla="*/ 0 h 1207"/>
                  <a:gd name="T4" fmla="*/ 970 w 1138"/>
                  <a:gd name="T5" fmla="*/ 65 h 1207"/>
                  <a:gd name="T6" fmla="*/ 983 w 1138"/>
                  <a:gd name="T7" fmla="*/ 129 h 1207"/>
                  <a:gd name="T8" fmla="*/ 1001 w 1138"/>
                  <a:gd name="T9" fmla="*/ 188 h 1207"/>
                  <a:gd name="T10" fmla="*/ 1028 w 1138"/>
                  <a:gd name="T11" fmla="*/ 245 h 1207"/>
                  <a:gd name="T12" fmla="*/ 1059 w 1138"/>
                  <a:gd name="T13" fmla="*/ 299 h 1207"/>
                  <a:gd name="T14" fmla="*/ 1096 w 1138"/>
                  <a:gd name="T15" fmla="*/ 348 h 1207"/>
                  <a:gd name="T16" fmla="*/ 1138 w 1138"/>
                  <a:gd name="T17" fmla="*/ 394 h 1207"/>
                  <a:gd name="T18" fmla="*/ 1067 w 1138"/>
                  <a:gd name="T19" fmla="*/ 418 h 1207"/>
                  <a:gd name="T20" fmla="*/ 1001 w 1138"/>
                  <a:gd name="T21" fmla="*/ 450 h 1207"/>
                  <a:gd name="T22" fmla="*/ 939 w 1138"/>
                  <a:gd name="T23" fmla="*/ 489 h 1207"/>
                  <a:gd name="T24" fmla="*/ 883 w 1138"/>
                  <a:gd name="T25" fmla="*/ 534 h 1207"/>
                  <a:gd name="T26" fmla="*/ 830 w 1138"/>
                  <a:gd name="T27" fmla="*/ 585 h 1207"/>
                  <a:gd name="T28" fmla="*/ 783 w 1138"/>
                  <a:gd name="T29" fmla="*/ 640 h 1207"/>
                  <a:gd name="T30" fmla="*/ 743 w 1138"/>
                  <a:gd name="T31" fmla="*/ 701 h 1207"/>
                  <a:gd name="T32" fmla="*/ 709 w 1138"/>
                  <a:gd name="T33" fmla="*/ 766 h 1207"/>
                  <a:gd name="T34" fmla="*/ 681 w 1138"/>
                  <a:gd name="T35" fmla="*/ 836 h 1207"/>
                  <a:gd name="T36" fmla="*/ 661 w 1138"/>
                  <a:gd name="T37" fmla="*/ 908 h 1207"/>
                  <a:gd name="T38" fmla="*/ 648 w 1138"/>
                  <a:gd name="T39" fmla="*/ 983 h 1207"/>
                  <a:gd name="T40" fmla="*/ 644 w 1138"/>
                  <a:gd name="T41" fmla="*/ 1059 h 1207"/>
                  <a:gd name="T42" fmla="*/ 644 w 1138"/>
                  <a:gd name="T43" fmla="*/ 1207 h 1207"/>
                  <a:gd name="T44" fmla="*/ 560 w 1138"/>
                  <a:gd name="T45" fmla="*/ 1201 h 1207"/>
                  <a:gd name="T46" fmla="*/ 481 w 1138"/>
                  <a:gd name="T47" fmla="*/ 1194 h 1207"/>
                  <a:gd name="T48" fmla="*/ 408 w 1138"/>
                  <a:gd name="T49" fmla="*/ 1184 h 1207"/>
                  <a:gd name="T50" fmla="*/ 342 w 1138"/>
                  <a:gd name="T51" fmla="*/ 1173 h 1207"/>
                  <a:gd name="T52" fmla="*/ 281 w 1138"/>
                  <a:gd name="T53" fmla="*/ 1160 h 1207"/>
                  <a:gd name="T54" fmla="*/ 226 w 1138"/>
                  <a:gd name="T55" fmla="*/ 1146 h 1207"/>
                  <a:gd name="T56" fmla="*/ 179 w 1138"/>
                  <a:gd name="T57" fmla="*/ 1132 h 1207"/>
                  <a:gd name="T58" fmla="*/ 138 w 1138"/>
                  <a:gd name="T59" fmla="*/ 1119 h 1207"/>
                  <a:gd name="T60" fmla="*/ 103 w 1138"/>
                  <a:gd name="T61" fmla="*/ 1106 h 1207"/>
                  <a:gd name="T62" fmla="*/ 76 w 1138"/>
                  <a:gd name="T63" fmla="*/ 1096 h 1207"/>
                  <a:gd name="T64" fmla="*/ 55 w 1138"/>
                  <a:gd name="T65" fmla="*/ 1086 h 1207"/>
                  <a:gd name="T66" fmla="*/ 41 w 1138"/>
                  <a:gd name="T67" fmla="*/ 1081 h 1207"/>
                  <a:gd name="T68" fmla="*/ 34 w 1138"/>
                  <a:gd name="T69" fmla="*/ 1076 h 1207"/>
                  <a:gd name="T70" fmla="*/ 3 w 1138"/>
                  <a:gd name="T71" fmla="*/ 1061 h 1207"/>
                  <a:gd name="T72" fmla="*/ 0 w 1138"/>
                  <a:gd name="T73" fmla="*/ 1061 h 1207"/>
                  <a:gd name="T74" fmla="*/ 0 w 1138"/>
                  <a:gd name="T75" fmla="*/ 586 h 1207"/>
                  <a:gd name="T76" fmla="*/ 4 w 1138"/>
                  <a:gd name="T77" fmla="*/ 518 h 1207"/>
                  <a:gd name="T78" fmla="*/ 15 w 1138"/>
                  <a:gd name="T79" fmla="*/ 452 h 1207"/>
                  <a:gd name="T80" fmla="*/ 34 w 1138"/>
                  <a:gd name="T81" fmla="*/ 390 h 1207"/>
                  <a:gd name="T82" fmla="*/ 59 w 1138"/>
                  <a:gd name="T83" fmla="*/ 329 h 1207"/>
                  <a:gd name="T84" fmla="*/ 90 w 1138"/>
                  <a:gd name="T85" fmla="*/ 272 h 1207"/>
                  <a:gd name="T86" fmla="*/ 128 w 1138"/>
                  <a:gd name="T87" fmla="*/ 220 h 1207"/>
                  <a:gd name="T88" fmla="*/ 170 w 1138"/>
                  <a:gd name="T89" fmla="*/ 173 h 1207"/>
                  <a:gd name="T90" fmla="*/ 218 w 1138"/>
                  <a:gd name="T91" fmla="*/ 129 h 1207"/>
                  <a:gd name="T92" fmla="*/ 270 w 1138"/>
                  <a:gd name="T93" fmla="*/ 92 h 1207"/>
                  <a:gd name="T94" fmla="*/ 326 w 1138"/>
                  <a:gd name="T95" fmla="*/ 60 h 1207"/>
                  <a:gd name="T96" fmla="*/ 385 w 1138"/>
                  <a:gd name="T97" fmla="*/ 34 h 1207"/>
                  <a:gd name="T98" fmla="*/ 449 w 1138"/>
                  <a:gd name="T99" fmla="*/ 16 h 1207"/>
                  <a:gd name="T100" fmla="*/ 515 w 1138"/>
                  <a:gd name="T101" fmla="*/ 4 h 1207"/>
                  <a:gd name="T102" fmla="*/ 582 w 1138"/>
                  <a:gd name="T103" fmla="*/ 0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38" h="1207">
                    <a:moveTo>
                      <a:pt x="582" y="0"/>
                    </a:moveTo>
                    <a:lnTo>
                      <a:pt x="965" y="0"/>
                    </a:lnTo>
                    <a:lnTo>
                      <a:pt x="970" y="65"/>
                    </a:lnTo>
                    <a:lnTo>
                      <a:pt x="983" y="129"/>
                    </a:lnTo>
                    <a:lnTo>
                      <a:pt x="1001" y="188"/>
                    </a:lnTo>
                    <a:lnTo>
                      <a:pt x="1028" y="245"/>
                    </a:lnTo>
                    <a:lnTo>
                      <a:pt x="1059" y="299"/>
                    </a:lnTo>
                    <a:lnTo>
                      <a:pt x="1096" y="348"/>
                    </a:lnTo>
                    <a:lnTo>
                      <a:pt x="1138" y="394"/>
                    </a:lnTo>
                    <a:lnTo>
                      <a:pt x="1067" y="418"/>
                    </a:lnTo>
                    <a:lnTo>
                      <a:pt x="1001" y="450"/>
                    </a:lnTo>
                    <a:lnTo>
                      <a:pt x="939" y="489"/>
                    </a:lnTo>
                    <a:lnTo>
                      <a:pt x="883" y="534"/>
                    </a:lnTo>
                    <a:lnTo>
                      <a:pt x="830" y="585"/>
                    </a:lnTo>
                    <a:lnTo>
                      <a:pt x="783" y="640"/>
                    </a:lnTo>
                    <a:lnTo>
                      <a:pt x="743" y="701"/>
                    </a:lnTo>
                    <a:lnTo>
                      <a:pt x="709" y="766"/>
                    </a:lnTo>
                    <a:lnTo>
                      <a:pt x="681" y="836"/>
                    </a:lnTo>
                    <a:lnTo>
                      <a:pt x="661" y="908"/>
                    </a:lnTo>
                    <a:lnTo>
                      <a:pt x="648" y="983"/>
                    </a:lnTo>
                    <a:lnTo>
                      <a:pt x="644" y="1059"/>
                    </a:lnTo>
                    <a:lnTo>
                      <a:pt x="644" y="1207"/>
                    </a:lnTo>
                    <a:lnTo>
                      <a:pt x="560" y="1201"/>
                    </a:lnTo>
                    <a:lnTo>
                      <a:pt x="481" y="1194"/>
                    </a:lnTo>
                    <a:lnTo>
                      <a:pt x="408" y="1184"/>
                    </a:lnTo>
                    <a:lnTo>
                      <a:pt x="342" y="1173"/>
                    </a:lnTo>
                    <a:lnTo>
                      <a:pt x="281" y="1160"/>
                    </a:lnTo>
                    <a:lnTo>
                      <a:pt x="226" y="1146"/>
                    </a:lnTo>
                    <a:lnTo>
                      <a:pt x="179" y="1132"/>
                    </a:lnTo>
                    <a:lnTo>
                      <a:pt x="138" y="1119"/>
                    </a:lnTo>
                    <a:lnTo>
                      <a:pt x="103" y="1106"/>
                    </a:lnTo>
                    <a:lnTo>
                      <a:pt x="76" y="1096"/>
                    </a:lnTo>
                    <a:lnTo>
                      <a:pt x="55" y="1086"/>
                    </a:lnTo>
                    <a:lnTo>
                      <a:pt x="41" y="1081"/>
                    </a:lnTo>
                    <a:lnTo>
                      <a:pt x="34" y="1076"/>
                    </a:lnTo>
                    <a:lnTo>
                      <a:pt x="3" y="1061"/>
                    </a:lnTo>
                    <a:lnTo>
                      <a:pt x="0" y="1061"/>
                    </a:lnTo>
                    <a:lnTo>
                      <a:pt x="0" y="586"/>
                    </a:lnTo>
                    <a:lnTo>
                      <a:pt x="4" y="518"/>
                    </a:lnTo>
                    <a:lnTo>
                      <a:pt x="15" y="452"/>
                    </a:lnTo>
                    <a:lnTo>
                      <a:pt x="34" y="390"/>
                    </a:lnTo>
                    <a:lnTo>
                      <a:pt x="59" y="329"/>
                    </a:lnTo>
                    <a:lnTo>
                      <a:pt x="90" y="272"/>
                    </a:lnTo>
                    <a:lnTo>
                      <a:pt x="128" y="220"/>
                    </a:lnTo>
                    <a:lnTo>
                      <a:pt x="170" y="173"/>
                    </a:lnTo>
                    <a:lnTo>
                      <a:pt x="218" y="129"/>
                    </a:lnTo>
                    <a:lnTo>
                      <a:pt x="270" y="92"/>
                    </a:lnTo>
                    <a:lnTo>
                      <a:pt x="326" y="60"/>
                    </a:lnTo>
                    <a:lnTo>
                      <a:pt x="385" y="34"/>
                    </a:lnTo>
                    <a:lnTo>
                      <a:pt x="449" y="16"/>
                    </a:lnTo>
                    <a:lnTo>
                      <a:pt x="515" y="4"/>
                    </a:lnTo>
                    <a:lnTo>
                      <a:pt x="58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94" name="Freeform 18">
                <a:extLst>
                  <a:ext uri="{FF2B5EF4-FFF2-40B4-BE49-F238E27FC236}">
                    <a16:creationId xmlns:a16="http://schemas.microsoft.com/office/drawing/2014/main" id="{2E91C60A-A120-4458-A28B-A0A8DDF5F99F}"/>
                  </a:ext>
                </a:extLst>
              </p:cNvPr>
              <p:cNvSpPr>
                <a:spLocks/>
              </p:cNvSpPr>
              <p:nvPr/>
            </p:nvSpPr>
            <p:spPr bwMode="auto">
              <a:xfrm>
                <a:off x="889" y="2070"/>
                <a:ext cx="266" cy="259"/>
              </a:xfrm>
              <a:custGeom>
                <a:avLst/>
                <a:gdLst>
                  <a:gd name="T0" fmla="*/ 434 w 799"/>
                  <a:gd name="T1" fmla="*/ 0 h 776"/>
                  <a:gd name="T2" fmla="*/ 491 w 799"/>
                  <a:gd name="T3" fmla="*/ 3 h 776"/>
                  <a:gd name="T4" fmla="*/ 544 w 799"/>
                  <a:gd name="T5" fmla="*/ 13 h 776"/>
                  <a:gd name="T6" fmla="*/ 596 w 799"/>
                  <a:gd name="T7" fmla="*/ 30 h 776"/>
                  <a:gd name="T8" fmla="*/ 645 w 799"/>
                  <a:gd name="T9" fmla="*/ 52 h 776"/>
                  <a:gd name="T10" fmla="*/ 692 w 799"/>
                  <a:gd name="T11" fmla="*/ 81 h 776"/>
                  <a:gd name="T12" fmla="*/ 735 w 799"/>
                  <a:gd name="T13" fmla="*/ 116 h 776"/>
                  <a:gd name="T14" fmla="*/ 712 w 799"/>
                  <a:gd name="T15" fmla="*/ 175 h 776"/>
                  <a:gd name="T16" fmla="*/ 695 w 799"/>
                  <a:gd name="T17" fmla="*/ 238 h 776"/>
                  <a:gd name="T18" fmla="*/ 683 w 799"/>
                  <a:gd name="T19" fmla="*/ 300 h 776"/>
                  <a:gd name="T20" fmla="*/ 681 w 799"/>
                  <a:gd name="T21" fmla="*/ 365 h 776"/>
                  <a:gd name="T22" fmla="*/ 683 w 799"/>
                  <a:gd name="T23" fmla="*/ 429 h 776"/>
                  <a:gd name="T24" fmla="*/ 693 w 799"/>
                  <a:gd name="T25" fmla="*/ 491 h 776"/>
                  <a:gd name="T26" fmla="*/ 710 w 799"/>
                  <a:gd name="T27" fmla="*/ 551 h 776"/>
                  <a:gd name="T28" fmla="*/ 734 w 799"/>
                  <a:gd name="T29" fmla="*/ 610 h 776"/>
                  <a:gd name="T30" fmla="*/ 764 w 799"/>
                  <a:gd name="T31" fmla="*/ 665 h 776"/>
                  <a:gd name="T32" fmla="*/ 799 w 799"/>
                  <a:gd name="T33" fmla="*/ 718 h 776"/>
                  <a:gd name="T34" fmla="*/ 775 w 799"/>
                  <a:gd name="T35" fmla="*/ 747 h 776"/>
                  <a:gd name="T36" fmla="*/ 749 w 799"/>
                  <a:gd name="T37" fmla="*/ 776 h 776"/>
                  <a:gd name="T38" fmla="*/ 699 w 799"/>
                  <a:gd name="T39" fmla="*/ 752 h 776"/>
                  <a:gd name="T40" fmla="*/ 648 w 799"/>
                  <a:gd name="T41" fmla="*/ 732 h 776"/>
                  <a:gd name="T42" fmla="*/ 595 w 799"/>
                  <a:gd name="T43" fmla="*/ 718 h 776"/>
                  <a:gd name="T44" fmla="*/ 541 w 799"/>
                  <a:gd name="T45" fmla="*/ 709 h 776"/>
                  <a:gd name="T46" fmla="*/ 485 w 799"/>
                  <a:gd name="T47" fmla="*/ 706 h 776"/>
                  <a:gd name="T48" fmla="*/ 437 w 799"/>
                  <a:gd name="T49" fmla="*/ 709 h 776"/>
                  <a:gd name="T50" fmla="*/ 391 w 799"/>
                  <a:gd name="T51" fmla="*/ 718 h 776"/>
                  <a:gd name="T52" fmla="*/ 346 w 799"/>
                  <a:gd name="T53" fmla="*/ 729 h 776"/>
                  <a:gd name="T54" fmla="*/ 304 w 799"/>
                  <a:gd name="T55" fmla="*/ 742 h 776"/>
                  <a:gd name="T56" fmla="*/ 269 w 799"/>
                  <a:gd name="T57" fmla="*/ 756 h 776"/>
                  <a:gd name="T58" fmla="*/ 259 w 799"/>
                  <a:gd name="T59" fmla="*/ 691 h 776"/>
                  <a:gd name="T60" fmla="*/ 242 w 799"/>
                  <a:gd name="T61" fmla="*/ 629 h 776"/>
                  <a:gd name="T62" fmla="*/ 216 w 799"/>
                  <a:gd name="T63" fmla="*/ 569 h 776"/>
                  <a:gd name="T64" fmla="*/ 186 w 799"/>
                  <a:gd name="T65" fmla="*/ 512 h 776"/>
                  <a:gd name="T66" fmla="*/ 148 w 799"/>
                  <a:gd name="T67" fmla="*/ 461 h 776"/>
                  <a:gd name="T68" fmla="*/ 104 w 799"/>
                  <a:gd name="T69" fmla="*/ 413 h 776"/>
                  <a:gd name="T70" fmla="*/ 55 w 799"/>
                  <a:gd name="T71" fmla="*/ 371 h 776"/>
                  <a:gd name="T72" fmla="*/ 0 w 799"/>
                  <a:gd name="T73" fmla="*/ 334 h 776"/>
                  <a:gd name="T74" fmla="*/ 20 w 799"/>
                  <a:gd name="T75" fmla="*/ 277 h 776"/>
                  <a:gd name="T76" fmla="*/ 46 w 799"/>
                  <a:gd name="T77" fmla="*/ 225 h 776"/>
                  <a:gd name="T78" fmla="*/ 79 w 799"/>
                  <a:gd name="T79" fmla="*/ 175 h 776"/>
                  <a:gd name="T80" fmla="*/ 117 w 799"/>
                  <a:gd name="T81" fmla="*/ 132 h 776"/>
                  <a:gd name="T82" fmla="*/ 160 w 799"/>
                  <a:gd name="T83" fmla="*/ 93 h 776"/>
                  <a:gd name="T84" fmla="*/ 208 w 799"/>
                  <a:gd name="T85" fmla="*/ 61 h 776"/>
                  <a:gd name="T86" fmla="*/ 260 w 799"/>
                  <a:gd name="T87" fmla="*/ 35 h 776"/>
                  <a:gd name="T88" fmla="*/ 316 w 799"/>
                  <a:gd name="T89" fmla="*/ 15 h 776"/>
                  <a:gd name="T90" fmla="*/ 374 w 799"/>
                  <a:gd name="T91" fmla="*/ 4 h 776"/>
                  <a:gd name="T92" fmla="*/ 434 w 799"/>
                  <a:gd name="T93" fmla="*/ 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99" h="776">
                    <a:moveTo>
                      <a:pt x="434" y="0"/>
                    </a:moveTo>
                    <a:lnTo>
                      <a:pt x="491" y="3"/>
                    </a:lnTo>
                    <a:lnTo>
                      <a:pt x="544" y="13"/>
                    </a:lnTo>
                    <a:lnTo>
                      <a:pt x="596" y="30"/>
                    </a:lnTo>
                    <a:lnTo>
                      <a:pt x="645" y="52"/>
                    </a:lnTo>
                    <a:lnTo>
                      <a:pt x="692" y="81"/>
                    </a:lnTo>
                    <a:lnTo>
                      <a:pt x="735" y="116"/>
                    </a:lnTo>
                    <a:lnTo>
                      <a:pt x="712" y="175"/>
                    </a:lnTo>
                    <a:lnTo>
                      <a:pt x="695" y="238"/>
                    </a:lnTo>
                    <a:lnTo>
                      <a:pt x="683" y="300"/>
                    </a:lnTo>
                    <a:lnTo>
                      <a:pt x="681" y="365"/>
                    </a:lnTo>
                    <a:lnTo>
                      <a:pt x="683" y="429"/>
                    </a:lnTo>
                    <a:lnTo>
                      <a:pt x="693" y="491"/>
                    </a:lnTo>
                    <a:lnTo>
                      <a:pt x="710" y="551"/>
                    </a:lnTo>
                    <a:lnTo>
                      <a:pt x="734" y="610"/>
                    </a:lnTo>
                    <a:lnTo>
                      <a:pt x="764" y="665"/>
                    </a:lnTo>
                    <a:lnTo>
                      <a:pt x="799" y="718"/>
                    </a:lnTo>
                    <a:lnTo>
                      <a:pt x="775" y="747"/>
                    </a:lnTo>
                    <a:lnTo>
                      <a:pt x="749" y="776"/>
                    </a:lnTo>
                    <a:lnTo>
                      <a:pt x="699" y="752"/>
                    </a:lnTo>
                    <a:lnTo>
                      <a:pt x="648" y="732"/>
                    </a:lnTo>
                    <a:lnTo>
                      <a:pt x="595" y="718"/>
                    </a:lnTo>
                    <a:lnTo>
                      <a:pt x="541" y="709"/>
                    </a:lnTo>
                    <a:lnTo>
                      <a:pt x="485" y="706"/>
                    </a:lnTo>
                    <a:lnTo>
                      <a:pt x="437" y="709"/>
                    </a:lnTo>
                    <a:lnTo>
                      <a:pt x="391" y="718"/>
                    </a:lnTo>
                    <a:lnTo>
                      <a:pt x="346" y="729"/>
                    </a:lnTo>
                    <a:lnTo>
                      <a:pt x="304" y="742"/>
                    </a:lnTo>
                    <a:lnTo>
                      <a:pt x="269" y="756"/>
                    </a:lnTo>
                    <a:lnTo>
                      <a:pt x="259" y="691"/>
                    </a:lnTo>
                    <a:lnTo>
                      <a:pt x="242" y="629"/>
                    </a:lnTo>
                    <a:lnTo>
                      <a:pt x="216" y="569"/>
                    </a:lnTo>
                    <a:lnTo>
                      <a:pt x="186" y="512"/>
                    </a:lnTo>
                    <a:lnTo>
                      <a:pt x="148" y="461"/>
                    </a:lnTo>
                    <a:lnTo>
                      <a:pt x="104" y="413"/>
                    </a:lnTo>
                    <a:lnTo>
                      <a:pt x="55" y="371"/>
                    </a:lnTo>
                    <a:lnTo>
                      <a:pt x="0" y="334"/>
                    </a:lnTo>
                    <a:lnTo>
                      <a:pt x="20" y="277"/>
                    </a:lnTo>
                    <a:lnTo>
                      <a:pt x="46" y="225"/>
                    </a:lnTo>
                    <a:lnTo>
                      <a:pt x="79" y="175"/>
                    </a:lnTo>
                    <a:lnTo>
                      <a:pt x="117" y="132"/>
                    </a:lnTo>
                    <a:lnTo>
                      <a:pt x="160" y="93"/>
                    </a:lnTo>
                    <a:lnTo>
                      <a:pt x="208" y="61"/>
                    </a:lnTo>
                    <a:lnTo>
                      <a:pt x="260" y="35"/>
                    </a:lnTo>
                    <a:lnTo>
                      <a:pt x="316" y="15"/>
                    </a:lnTo>
                    <a:lnTo>
                      <a:pt x="374" y="4"/>
                    </a:lnTo>
                    <a:lnTo>
                      <a:pt x="4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95" name="Freeform 19">
                <a:extLst>
                  <a:ext uri="{FF2B5EF4-FFF2-40B4-BE49-F238E27FC236}">
                    <a16:creationId xmlns:a16="http://schemas.microsoft.com/office/drawing/2014/main" id="{CF134E5D-99A8-4869-9479-D64EE4EB6AD9}"/>
                  </a:ext>
                </a:extLst>
              </p:cNvPr>
              <p:cNvSpPr>
                <a:spLocks/>
              </p:cNvSpPr>
              <p:nvPr/>
            </p:nvSpPr>
            <p:spPr bwMode="auto">
              <a:xfrm>
                <a:off x="1469" y="2070"/>
                <a:ext cx="268" cy="254"/>
              </a:xfrm>
              <a:custGeom>
                <a:avLst/>
                <a:gdLst>
                  <a:gd name="T0" fmla="*/ 381 w 804"/>
                  <a:gd name="T1" fmla="*/ 0 h 763"/>
                  <a:gd name="T2" fmla="*/ 437 w 804"/>
                  <a:gd name="T3" fmla="*/ 3 h 763"/>
                  <a:gd name="T4" fmla="*/ 492 w 804"/>
                  <a:gd name="T5" fmla="*/ 14 h 763"/>
                  <a:gd name="T6" fmla="*/ 546 w 804"/>
                  <a:gd name="T7" fmla="*/ 31 h 763"/>
                  <a:gd name="T8" fmla="*/ 595 w 804"/>
                  <a:gd name="T9" fmla="*/ 54 h 763"/>
                  <a:gd name="T10" fmla="*/ 641 w 804"/>
                  <a:gd name="T11" fmla="*/ 83 h 763"/>
                  <a:gd name="T12" fmla="*/ 683 w 804"/>
                  <a:gd name="T13" fmla="*/ 117 h 763"/>
                  <a:gd name="T14" fmla="*/ 721 w 804"/>
                  <a:gd name="T15" fmla="*/ 157 h 763"/>
                  <a:gd name="T16" fmla="*/ 755 w 804"/>
                  <a:gd name="T17" fmla="*/ 201 h 763"/>
                  <a:gd name="T18" fmla="*/ 783 w 804"/>
                  <a:gd name="T19" fmla="*/ 250 h 763"/>
                  <a:gd name="T20" fmla="*/ 804 w 804"/>
                  <a:gd name="T21" fmla="*/ 301 h 763"/>
                  <a:gd name="T22" fmla="*/ 750 w 804"/>
                  <a:gd name="T23" fmla="*/ 334 h 763"/>
                  <a:gd name="T24" fmla="*/ 700 w 804"/>
                  <a:gd name="T25" fmla="*/ 371 h 763"/>
                  <a:gd name="T26" fmla="*/ 654 w 804"/>
                  <a:gd name="T27" fmla="*/ 412 h 763"/>
                  <a:gd name="T28" fmla="*/ 615 w 804"/>
                  <a:gd name="T29" fmla="*/ 459 h 763"/>
                  <a:gd name="T30" fmla="*/ 579 w 804"/>
                  <a:gd name="T31" fmla="*/ 510 h 763"/>
                  <a:gd name="T32" fmla="*/ 551 w 804"/>
                  <a:gd name="T33" fmla="*/ 565 h 763"/>
                  <a:gd name="T34" fmla="*/ 529 w 804"/>
                  <a:gd name="T35" fmla="*/ 621 h 763"/>
                  <a:gd name="T36" fmla="*/ 513 w 804"/>
                  <a:gd name="T37" fmla="*/ 682 h 763"/>
                  <a:gd name="T38" fmla="*/ 505 w 804"/>
                  <a:gd name="T39" fmla="*/ 745 h 763"/>
                  <a:gd name="T40" fmla="*/ 461 w 804"/>
                  <a:gd name="T41" fmla="*/ 730 h 763"/>
                  <a:gd name="T42" fmla="*/ 411 w 804"/>
                  <a:gd name="T43" fmla="*/ 719 h 763"/>
                  <a:gd name="T44" fmla="*/ 354 w 804"/>
                  <a:gd name="T45" fmla="*/ 709 h 763"/>
                  <a:gd name="T46" fmla="*/ 294 w 804"/>
                  <a:gd name="T47" fmla="*/ 706 h 763"/>
                  <a:gd name="T48" fmla="*/ 232 w 804"/>
                  <a:gd name="T49" fmla="*/ 709 h 763"/>
                  <a:gd name="T50" fmla="*/ 172 w 804"/>
                  <a:gd name="T51" fmla="*/ 721 h 763"/>
                  <a:gd name="T52" fmla="*/ 112 w 804"/>
                  <a:gd name="T53" fmla="*/ 739 h 763"/>
                  <a:gd name="T54" fmla="*/ 55 w 804"/>
                  <a:gd name="T55" fmla="*/ 763 h 763"/>
                  <a:gd name="T56" fmla="*/ 25 w 804"/>
                  <a:gd name="T57" fmla="*/ 729 h 763"/>
                  <a:gd name="T58" fmla="*/ 0 w 804"/>
                  <a:gd name="T59" fmla="*/ 692 h 763"/>
                  <a:gd name="T60" fmla="*/ 35 w 804"/>
                  <a:gd name="T61" fmla="*/ 633 h 763"/>
                  <a:gd name="T62" fmla="*/ 63 w 804"/>
                  <a:gd name="T63" fmla="*/ 569 h 763"/>
                  <a:gd name="T64" fmla="*/ 83 w 804"/>
                  <a:gd name="T65" fmla="*/ 503 h 763"/>
                  <a:gd name="T66" fmla="*/ 96 w 804"/>
                  <a:gd name="T67" fmla="*/ 435 h 763"/>
                  <a:gd name="T68" fmla="*/ 100 w 804"/>
                  <a:gd name="T69" fmla="*/ 365 h 763"/>
                  <a:gd name="T70" fmla="*/ 97 w 804"/>
                  <a:gd name="T71" fmla="*/ 307 h 763"/>
                  <a:gd name="T72" fmla="*/ 89 w 804"/>
                  <a:gd name="T73" fmla="*/ 250 h 763"/>
                  <a:gd name="T74" fmla="*/ 75 w 804"/>
                  <a:gd name="T75" fmla="*/ 195 h 763"/>
                  <a:gd name="T76" fmla="*/ 55 w 804"/>
                  <a:gd name="T77" fmla="*/ 141 h 763"/>
                  <a:gd name="T78" fmla="*/ 93 w 804"/>
                  <a:gd name="T79" fmla="*/ 105 h 763"/>
                  <a:gd name="T80" fmla="*/ 135 w 804"/>
                  <a:gd name="T81" fmla="*/ 73 h 763"/>
                  <a:gd name="T82" fmla="*/ 180 w 804"/>
                  <a:gd name="T83" fmla="*/ 47 h 763"/>
                  <a:gd name="T84" fmla="*/ 226 w 804"/>
                  <a:gd name="T85" fmla="*/ 27 h 763"/>
                  <a:gd name="T86" fmla="*/ 277 w 804"/>
                  <a:gd name="T87" fmla="*/ 11 h 763"/>
                  <a:gd name="T88" fmla="*/ 328 w 804"/>
                  <a:gd name="T89" fmla="*/ 3 h 763"/>
                  <a:gd name="T90" fmla="*/ 381 w 804"/>
                  <a:gd name="T91" fmla="*/ 0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4" h="763">
                    <a:moveTo>
                      <a:pt x="381" y="0"/>
                    </a:moveTo>
                    <a:lnTo>
                      <a:pt x="437" y="3"/>
                    </a:lnTo>
                    <a:lnTo>
                      <a:pt x="492" y="14"/>
                    </a:lnTo>
                    <a:lnTo>
                      <a:pt x="546" y="31"/>
                    </a:lnTo>
                    <a:lnTo>
                      <a:pt x="595" y="54"/>
                    </a:lnTo>
                    <a:lnTo>
                      <a:pt x="641" y="83"/>
                    </a:lnTo>
                    <a:lnTo>
                      <a:pt x="683" y="117"/>
                    </a:lnTo>
                    <a:lnTo>
                      <a:pt x="721" y="157"/>
                    </a:lnTo>
                    <a:lnTo>
                      <a:pt x="755" y="201"/>
                    </a:lnTo>
                    <a:lnTo>
                      <a:pt x="783" y="250"/>
                    </a:lnTo>
                    <a:lnTo>
                      <a:pt x="804" y="301"/>
                    </a:lnTo>
                    <a:lnTo>
                      <a:pt x="750" y="334"/>
                    </a:lnTo>
                    <a:lnTo>
                      <a:pt x="700" y="371"/>
                    </a:lnTo>
                    <a:lnTo>
                      <a:pt x="654" y="412"/>
                    </a:lnTo>
                    <a:lnTo>
                      <a:pt x="615" y="459"/>
                    </a:lnTo>
                    <a:lnTo>
                      <a:pt x="579" y="510"/>
                    </a:lnTo>
                    <a:lnTo>
                      <a:pt x="551" y="565"/>
                    </a:lnTo>
                    <a:lnTo>
                      <a:pt x="529" y="621"/>
                    </a:lnTo>
                    <a:lnTo>
                      <a:pt x="513" y="682"/>
                    </a:lnTo>
                    <a:lnTo>
                      <a:pt x="505" y="745"/>
                    </a:lnTo>
                    <a:lnTo>
                      <a:pt x="461" y="730"/>
                    </a:lnTo>
                    <a:lnTo>
                      <a:pt x="411" y="719"/>
                    </a:lnTo>
                    <a:lnTo>
                      <a:pt x="354" y="709"/>
                    </a:lnTo>
                    <a:lnTo>
                      <a:pt x="294" y="706"/>
                    </a:lnTo>
                    <a:lnTo>
                      <a:pt x="232" y="709"/>
                    </a:lnTo>
                    <a:lnTo>
                      <a:pt x="172" y="721"/>
                    </a:lnTo>
                    <a:lnTo>
                      <a:pt x="112" y="739"/>
                    </a:lnTo>
                    <a:lnTo>
                      <a:pt x="55" y="763"/>
                    </a:lnTo>
                    <a:lnTo>
                      <a:pt x="25" y="729"/>
                    </a:lnTo>
                    <a:lnTo>
                      <a:pt x="0" y="692"/>
                    </a:lnTo>
                    <a:lnTo>
                      <a:pt x="35" y="633"/>
                    </a:lnTo>
                    <a:lnTo>
                      <a:pt x="63" y="569"/>
                    </a:lnTo>
                    <a:lnTo>
                      <a:pt x="83" y="503"/>
                    </a:lnTo>
                    <a:lnTo>
                      <a:pt x="96" y="435"/>
                    </a:lnTo>
                    <a:lnTo>
                      <a:pt x="100" y="365"/>
                    </a:lnTo>
                    <a:lnTo>
                      <a:pt x="97" y="307"/>
                    </a:lnTo>
                    <a:lnTo>
                      <a:pt x="89" y="250"/>
                    </a:lnTo>
                    <a:lnTo>
                      <a:pt x="75" y="195"/>
                    </a:lnTo>
                    <a:lnTo>
                      <a:pt x="55" y="141"/>
                    </a:lnTo>
                    <a:lnTo>
                      <a:pt x="93" y="105"/>
                    </a:lnTo>
                    <a:lnTo>
                      <a:pt x="135" y="73"/>
                    </a:lnTo>
                    <a:lnTo>
                      <a:pt x="180" y="47"/>
                    </a:lnTo>
                    <a:lnTo>
                      <a:pt x="226" y="27"/>
                    </a:lnTo>
                    <a:lnTo>
                      <a:pt x="277" y="11"/>
                    </a:lnTo>
                    <a:lnTo>
                      <a:pt x="328" y="3"/>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73" name="ZoneTexte 72">
              <a:extLst>
                <a:ext uri="{FF2B5EF4-FFF2-40B4-BE49-F238E27FC236}">
                  <a16:creationId xmlns:a16="http://schemas.microsoft.com/office/drawing/2014/main" id="{958B3DE0-F54A-40F1-AEE2-912131D43669}"/>
                </a:ext>
              </a:extLst>
            </p:cNvPr>
            <p:cNvSpPr txBox="1"/>
            <p:nvPr/>
          </p:nvSpPr>
          <p:spPr>
            <a:xfrm>
              <a:off x="2109369" y="1574568"/>
              <a:ext cx="2334293" cy="707886"/>
            </a:xfrm>
            <a:prstGeom prst="rect">
              <a:avLst/>
            </a:prstGeom>
            <a:noFill/>
          </p:spPr>
          <p:txBody>
            <a:bodyPr wrap="none" rtlCol="0">
              <a:spAutoFit/>
            </a:bodyPr>
            <a:lstStyle/>
            <a:p>
              <a:r>
                <a:rPr lang="fr-FR" sz="2000" b="1" dirty="0">
                  <a:solidFill>
                    <a:schemeClr val="accent3"/>
                  </a:solidFill>
                </a:rPr>
                <a:t>Tous les acteurs </a:t>
              </a:r>
            </a:p>
            <a:p>
              <a:r>
                <a:rPr lang="fr-FR" sz="2000" b="1" dirty="0">
                  <a:solidFill>
                    <a:schemeClr val="accent3"/>
                  </a:solidFill>
                </a:rPr>
                <a:t>du train</a:t>
              </a:r>
            </a:p>
          </p:txBody>
        </p:sp>
        <p:grpSp>
          <p:nvGrpSpPr>
            <p:cNvPr id="74" name="Group 1150">
              <a:extLst>
                <a:ext uri="{FF2B5EF4-FFF2-40B4-BE49-F238E27FC236}">
                  <a16:creationId xmlns:a16="http://schemas.microsoft.com/office/drawing/2014/main" id="{8E3A0AE1-F886-4A30-B448-1FAB92FC3D81}"/>
                </a:ext>
              </a:extLst>
            </p:cNvPr>
            <p:cNvGrpSpPr>
              <a:grpSpLocks noChangeAspect="1"/>
            </p:cNvGrpSpPr>
            <p:nvPr/>
          </p:nvGrpSpPr>
          <p:grpSpPr bwMode="auto">
            <a:xfrm>
              <a:off x="728398" y="2888189"/>
              <a:ext cx="946485" cy="875898"/>
              <a:chOff x="-1658" y="2480"/>
              <a:chExt cx="952" cy="881"/>
            </a:xfrm>
            <a:solidFill>
              <a:schemeClr val="accent6"/>
            </a:solidFill>
          </p:grpSpPr>
          <p:sp>
            <p:nvSpPr>
              <p:cNvPr id="80" name="Freeform 1151">
                <a:extLst>
                  <a:ext uri="{FF2B5EF4-FFF2-40B4-BE49-F238E27FC236}">
                    <a16:creationId xmlns:a16="http://schemas.microsoft.com/office/drawing/2014/main" id="{301B47BC-59D2-4972-9BF4-D674F31B0100}"/>
                  </a:ext>
                </a:extLst>
              </p:cNvPr>
              <p:cNvSpPr>
                <a:spLocks/>
              </p:cNvSpPr>
              <p:nvPr/>
            </p:nvSpPr>
            <p:spPr bwMode="auto">
              <a:xfrm>
                <a:off x="-1658" y="2480"/>
                <a:ext cx="952" cy="881"/>
              </a:xfrm>
              <a:custGeom>
                <a:avLst/>
                <a:gdLst>
                  <a:gd name="T0" fmla="*/ 219 w 400"/>
                  <a:gd name="T1" fmla="*/ 0 h 370"/>
                  <a:gd name="T2" fmla="*/ 218 w 400"/>
                  <a:gd name="T3" fmla="*/ 0 h 370"/>
                  <a:gd name="T4" fmla="*/ 200 w 400"/>
                  <a:gd name="T5" fmla="*/ 20 h 370"/>
                  <a:gd name="T6" fmla="*/ 220 w 400"/>
                  <a:gd name="T7" fmla="*/ 39 h 370"/>
                  <a:gd name="T8" fmla="*/ 220 w 400"/>
                  <a:gd name="T9" fmla="*/ 39 h 370"/>
                  <a:gd name="T10" fmla="*/ 363 w 400"/>
                  <a:gd name="T11" fmla="*/ 185 h 370"/>
                  <a:gd name="T12" fmla="*/ 216 w 400"/>
                  <a:gd name="T13" fmla="*/ 331 h 370"/>
                  <a:gd name="T14" fmla="*/ 71 w 400"/>
                  <a:gd name="T15" fmla="*/ 197 h 370"/>
                  <a:gd name="T16" fmla="*/ 104 w 400"/>
                  <a:gd name="T17" fmla="*/ 197 h 370"/>
                  <a:gd name="T18" fmla="*/ 52 w 400"/>
                  <a:gd name="T19" fmla="*/ 111 h 370"/>
                  <a:gd name="T20" fmla="*/ 0 w 400"/>
                  <a:gd name="T21" fmla="*/ 197 h 370"/>
                  <a:gd name="T22" fmla="*/ 32 w 400"/>
                  <a:gd name="T23" fmla="*/ 197 h 370"/>
                  <a:gd name="T24" fmla="*/ 216 w 400"/>
                  <a:gd name="T25" fmla="*/ 370 h 370"/>
                  <a:gd name="T26" fmla="*/ 400 w 400"/>
                  <a:gd name="T27" fmla="*/ 185 h 370"/>
                  <a:gd name="T28" fmla="*/ 219 w 400"/>
                  <a:gd name="T2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0" h="370">
                    <a:moveTo>
                      <a:pt x="219" y="0"/>
                    </a:moveTo>
                    <a:cubicBezTo>
                      <a:pt x="219" y="0"/>
                      <a:pt x="219" y="0"/>
                      <a:pt x="218" y="0"/>
                    </a:cubicBezTo>
                    <a:cubicBezTo>
                      <a:pt x="208" y="0"/>
                      <a:pt x="200" y="9"/>
                      <a:pt x="200" y="20"/>
                    </a:cubicBezTo>
                    <a:cubicBezTo>
                      <a:pt x="200" y="30"/>
                      <a:pt x="204" y="39"/>
                      <a:pt x="220" y="39"/>
                    </a:cubicBezTo>
                    <a:cubicBezTo>
                      <a:pt x="220" y="39"/>
                      <a:pt x="220" y="39"/>
                      <a:pt x="220" y="39"/>
                    </a:cubicBezTo>
                    <a:cubicBezTo>
                      <a:pt x="296" y="40"/>
                      <a:pt x="363" y="105"/>
                      <a:pt x="363" y="185"/>
                    </a:cubicBezTo>
                    <a:cubicBezTo>
                      <a:pt x="363" y="265"/>
                      <a:pt x="297" y="331"/>
                      <a:pt x="216" y="331"/>
                    </a:cubicBezTo>
                    <a:cubicBezTo>
                      <a:pt x="140" y="331"/>
                      <a:pt x="76" y="273"/>
                      <a:pt x="71" y="197"/>
                    </a:cubicBezTo>
                    <a:cubicBezTo>
                      <a:pt x="104" y="197"/>
                      <a:pt x="104" y="197"/>
                      <a:pt x="104" y="197"/>
                    </a:cubicBezTo>
                    <a:cubicBezTo>
                      <a:pt x="52" y="111"/>
                      <a:pt x="52" y="111"/>
                      <a:pt x="52" y="111"/>
                    </a:cubicBezTo>
                    <a:cubicBezTo>
                      <a:pt x="0" y="197"/>
                      <a:pt x="0" y="197"/>
                      <a:pt x="0" y="197"/>
                    </a:cubicBezTo>
                    <a:cubicBezTo>
                      <a:pt x="32" y="197"/>
                      <a:pt x="32" y="197"/>
                      <a:pt x="32" y="197"/>
                    </a:cubicBezTo>
                    <a:cubicBezTo>
                      <a:pt x="38" y="293"/>
                      <a:pt x="118" y="370"/>
                      <a:pt x="216" y="370"/>
                    </a:cubicBezTo>
                    <a:cubicBezTo>
                      <a:pt x="317" y="370"/>
                      <a:pt x="400" y="287"/>
                      <a:pt x="400" y="185"/>
                    </a:cubicBezTo>
                    <a:cubicBezTo>
                      <a:pt x="400" y="85"/>
                      <a:pt x="319" y="2"/>
                      <a:pt x="2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1" name="Freeform 1152">
                <a:extLst>
                  <a:ext uri="{FF2B5EF4-FFF2-40B4-BE49-F238E27FC236}">
                    <a16:creationId xmlns:a16="http://schemas.microsoft.com/office/drawing/2014/main" id="{09BA15FB-E710-405B-B28B-B84C3869B80C}"/>
                  </a:ext>
                </a:extLst>
              </p:cNvPr>
              <p:cNvSpPr>
                <a:spLocks/>
              </p:cNvSpPr>
              <p:nvPr/>
            </p:nvSpPr>
            <p:spPr bwMode="auto">
              <a:xfrm>
                <a:off x="-1311" y="2654"/>
                <a:ext cx="214" cy="462"/>
              </a:xfrm>
              <a:custGeom>
                <a:avLst/>
                <a:gdLst>
                  <a:gd name="T0" fmla="*/ 90 w 90"/>
                  <a:gd name="T1" fmla="*/ 17 h 194"/>
                  <a:gd name="T2" fmla="*/ 74 w 90"/>
                  <a:gd name="T3" fmla="*/ 0 h 194"/>
                  <a:gd name="T4" fmla="*/ 70 w 90"/>
                  <a:gd name="T5" fmla="*/ 0 h 194"/>
                  <a:gd name="T6" fmla="*/ 54 w 90"/>
                  <a:gd name="T7" fmla="*/ 17 h 194"/>
                  <a:gd name="T8" fmla="*/ 54 w 90"/>
                  <a:gd name="T9" fmla="*/ 114 h 194"/>
                  <a:gd name="T10" fmla="*/ 7 w 90"/>
                  <a:gd name="T11" fmla="*/ 161 h 194"/>
                  <a:gd name="T12" fmla="*/ 7 w 90"/>
                  <a:gd name="T13" fmla="*/ 187 h 194"/>
                  <a:gd name="T14" fmla="*/ 32 w 90"/>
                  <a:gd name="T15" fmla="*/ 187 h 194"/>
                  <a:gd name="T16" fmla="*/ 84 w 90"/>
                  <a:gd name="T17" fmla="*/ 134 h 194"/>
                  <a:gd name="T18" fmla="*/ 86 w 90"/>
                  <a:gd name="T19" fmla="*/ 133 h 194"/>
                  <a:gd name="T20" fmla="*/ 90 w 90"/>
                  <a:gd name="T21" fmla="*/ 121 h 194"/>
                  <a:gd name="T22" fmla="*/ 90 w 90"/>
                  <a:gd name="T23" fmla="*/ 1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194">
                    <a:moveTo>
                      <a:pt x="90" y="17"/>
                    </a:moveTo>
                    <a:cubicBezTo>
                      <a:pt x="90" y="8"/>
                      <a:pt x="83" y="0"/>
                      <a:pt x="74" y="0"/>
                    </a:cubicBezTo>
                    <a:cubicBezTo>
                      <a:pt x="70" y="0"/>
                      <a:pt x="70" y="0"/>
                      <a:pt x="70" y="0"/>
                    </a:cubicBezTo>
                    <a:cubicBezTo>
                      <a:pt x="61" y="0"/>
                      <a:pt x="54" y="8"/>
                      <a:pt x="54" y="17"/>
                    </a:cubicBezTo>
                    <a:cubicBezTo>
                      <a:pt x="54" y="114"/>
                      <a:pt x="54" y="114"/>
                      <a:pt x="54" y="114"/>
                    </a:cubicBezTo>
                    <a:cubicBezTo>
                      <a:pt x="7" y="161"/>
                      <a:pt x="7" y="161"/>
                      <a:pt x="7" y="161"/>
                    </a:cubicBezTo>
                    <a:cubicBezTo>
                      <a:pt x="0" y="168"/>
                      <a:pt x="0" y="180"/>
                      <a:pt x="7" y="187"/>
                    </a:cubicBezTo>
                    <a:cubicBezTo>
                      <a:pt x="13" y="194"/>
                      <a:pt x="25" y="194"/>
                      <a:pt x="32" y="187"/>
                    </a:cubicBezTo>
                    <a:cubicBezTo>
                      <a:pt x="84" y="134"/>
                      <a:pt x="84" y="134"/>
                      <a:pt x="84" y="134"/>
                    </a:cubicBezTo>
                    <a:cubicBezTo>
                      <a:pt x="85" y="134"/>
                      <a:pt x="85" y="133"/>
                      <a:pt x="86" y="133"/>
                    </a:cubicBezTo>
                    <a:cubicBezTo>
                      <a:pt x="88" y="130"/>
                      <a:pt x="90" y="126"/>
                      <a:pt x="90" y="121"/>
                    </a:cubicBezTo>
                    <a:cubicBezTo>
                      <a:pt x="90" y="17"/>
                      <a:pt x="90" y="17"/>
                      <a:pt x="9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75" name="ZoneTexte 74">
              <a:extLst>
                <a:ext uri="{FF2B5EF4-FFF2-40B4-BE49-F238E27FC236}">
                  <a16:creationId xmlns:a16="http://schemas.microsoft.com/office/drawing/2014/main" id="{CD0C39A1-61A0-4A72-A7DC-9D1BB8EEA755}"/>
                </a:ext>
              </a:extLst>
            </p:cNvPr>
            <p:cNvSpPr txBox="1"/>
            <p:nvPr/>
          </p:nvSpPr>
          <p:spPr>
            <a:xfrm>
              <a:off x="2074300" y="2906941"/>
              <a:ext cx="2293508" cy="707886"/>
            </a:xfrm>
            <a:prstGeom prst="rect">
              <a:avLst/>
            </a:prstGeom>
            <a:noFill/>
          </p:spPr>
          <p:txBody>
            <a:bodyPr wrap="square" rtlCol="0">
              <a:spAutoFit/>
            </a:bodyPr>
            <a:lstStyle/>
            <a:p>
              <a:r>
                <a:rPr lang="fr-FR" sz="2000" b="1" dirty="0">
                  <a:solidFill>
                    <a:schemeClr val="accent6"/>
                  </a:solidFill>
                </a:rPr>
                <a:t>2 jours cadencés</a:t>
              </a:r>
            </a:p>
          </p:txBody>
        </p:sp>
        <p:sp>
          <p:nvSpPr>
            <p:cNvPr id="76" name="Freeform 187">
              <a:extLst>
                <a:ext uri="{FF2B5EF4-FFF2-40B4-BE49-F238E27FC236}">
                  <a16:creationId xmlns:a16="http://schemas.microsoft.com/office/drawing/2014/main" id="{7A656CC5-06BB-431F-ACEA-65D9E2574CF6}"/>
                </a:ext>
              </a:extLst>
            </p:cNvPr>
            <p:cNvSpPr>
              <a:spLocks noEditPoints="1"/>
            </p:cNvSpPr>
            <p:nvPr/>
          </p:nvSpPr>
          <p:spPr bwMode="auto">
            <a:xfrm>
              <a:off x="788804" y="4180720"/>
              <a:ext cx="968124" cy="721539"/>
            </a:xfrm>
            <a:custGeom>
              <a:avLst/>
              <a:gdLst/>
              <a:ahLst/>
              <a:cxnLst>
                <a:cxn ang="0">
                  <a:pos x="68" y="25"/>
                </a:cxn>
                <a:cxn ang="0">
                  <a:pos x="34" y="44"/>
                </a:cxn>
                <a:cxn ang="0">
                  <a:pos x="1" y="25"/>
                </a:cxn>
                <a:cxn ang="0">
                  <a:pos x="0" y="22"/>
                </a:cxn>
                <a:cxn ang="0">
                  <a:pos x="1" y="20"/>
                </a:cxn>
                <a:cxn ang="0">
                  <a:pos x="34" y="0"/>
                </a:cxn>
                <a:cxn ang="0">
                  <a:pos x="68" y="20"/>
                </a:cxn>
                <a:cxn ang="0">
                  <a:pos x="68" y="22"/>
                </a:cxn>
                <a:cxn ang="0">
                  <a:pos x="68" y="25"/>
                </a:cxn>
                <a:cxn ang="0">
                  <a:pos x="49" y="9"/>
                </a:cxn>
                <a:cxn ang="0">
                  <a:pos x="51" y="17"/>
                </a:cxn>
                <a:cxn ang="0">
                  <a:pos x="34" y="34"/>
                </a:cxn>
                <a:cxn ang="0">
                  <a:pos x="17" y="17"/>
                </a:cxn>
                <a:cxn ang="0">
                  <a:pos x="20" y="9"/>
                </a:cxn>
                <a:cxn ang="0">
                  <a:pos x="5" y="22"/>
                </a:cxn>
                <a:cxn ang="0">
                  <a:pos x="34" y="39"/>
                </a:cxn>
                <a:cxn ang="0">
                  <a:pos x="64" y="22"/>
                </a:cxn>
                <a:cxn ang="0">
                  <a:pos x="49" y="9"/>
                </a:cxn>
                <a:cxn ang="0">
                  <a:pos x="34" y="6"/>
                </a:cxn>
                <a:cxn ang="0">
                  <a:pos x="23" y="17"/>
                </a:cxn>
                <a:cxn ang="0">
                  <a:pos x="25" y="19"/>
                </a:cxn>
                <a:cxn ang="0">
                  <a:pos x="27" y="17"/>
                </a:cxn>
                <a:cxn ang="0">
                  <a:pos x="34" y="9"/>
                </a:cxn>
                <a:cxn ang="0">
                  <a:pos x="36" y="8"/>
                </a:cxn>
                <a:cxn ang="0">
                  <a:pos x="34" y="6"/>
                </a:cxn>
              </a:cxnLst>
              <a:rect l="0" t="0" r="r" b="b"/>
              <a:pathLst>
                <a:path w="68" h="44">
                  <a:moveTo>
                    <a:pt x="68" y="25"/>
                  </a:moveTo>
                  <a:cubicBezTo>
                    <a:pt x="61" y="36"/>
                    <a:pt x="48" y="44"/>
                    <a:pt x="34" y="44"/>
                  </a:cubicBezTo>
                  <a:cubicBezTo>
                    <a:pt x="21" y="44"/>
                    <a:pt x="8" y="36"/>
                    <a:pt x="1" y="25"/>
                  </a:cubicBezTo>
                  <a:cubicBezTo>
                    <a:pt x="1" y="24"/>
                    <a:pt x="0" y="23"/>
                    <a:pt x="0" y="22"/>
                  </a:cubicBezTo>
                  <a:cubicBezTo>
                    <a:pt x="0" y="21"/>
                    <a:pt x="1" y="20"/>
                    <a:pt x="1" y="20"/>
                  </a:cubicBezTo>
                  <a:cubicBezTo>
                    <a:pt x="8" y="8"/>
                    <a:pt x="21" y="0"/>
                    <a:pt x="34" y="0"/>
                  </a:cubicBezTo>
                  <a:cubicBezTo>
                    <a:pt x="48" y="0"/>
                    <a:pt x="61" y="8"/>
                    <a:pt x="68" y="20"/>
                  </a:cubicBezTo>
                  <a:cubicBezTo>
                    <a:pt x="68" y="20"/>
                    <a:pt x="68" y="21"/>
                    <a:pt x="68" y="22"/>
                  </a:cubicBezTo>
                  <a:cubicBezTo>
                    <a:pt x="68" y="23"/>
                    <a:pt x="68" y="24"/>
                    <a:pt x="68" y="25"/>
                  </a:cubicBezTo>
                  <a:close/>
                  <a:moveTo>
                    <a:pt x="49" y="9"/>
                  </a:moveTo>
                  <a:cubicBezTo>
                    <a:pt x="51" y="11"/>
                    <a:pt x="51" y="14"/>
                    <a:pt x="51" y="17"/>
                  </a:cubicBezTo>
                  <a:cubicBezTo>
                    <a:pt x="51" y="27"/>
                    <a:pt x="44" y="34"/>
                    <a:pt x="34" y="34"/>
                  </a:cubicBezTo>
                  <a:cubicBezTo>
                    <a:pt x="25" y="34"/>
                    <a:pt x="17" y="27"/>
                    <a:pt x="17" y="17"/>
                  </a:cubicBezTo>
                  <a:cubicBezTo>
                    <a:pt x="17" y="14"/>
                    <a:pt x="18" y="11"/>
                    <a:pt x="20" y="9"/>
                  </a:cubicBezTo>
                  <a:cubicBezTo>
                    <a:pt x="14" y="12"/>
                    <a:pt x="9" y="17"/>
                    <a:pt x="5" y="22"/>
                  </a:cubicBezTo>
                  <a:cubicBezTo>
                    <a:pt x="12" y="32"/>
                    <a:pt x="22" y="39"/>
                    <a:pt x="34" y="39"/>
                  </a:cubicBezTo>
                  <a:cubicBezTo>
                    <a:pt x="47" y="39"/>
                    <a:pt x="57" y="32"/>
                    <a:pt x="64" y="22"/>
                  </a:cubicBezTo>
                  <a:cubicBezTo>
                    <a:pt x="60" y="17"/>
                    <a:pt x="55" y="12"/>
                    <a:pt x="49" y="9"/>
                  </a:cubicBezTo>
                  <a:close/>
                  <a:moveTo>
                    <a:pt x="34" y="6"/>
                  </a:moveTo>
                  <a:cubicBezTo>
                    <a:pt x="28" y="6"/>
                    <a:pt x="23" y="11"/>
                    <a:pt x="23" y="17"/>
                  </a:cubicBezTo>
                  <a:cubicBezTo>
                    <a:pt x="23" y="18"/>
                    <a:pt x="24" y="19"/>
                    <a:pt x="25" y="19"/>
                  </a:cubicBezTo>
                  <a:cubicBezTo>
                    <a:pt x="26" y="19"/>
                    <a:pt x="27" y="18"/>
                    <a:pt x="27" y="17"/>
                  </a:cubicBezTo>
                  <a:cubicBezTo>
                    <a:pt x="27" y="13"/>
                    <a:pt x="30" y="9"/>
                    <a:pt x="34" y="9"/>
                  </a:cubicBezTo>
                  <a:cubicBezTo>
                    <a:pt x="35" y="9"/>
                    <a:pt x="36" y="9"/>
                    <a:pt x="36" y="8"/>
                  </a:cubicBezTo>
                  <a:cubicBezTo>
                    <a:pt x="36" y="7"/>
                    <a:pt x="35" y="6"/>
                    <a:pt x="34" y="6"/>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ZoneTexte 76">
              <a:extLst>
                <a:ext uri="{FF2B5EF4-FFF2-40B4-BE49-F238E27FC236}">
                  <a16:creationId xmlns:a16="http://schemas.microsoft.com/office/drawing/2014/main" id="{134B38FD-D0A9-4EF7-862A-521823A0D6DC}"/>
                </a:ext>
              </a:extLst>
            </p:cNvPr>
            <p:cNvSpPr txBox="1"/>
            <p:nvPr/>
          </p:nvSpPr>
          <p:spPr>
            <a:xfrm>
              <a:off x="2064411" y="4110171"/>
              <a:ext cx="2293508" cy="707886"/>
            </a:xfrm>
            <a:prstGeom prst="rect">
              <a:avLst/>
            </a:prstGeom>
            <a:noFill/>
          </p:spPr>
          <p:txBody>
            <a:bodyPr wrap="square" rtlCol="0">
              <a:spAutoFit/>
            </a:bodyPr>
            <a:lstStyle/>
            <a:p>
              <a:r>
                <a:rPr lang="fr-FR" sz="2000" b="1" dirty="0">
                  <a:solidFill>
                    <a:schemeClr val="accent5"/>
                  </a:solidFill>
                </a:rPr>
                <a:t>Partage de la vision</a:t>
              </a:r>
            </a:p>
          </p:txBody>
        </p:sp>
        <p:sp>
          <p:nvSpPr>
            <p:cNvPr id="78" name="Flèche vers le bas 78">
              <a:extLst>
                <a:ext uri="{FF2B5EF4-FFF2-40B4-BE49-F238E27FC236}">
                  <a16:creationId xmlns:a16="http://schemas.microsoft.com/office/drawing/2014/main" id="{4C5743CA-94A8-439A-A76E-49363C818D2B}"/>
                </a:ext>
              </a:extLst>
            </p:cNvPr>
            <p:cNvSpPr/>
            <p:nvPr/>
          </p:nvSpPr>
          <p:spPr>
            <a:xfrm rot="16200000">
              <a:off x="4739707" y="3044909"/>
              <a:ext cx="504056" cy="696175"/>
            </a:xfrm>
            <a:prstGeom prst="downArrow">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dirty="0"/>
            </a:p>
          </p:txBody>
        </p:sp>
        <p:cxnSp>
          <p:nvCxnSpPr>
            <p:cNvPr id="79" name="Connecteur droit 78">
              <a:extLst>
                <a:ext uri="{FF2B5EF4-FFF2-40B4-BE49-F238E27FC236}">
                  <a16:creationId xmlns:a16="http://schemas.microsoft.com/office/drawing/2014/main" id="{8991C007-E3E9-40ED-B841-39694F2696EC}"/>
                </a:ext>
              </a:extLst>
            </p:cNvPr>
            <p:cNvCxnSpPr/>
            <p:nvPr/>
          </p:nvCxnSpPr>
          <p:spPr>
            <a:xfrm flipH="1">
              <a:off x="4643647" y="1549318"/>
              <a:ext cx="8816" cy="3443107"/>
            </a:xfrm>
            <a:prstGeom prst="line">
              <a:avLst/>
            </a:prstGeom>
            <a:ln w="76200"/>
          </p:spPr>
          <p:style>
            <a:lnRef idx="1">
              <a:schemeClr val="accent5"/>
            </a:lnRef>
            <a:fillRef idx="0">
              <a:schemeClr val="accent5"/>
            </a:fillRef>
            <a:effectRef idx="0">
              <a:schemeClr val="accent5"/>
            </a:effectRef>
            <a:fontRef idx="minor">
              <a:schemeClr val="tx1"/>
            </a:fontRef>
          </p:style>
        </p:cxnSp>
      </p:grpSp>
      <p:sp>
        <p:nvSpPr>
          <p:cNvPr id="96" name="Organigramme : Alternative 95">
            <a:extLst>
              <a:ext uri="{FF2B5EF4-FFF2-40B4-BE49-F238E27FC236}">
                <a16:creationId xmlns:a16="http://schemas.microsoft.com/office/drawing/2014/main" id="{B69FDD81-1B60-4B31-98B3-8447E2E683F4}"/>
              </a:ext>
            </a:extLst>
          </p:cNvPr>
          <p:cNvSpPr/>
          <p:nvPr/>
        </p:nvSpPr>
        <p:spPr>
          <a:xfrm>
            <a:off x="8130244" y="235061"/>
            <a:ext cx="3861259" cy="1047259"/>
          </a:xfrm>
          <a:prstGeom prst="flowChartAlternateProcess">
            <a:avLst/>
          </a:prstGeom>
          <a:solidFill>
            <a:srgbClr val="3C75BA"/>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FR" sz="2000" i="1" dirty="0"/>
              <a:t>« There </a:t>
            </a:r>
            <a:r>
              <a:rPr lang="fr-FR" sz="2000" i="1" dirty="0" err="1"/>
              <a:t>is</a:t>
            </a:r>
            <a:r>
              <a:rPr lang="fr-FR" sz="2000" i="1" dirty="0"/>
              <a:t> no </a:t>
            </a:r>
            <a:r>
              <a:rPr lang="fr-FR" sz="2000" i="1" dirty="0" err="1"/>
              <a:t>magic</a:t>
            </a:r>
            <a:r>
              <a:rPr lang="fr-FR" sz="2000" i="1" dirty="0"/>
              <a:t> in SAFe …</a:t>
            </a:r>
          </a:p>
          <a:p>
            <a:pPr algn="ctr"/>
            <a:r>
              <a:rPr lang="fr-FR" sz="2000" i="1" dirty="0" err="1"/>
              <a:t>except</a:t>
            </a:r>
            <a:r>
              <a:rPr lang="fr-FR" sz="2000" i="1" dirty="0"/>
              <a:t> </a:t>
            </a:r>
            <a:r>
              <a:rPr lang="fr-FR" sz="2000" i="1" dirty="0" err="1"/>
              <a:t>maybe</a:t>
            </a:r>
            <a:r>
              <a:rPr lang="fr-FR" sz="2000" i="1" dirty="0"/>
              <a:t> for PI Planning! »</a:t>
            </a:r>
            <a:endParaRPr lang="fr-FR" sz="2000" dirty="0">
              <a:solidFill>
                <a:schemeClr val="dk1"/>
              </a:solidFill>
            </a:endParaRPr>
          </a:p>
        </p:txBody>
      </p:sp>
      <p:grpSp>
        <p:nvGrpSpPr>
          <p:cNvPr id="97" name="Groupe 96">
            <a:extLst>
              <a:ext uri="{FF2B5EF4-FFF2-40B4-BE49-F238E27FC236}">
                <a16:creationId xmlns:a16="http://schemas.microsoft.com/office/drawing/2014/main" id="{DC20FB9D-D5C8-4AB9-BE0E-0C8330E3C7A3}"/>
              </a:ext>
            </a:extLst>
          </p:cNvPr>
          <p:cNvGrpSpPr/>
          <p:nvPr/>
        </p:nvGrpSpPr>
        <p:grpSpPr>
          <a:xfrm>
            <a:off x="7094734" y="1793442"/>
            <a:ext cx="4822159" cy="4545743"/>
            <a:chOff x="7095174" y="1510460"/>
            <a:chExt cx="4822159" cy="4664850"/>
          </a:xfrm>
        </p:grpSpPr>
        <p:sp>
          <p:nvSpPr>
            <p:cNvPr id="98" name="Flèche vers le bas 91">
              <a:extLst>
                <a:ext uri="{FF2B5EF4-FFF2-40B4-BE49-F238E27FC236}">
                  <a16:creationId xmlns:a16="http://schemas.microsoft.com/office/drawing/2014/main" id="{4640F081-94D3-4F3D-8999-96DB018484A4}"/>
                </a:ext>
              </a:extLst>
            </p:cNvPr>
            <p:cNvSpPr/>
            <p:nvPr/>
          </p:nvSpPr>
          <p:spPr>
            <a:xfrm rot="16200000">
              <a:off x="7191234" y="3044909"/>
              <a:ext cx="504056" cy="696175"/>
            </a:xfrm>
            <a:prstGeom prst="downArrow">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dirty="0"/>
            </a:p>
          </p:txBody>
        </p:sp>
        <p:pic>
          <p:nvPicPr>
            <p:cNvPr id="99" name="Image 98">
              <a:extLst>
                <a:ext uri="{FF2B5EF4-FFF2-40B4-BE49-F238E27FC236}">
                  <a16:creationId xmlns:a16="http://schemas.microsoft.com/office/drawing/2014/main" id="{FE564E8C-2103-4601-A87B-CD1FA5E6FE72}"/>
                </a:ext>
              </a:extLst>
            </p:cNvPr>
            <p:cNvPicPr>
              <a:picLocks noChangeAspect="1"/>
            </p:cNvPicPr>
            <p:nvPr/>
          </p:nvPicPr>
          <p:blipFill rotWithShape="1">
            <a:blip r:embed="rId2"/>
            <a:srcRect l="64712"/>
            <a:stretch/>
          </p:blipFill>
          <p:spPr>
            <a:xfrm>
              <a:off x="8254505" y="1510460"/>
              <a:ext cx="3662828" cy="4664850"/>
            </a:xfrm>
            <a:prstGeom prst="rect">
              <a:avLst/>
            </a:prstGeom>
          </p:spPr>
        </p:pic>
      </p:grpSp>
    </p:spTree>
    <p:extLst>
      <p:ext uri="{BB962C8B-B14F-4D97-AF65-F5344CB8AC3E}">
        <p14:creationId xmlns:p14="http://schemas.microsoft.com/office/powerpoint/2010/main" val="1933192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wipe(left)">
                                      <p:cBhvr>
                                        <p:cTn id="7" dur="750"/>
                                        <p:tgtEl>
                                          <p:spTgt spid="7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wipe(up)">
                                      <p:cBhvr>
                                        <p:cTn id="12" dur="75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wipe(up)">
                                      <p:cBhvr>
                                        <p:cTn id="17" dur="750"/>
                                        <p:tgtEl>
                                          <p:spTgt spid="2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97"/>
                                        </p:tgtEl>
                                        <p:attrNameLst>
                                          <p:attrName>style.visibility</p:attrName>
                                        </p:attrNameLst>
                                      </p:cBhvr>
                                      <p:to>
                                        <p:strVal val="visible"/>
                                      </p:to>
                                    </p:set>
                                    <p:animEffect transition="in" filter="wipe(left)">
                                      <p:cBhvr>
                                        <p:cTn id="22" dur="750"/>
                                        <p:tgtEl>
                                          <p:spTgt spid="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DAF23-3952-4BE0-A904-35EE3DCB179D}"/>
              </a:ext>
            </a:extLst>
          </p:cNvPr>
          <p:cNvSpPr>
            <a:spLocks noGrp="1"/>
          </p:cNvSpPr>
          <p:nvPr>
            <p:ph type="title"/>
          </p:nvPr>
        </p:nvSpPr>
        <p:spPr/>
        <p:txBody>
          <a:bodyPr/>
          <a:lstStyle/>
          <a:p>
            <a:r>
              <a:rPr lang="fr-FR" dirty="0"/>
              <a:t>01</a:t>
            </a:r>
          </a:p>
        </p:txBody>
      </p:sp>
      <p:sp>
        <p:nvSpPr>
          <p:cNvPr id="3" name="Espace réservé du texte 2">
            <a:extLst>
              <a:ext uri="{FF2B5EF4-FFF2-40B4-BE49-F238E27FC236}">
                <a16:creationId xmlns:a16="http://schemas.microsoft.com/office/drawing/2014/main" id="{31DFA70B-34D4-4D7E-8D44-380743E2A699}"/>
              </a:ext>
            </a:extLst>
          </p:cNvPr>
          <p:cNvSpPr>
            <a:spLocks noGrp="1"/>
          </p:cNvSpPr>
          <p:nvPr>
            <p:ph type="body" idx="1"/>
          </p:nvPr>
        </p:nvSpPr>
        <p:spPr/>
        <p:txBody>
          <a:bodyPr/>
          <a:lstStyle/>
          <a:p>
            <a:r>
              <a:rPr lang="fr-FR" dirty="0"/>
              <a:t>Introduction</a:t>
            </a:r>
          </a:p>
        </p:txBody>
      </p:sp>
      <p:sp>
        <p:nvSpPr>
          <p:cNvPr id="5" name="Espace réservé du pied de page 4">
            <a:extLst>
              <a:ext uri="{FF2B5EF4-FFF2-40B4-BE49-F238E27FC236}">
                <a16:creationId xmlns:a16="http://schemas.microsoft.com/office/drawing/2014/main" id="{4E1CBC23-8D70-4C88-A770-98AE06365994}"/>
              </a:ext>
            </a:extLst>
          </p:cNvPr>
          <p:cNvSpPr>
            <a:spLocks noGrp="1"/>
          </p:cNvSpPr>
          <p:nvPr>
            <p:ph type="ftr" sz="quarter" idx="11"/>
          </p:nvPr>
        </p:nvSpPr>
        <p:spPr/>
        <p:txBody>
          <a:bodyPr/>
          <a:lstStyle/>
          <a:p>
            <a:r>
              <a:rPr lang="fr-FR"/>
              <a:t>Initiation à la méthode SAFe</a:t>
            </a:r>
            <a:endParaRPr lang="fr-FR" dirty="0"/>
          </a:p>
        </p:txBody>
      </p:sp>
      <p:sp>
        <p:nvSpPr>
          <p:cNvPr id="6" name="Espace réservé du numéro de diapositive 5">
            <a:extLst>
              <a:ext uri="{FF2B5EF4-FFF2-40B4-BE49-F238E27FC236}">
                <a16:creationId xmlns:a16="http://schemas.microsoft.com/office/drawing/2014/main" id="{69FC4F4B-DC3B-4D1B-AF91-A0BBB7F340D9}"/>
              </a:ext>
            </a:extLst>
          </p:cNvPr>
          <p:cNvSpPr>
            <a:spLocks noGrp="1"/>
          </p:cNvSpPr>
          <p:nvPr>
            <p:ph type="sldNum" sz="quarter" idx="12"/>
          </p:nvPr>
        </p:nvSpPr>
        <p:spPr/>
        <p:txBody>
          <a:bodyPr/>
          <a:lstStyle/>
          <a:p>
            <a:pPr lvl="0"/>
            <a:fld id="{975A587B-5814-4D9B-9598-FE9CB954CB01}" type="slidenum">
              <a:rPr lang="fr-FR" smtClean="0"/>
              <a:pPr lvl="0"/>
              <a:t>3</a:t>
            </a:fld>
            <a:endParaRPr lang="fr-FR" dirty="0"/>
          </a:p>
        </p:txBody>
      </p:sp>
    </p:spTree>
    <p:extLst>
      <p:ext uri="{BB962C8B-B14F-4D97-AF65-F5344CB8AC3E}">
        <p14:creationId xmlns:p14="http://schemas.microsoft.com/office/powerpoint/2010/main" val="20852507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30</a:t>
            </a:fld>
            <a:endParaRPr lang="fr-FR" dirty="0"/>
          </a:p>
        </p:txBody>
      </p:sp>
      <p:sp>
        <p:nvSpPr>
          <p:cNvPr id="5" name="Espace réservé du texte 4"/>
          <p:cNvSpPr>
            <a:spLocks noGrp="1"/>
          </p:cNvSpPr>
          <p:nvPr>
            <p:ph type="body" idx="1"/>
          </p:nvPr>
        </p:nvSpPr>
        <p:spPr/>
        <p:txBody>
          <a:bodyPr/>
          <a:lstStyle/>
          <a:p>
            <a:r>
              <a:rPr lang="fr-FR" dirty="0"/>
              <a:t>Le PI Planning - Objectifs</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pic>
        <p:nvPicPr>
          <p:cNvPr id="100" name="Picture 5">
            <a:extLst>
              <a:ext uri="{FF2B5EF4-FFF2-40B4-BE49-F238E27FC236}">
                <a16:creationId xmlns:a16="http://schemas.microsoft.com/office/drawing/2014/main" id="{28DC18FB-E0BC-4FE4-956E-49BD277EE08F}"/>
              </a:ext>
            </a:extLst>
          </p:cNvPr>
          <p:cNvPicPr>
            <a:picLocks noChangeAspect="1"/>
          </p:cNvPicPr>
          <p:nvPr>
            <p:custDataLst>
              <p:tags r:id="rId1"/>
            </p:custDataLst>
          </p:nvPr>
        </p:nvPicPr>
        <p:blipFill rotWithShape="1">
          <a:blip r:embed="rId3">
            <a:extLst>
              <a:ext uri="{28A0092B-C50C-407E-A947-70E740481C1C}">
                <a14:useLocalDpi xmlns:a14="http://schemas.microsoft.com/office/drawing/2010/main" val="0"/>
              </a:ext>
            </a:extLst>
          </a:blip>
          <a:srcRect t="9941" b="8375"/>
          <a:stretch/>
        </p:blipFill>
        <p:spPr>
          <a:xfrm>
            <a:off x="191457" y="1648747"/>
            <a:ext cx="11809312" cy="2152712"/>
          </a:xfrm>
          <a:prstGeom prst="roundRect">
            <a:avLst>
              <a:gd name="adj" fmla="val 0"/>
            </a:avLst>
          </a:prstGeom>
          <a:noFill/>
          <a:ln w="9525">
            <a:noFill/>
            <a:miter lim="800000"/>
            <a:headEnd/>
            <a:tailEnd/>
          </a:ln>
          <a:effectLst/>
        </p:spPr>
      </p:pic>
      <p:sp>
        <p:nvSpPr>
          <p:cNvPr id="101" name="Rectangle 100">
            <a:extLst>
              <a:ext uri="{FF2B5EF4-FFF2-40B4-BE49-F238E27FC236}">
                <a16:creationId xmlns:a16="http://schemas.microsoft.com/office/drawing/2014/main" id="{C33FABC3-3E4B-4694-BBDF-71A7692F4511}"/>
              </a:ext>
            </a:extLst>
          </p:cNvPr>
          <p:cNvSpPr/>
          <p:nvPr/>
        </p:nvSpPr>
        <p:spPr>
          <a:xfrm>
            <a:off x="8736293" y="790970"/>
            <a:ext cx="2928552" cy="1235026"/>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dirty="0">
                <a:sym typeface="Wingdings" panose="05000000000000000000" pitchFamily="2" charset="2"/>
              </a:rPr>
              <a:t>Le PI Planning</a:t>
            </a:r>
            <a:endParaRPr lang="en-US" sz="1600" dirty="0"/>
          </a:p>
          <a:p>
            <a:pPr algn="ctr"/>
            <a:r>
              <a:rPr lang="en-US" sz="1600" dirty="0">
                <a:solidFill>
                  <a:schemeClr val="accent1"/>
                </a:solidFill>
              </a:rPr>
              <a:t>- - -</a:t>
            </a:r>
          </a:p>
          <a:p>
            <a:pPr algn="ctr"/>
            <a:r>
              <a:rPr lang="en-US" sz="1600" dirty="0"/>
              <a:t>MISO PI Planning</a:t>
            </a:r>
          </a:p>
          <a:p>
            <a:pPr algn="ctr"/>
            <a:r>
              <a:rPr lang="en-US" sz="1600" dirty="0">
                <a:hlinkClick r:id="rId4"/>
              </a:rPr>
              <a:t>https://youtu.be/mK90SSwEBE8</a:t>
            </a:r>
          </a:p>
        </p:txBody>
      </p:sp>
      <p:pic>
        <p:nvPicPr>
          <p:cNvPr id="102" name="Picture 4" descr="RÃ©sultat de recherche d'images pour &quot;icone video&quot;">
            <a:extLst>
              <a:ext uri="{FF2B5EF4-FFF2-40B4-BE49-F238E27FC236}">
                <a16:creationId xmlns:a16="http://schemas.microsoft.com/office/drawing/2014/main" id="{9AD4749F-5D4C-4557-9397-CD8D871011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25341" y="548680"/>
            <a:ext cx="723284" cy="504792"/>
          </a:xfrm>
          <a:prstGeom prst="rect">
            <a:avLst/>
          </a:prstGeom>
          <a:noFill/>
          <a:extLst>
            <a:ext uri="{909E8E84-426E-40DD-AFC4-6F175D3DCCD1}">
              <a14:hiddenFill xmlns:a14="http://schemas.microsoft.com/office/drawing/2010/main">
                <a:solidFill>
                  <a:srgbClr val="FFFFFF"/>
                </a:solidFill>
              </a14:hiddenFill>
            </a:ext>
          </a:extLst>
        </p:spPr>
      </p:pic>
      <p:sp>
        <p:nvSpPr>
          <p:cNvPr id="103" name="Espace réservé du texte 6">
            <a:extLst>
              <a:ext uri="{FF2B5EF4-FFF2-40B4-BE49-F238E27FC236}">
                <a16:creationId xmlns:a16="http://schemas.microsoft.com/office/drawing/2014/main" id="{B9F2F961-BFD0-4743-A357-BE18B9DCC3F2}"/>
              </a:ext>
            </a:extLst>
          </p:cNvPr>
          <p:cNvSpPr txBox="1">
            <a:spLocks/>
          </p:cNvSpPr>
          <p:nvPr/>
        </p:nvSpPr>
        <p:spPr>
          <a:xfrm>
            <a:off x="301367" y="3993810"/>
            <a:ext cx="11699402" cy="2430885"/>
          </a:xfrm>
          <a:prstGeom prst="rect">
            <a:avLst/>
          </a:prstGeom>
        </p:spPr>
        <p:txBody>
          <a:bodyPr vert="horz" lIns="0" tIns="0" rIns="0" bIns="0" rtlCol="0">
            <a:noAutofit/>
          </a:bodyPr>
          <a:lstStyle>
            <a:lvl1pPr marL="355600" indent="-355600" algn="l" defTabSz="914400" rtl="0" eaLnBrk="1" latinLnBrk="0" hangingPunct="1">
              <a:lnSpc>
                <a:spcPct val="100000"/>
              </a:lnSpc>
              <a:spcBef>
                <a:spcPts val="600"/>
              </a:spcBef>
              <a:buClr>
                <a:schemeClr val="tx2"/>
              </a:buClr>
              <a:buSzPct val="60000"/>
              <a:buFontTx/>
              <a:buBlip>
                <a:blip r:embed="rId6"/>
              </a:buBlip>
              <a:defRPr sz="1800" b="1" kern="1200">
                <a:solidFill>
                  <a:schemeClr val="tx1"/>
                </a:solidFill>
                <a:latin typeface="+mn-lt"/>
                <a:ea typeface="+mn-ea"/>
                <a:cs typeface="+mn-cs"/>
              </a:defRPr>
            </a:lvl1pPr>
            <a:lvl2pPr marL="630238" indent="-274638" algn="l" defTabSz="914400" rtl="0" eaLnBrk="1" latinLnBrk="0" hangingPunct="1">
              <a:lnSpc>
                <a:spcPct val="100000"/>
              </a:lnSpc>
              <a:spcBef>
                <a:spcPts val="600"/>
              </a:spcBef>
              <a:buClr>
                <a:schemeClr val="tx1">
                  <a:lumMod val="60000"/>
                  <a:lumOff val="40000"/>
                </a:schemeClr>
              </a:buClr>
              <a:buSzPct val="40000"/>
              <a:buFontTx/>
              <a:buBlip>
                <a:blip r:embed="rId7"/>
              </a:buBlip>
              <a:defRPr sz="1800" kern="1200">
                <a:solidFill>
                  <a:schemeClr val="tx1"/>
                </a:solidFill>
                <a:latin typeface="+mn-lt"/>
                <a:ea typeface="+mn-ea"/>
                <a:cs typeface="+mn-cs"/>
              </a:defRPr>
            </a:lvl2pPr>
            <a:lvl3pPr marL="7207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893763" indent="0" algn="l" defTabSz="914400" rtl="0" eaLnBrk="1" latinLnBrk="0" hangingPunct="1">
              <a:lnSpc>
                <a:spcPct val="100000"/>
              </a:lnSpc>
              <a:spcBef>
                <a:spcPts val="600"/>
              </a:spcBef>
              <a:buFont typeface="Arial" panose="020B0604020202020204" pitchFamily="34" charset="0"/>
              <a:buNone/>
              <a:defRPr sz="120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fr-FR" altLang="fr-FR" dirty="0"/>
              <a:t>Développer l’</a:t>
            </a:r>
            <a:r>
              <a:rPr lang="fr-FR" altLang="fr-FR" b="1" dirty="0">
                <a:solidFill>
                  <a:schemeClr val="accent1"/>
                </a:solidFill>
              </a:rPr>
              <a:t>esprit d’équipe </a:t>
            </a:r>
            <a:r>
              <a:rPr lang="fr-FR" altLang="fr-FR" dirty="0"/>
              <a:t>et la </a:t>
            </a:r>
            <a:r>
              <a:rPr lang="fr-FR" altLang="fr-FR" b="1" dirty="0">
                <a:solidFill>
                  <a:schemeClr val="accent1"/>
                </a:solidFill>
              </a:rPr>
              <a:t>communication </a:t>
            </a:r>
            <a:r>
              <a:rPr lang="fr-FR" altLang="fr-FR" dirty="0"/>
              <a:t>- évènement commun, fédérateur et récurrent</a:t>
            </a:r>
          </a:p>
          <a:p>
            <a:pPr algn="just"/>
            <a:endParaRPr lang="fr-FR" altLang="fr-FR" dirty="0"/>
          </a:p>
          <a:p>
            <a:pPr algn="just"/>
            <a:r>
              <a:rPr lang="fr-FR" altLang="fr-FR" b="1" dirty="0">
                <a:solidFill>
                  <a:schemeClr val="accent1"/>
                </a:solidFill>
              </a:rPr>
              <a:t>Aligner l’équipe </a:t>
            </a:r>
            <a:r>
              <a:rPr lang="fr-FR" altLang="fr-FR" dirty="0"/>
              <a:t>autour d’une vision partagée sur laquelle elle s’engage</a:t>
            </a:r>
          </a:p>
          <a:p>
            <a:pPr marL="0" indent="0" algn="just">
              <a:buNone/>
            </a:pPr>
            <a:endParaRPr lang="fr-FR" altLang="fr-FR" dirty="0"/>
          </a:p>
          <a:p>
            <a:pPr algn="just"/>
            <a:r>
              <a:rPr lang="fr-FR" altLang="fr-FR" dirty="0"/>
              <a:t>Mieux </a:t>
            </a:r>
            <a:r>
              <a:rPr lang="fr-FR" altLang="fr-FR" b="1" dirty="0">
                <a:solidFill>
                  <a:schemeClr val="accent1"/>
                </a:solidFill>
              </a:rPr>
              <a:t>identifier et gérer les dépendances </a:t>
            </a:r>
            <a:r>
              <a:rPr lang="fr-FR" altLang="fr-FR" dirty="0"/>
              <a:t>(internes et </a:t>
            </a:r>
            <a:r>
              <a:rPr lang="fr-FR" altLang="fr-FR" u="sng" dirty="0"/>
              <a:t>externes</a:t>
            </a:r>
            <a:r>
              <a:rPr lang="fr-FR" altLang="fr-FR" dirty="0"/>
              <a:t> au train)</a:t>
            </a:r>
          </a:p>
        </p:txBody>
      </p:sp>
    </p:spTree>
    <p:extLst>
      <p:ext uri="{BB962C8B-B14F-4D97-AF65-F5344CB8AC3E}">
        <p14:creationId xmlns:p14="http://schemas.microsoft.com/office/powerpoint/2010/main" val="25976040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31</a:t>
            </a:fld>
            <a:endParaRPr lang="fr-FR" dirty="0"/>
          </a:p>
        </p:txBody>
      </p:sp>
      <p:sp>
        <p:nvSpPr>
          <p:cNvPr id="5" name="Espace réservé du texte 4"/>
          <p:cNvSpPr>
            <a:spLocks noGrp="1"/>
          </p:cNvSpPr>
          <p:nvPr>
            <p:ph type="body" idx="1"/>
          </p:nvPr>
        </p:nvSpPr>
        <p:spPr/>
        <p:txBody>
          <a:bodyPr/>
          <a:lstStyle/>
          <a:p>
            <a:r>
              <a:rPr lang="fr-FR" dirty="0"/>
              <a:t>PI Planning - Logistique</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sp>
        <p:nvSpPr>
          <p:cNvPr id="27" name="Espace réservé du texte 6">
            <a:extLst>
              <a:ext uri="{FF2B5EF4-FFF2-40B4-BE49-F238E27FC236}">
                <a16:creationId xmlns:a16="http://schemas.microsoft.com/office/drawing/2014/main" id="{9A07D346-A9CC-429A-9642-40453700E4C3}"/>
              </a:ext>
            </a:extLst>
          </p:cNvPr>
          <p:cNvSpPr txBox="1">
            <a:spLocks/>
          </p:cNvSpPr>
          <p:nvPr/>
        </p:nvSpPr>
        <p:spPr>
          <a:xfrm>
            <a:off x="240892" y="1884904"/>
            <a:ext cx="5564073" cy="3908613"/>
          </a:xfrm>
          <a:prstGeom prst="rect">
            <a:avLst/>
          </a:prstGeom>
        </p:spPr>
        <p:txBody>
          <a:bodyPr vert="horz" lIns="0" tIns="0" rIns="0" bIns="0" rtlCol="0">
            <a:noAutofit/>
          </a:bodyPr>
          <a:lstStyle>
            <a:lvl1pPr marL="355600" indent="-355600" algn="l" defTabSz="914400" rtl="0" eaLnBrk="1" latinLnBrk="0" hangingPunct="1">
              <a:lnSpc>
                <a:spcPct val="100000"/>
              </a:lnSpc>
              <a:spcBef>
                <a:spcPts val="600"/>
              </a:spcBef>
              <a:buClr>
                <a:schemeClr val="tx2"/>
              </a:buClr>
              <a:buSzPct val="60000"/>
              <a:buFontTx/>
              <a:buBlip>
                <a:blip r:embed="rId2"/>
              </a:buBlip>
              <a:defRPr sz="1800" b="1" kern="1200">
                <a:solidFill>
                  <a:schemeClr val="tx1"/>
                </a:solidFill>
                <a:latin typeface="+mn-lt"/>
                <a:ea typeface="+mn-ea"/>
                <a:cs typeface="+mn-cs"/>
              </a:defRPr>
            </a:lvl1pPr>
            <a:lvl2pPr marL="630238" indent="-274638" algn="l" defTabSz="914400" rtl="0" eaLnBrk="1" latinLnBrk="0" hangingPunct="1">
              <a:lnSpc>
                <a:spcPct val="100000"/>
              </a:lnSpc>
              <a:spcBef>
                <a:spcPts val="600"/>
              </a:spcBef>
              <a:buClr>
                <a:schemeClr val="tx1">
                  <a:lumMod val="60000"/>
                  <a:lumOff val="40000"/>
                </a:schemeClr>
              </a:buClr>
              <a:buSzPct val="40000"/>
              <a:buFontTx/>
              <a:buBlip>
                <a:blip r:embed="rId3"/>
              </a:buBlip>
              <a:defRPr sz="1800" kern="1200">
                <a:solidFill>
                  <a:schemeClr val="tx1"/>
                </a:solidFill>
                <a:latin typeface="+mn-lt"/>
                <a:ea typeface="+mn-ea"/>
                <a:cs typeface="+mn-cs"/>
              </a:defRPr>
            </a:lvl2pPr>
            <a:lvl3pPr marL="7207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893763" indent="0" algn="l" defTabSz="914400" rtl="0" eaLnBrk="1" latinLnBrk="0" hangingPunct="1">
              <a:lnSpc>
                <a:spcPct val="100000"/>
              </a:lnSpc>
              <a:spcBef>
                <a:spcPts val="600"/>
              </a:spcBef>
              <a:buFont typeface="Arial" panose="020B0604020202020204" pitchFamily="34" charset="0"/>
              <a:buNone/>
              <a:defRPr sz="120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ltLang="fr-FR" dirty="0"/>
              <a:t>Les équipes sont regroupés par </a:t>
            </a:r>
            <a:r>
              <a:rPr lang="fr-FR" altLang="fr-FR" b="1" dirty="0">
                <a:solidFill>
                  <a:schemeClr val="accent1"/>
                </a:solidFill>
              </a:rPr>
              <a:t>îlots</a:t>
            </a:r>
          </a:p>
          <a:p>
            <a:r>
              <a:rPr lang="fr-FR" altLang="fr-FR" dirty="0"/>
              <a:t>Chaque équipe dispose d’un </a:t>
            </a:r>
            <a:r>
              <a:rPr lang="fr-FR" altLang="fr-FR" b="1" dirty="0">
                <a:solidFill>
                  <a:schemeClr val="accent1"/>
                </a:solidFill>
              </a:rPr>
              <a:t>Project </a:t>
            </a:r>
            <a:r>
              <a:rPr lang="fr-FR" altLang="fr-FR" b="1" dirty="0" err="1">
                <a:solidFill>
                  <a:schemeClr val="accent1"/>
                </a:solidFill>
              </a:rPr>
              <a:t>Board</a:t>
            </a:r>
            <a:endParaRPr lang="fr-FR" altLang="fr-FR" b="1" dirty="0">
              <a:solidFill>
                <a:schemeClr val="accent1"/>
              </a:solidFill>
            </a:endParaRPr>
          </a:p>
          <a:p>
            <a:r>
              <a:rPr lang="fr-FR" altLang="fr-FR" dirty="0"/>
              <a:t>Le Program </a:t>
            </a:r>
            <a:r>
              <a:rPr lang="fr-FR" altLang="fr-FR" dirty="0" err="1"/>
              <a:t>Board</a:t>
            </a:r>
            <a:r>
              <a:rPr lang="fr-FR" altLang="fr-FR" dirty="0"/>
              <a:t> est visible par tous</a:t>
            </a:r>
          </a:p>
          <a:p>
            <a:r>
              <a:rPr lang="fr-FR" altLang="fr-FR" dirty="0"/>
              <a:t>Le Métier est généralement au centre</a:t>
            </a:r>
          </a:p>
          <a:p>
            <a:r>
              <a:rPr lang="fr-FR" altLang="fr-FR" dirty="0"/>
              <a:t>Les </a:t>
            </a:r>
            <a:r>
              <a:rPr lang="fr-FR" altLang="fr-FR" b="1" dirty="0">
                <a:solidFill>
                  <a:schemeClr val="accent1"/>
                </a:solidFill>
              </a:rPr>
              <a:t>échanges directs sont favorisés</a:t>
            </a:r>
          </a:p>
          <a:p>
            <a:r>
              <a:rPr lang="fr-FR" altLang="fr-FR" dirty="0"/>
              <a:t>Se lever de sa chaise est loin d’être interdit !</a:t>
            </a:r>
          </a:p>
        </p:txBody>
      </p:sp>
      <p:grpSp>
        <p:nvGrpSpPr>
          <p:cNvPr id="21" name="Groupe 20">
            <a:extLst>
              <a:ext uri="{FF2B5EF4-FFF2-40B4-BE49-F238E27FC236}">
                <a16:creationId xmlns:a16="http://schemas.microsoft.com/office/drawing/2014/main" id="{E925A120-251E-4FCA-B924-726D52BCE80E}"/>
              </a:ext>
            </a:extLst>
          </p:cNvPr>
          <p:cNvGrpSpPr/>
          <p:nvPr/>
        </p:nvGrpSpPr>
        <p:grpSpPr>
          <a:xfrm rot="19827655">
            <a:off x="7260605" y="2381882"/>
            <a:ext cx="1017064" cy="783567"/>
            <a:chOff x="10119496" y="1449172"/>
            <a:chExt cx="1277771" cy="963196"/>
          </a:xfrm>
        </p:grpSpPr>
        <p:sp>
          <p:nvSpPr>
            <p:cNvPr id="112" name="Rectangle 111">
              <a:extLst>
                <a:ext uri="{FF2B5EF4-FFF2-40B4-BE49-F238E27FC236}">
                  <a16:creationId xmlns:a16="http://schemas.microsoft.com/office/drawing/2014/main" id="{590B7247-390C-4CA7-BDC5-6BB11A6E5792}"/>
                </a:ext>
              </a:extLst>
            </p:cNvPr>
            <p:cNvSpPr/>
            <p:nvPr/>
          </p:nvSpPr>
          <p:spPr>
            <a:xfrm>
              <a:off x="10409503" y="1706673"/>
              <a:ext cx="720080" cy="452019"/>
            </a:xfrm>
            <a:prstGeom prst="rect">
              <a:avLst/>
            </a:prstGeom>
            <a:ln>
              <a:solidFill>
                <a:schemeClr val="accent4"/>
              </a:solidFill>
            </a:ln>
          </p:spPr>
          <p:style>
            <a:lnRef idx="2">
              <a:schemeClr val="accent3"/>
            </a:lnRef>
            <a:fillRef idx="1">
              <a:schemeClr val="lt1"/>
            </a:fillRef>
            <a:effectRef idx="0">
              <a:schemeClr val="accent3"/>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113" name="Ellipse 112">
              <a:extLst>
                <a:ext uri="{FF2B5EF4-FFF2-40B4-BE49-F238E27FC236}">
                  <a16:creationId xmlns:a16="http://schemas.microsoft.com/office/drawing/2014/main" id="{EA50589B-6E95-400F-990E-962356B6DC94}"/>
                </a:ext>
              </a:extLst>
            </p:cNvPr>
            <p:cNvSpPr/>
            <p:nvPr/>
          </p:nvSpPr>
          <p:spPr>
            <a:xfrm>
              <a:off x="10119496" y="1804930"/>
              <a:ext cx="216024" cy="216024"/>
            </a:xfrm>
            <a:prstGeom prst="ellipse">
              <a:avLst/>
            </a:prstGeom>
            <a:ln>
              <a:solidFill>
                <a:schemeClr val="accent4"/>
              </a:solidFill>
            </a:ln>
          </p:spPr>
          <p:style>
            <a:lnRef idx="2">
              <a:schemeClr val="accent3"/>
            </a:lnRef>
            <a:fillRef idx="1">
              <a:schemeClr val="lt1"/>
            </a:fillRef>
            <a:effectRef idx="0">
              <a:schemeClr val="accent3"/>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114" name="Ellipse 113">
              <a:extLst>
                <a:ext uri="{FF2B5EF4-FFF2-40B4-BE49-F238E27FC236}">
                  <a16:creationId xmlns:a16="http://schemas.microsoft.com/office/drawing/2014/main" id="{2FCCB128-19D0-43E8-8366-7EF9B9F0F813}"/>
                </a:ext>
              </a:extLst>
            </p:cNvPr>
            <p:cNvSpPr/>
            <p:nvPr/>
          </p:nvSpPr>
          <p:spPr>
            <a:xfrm>
              <a:off x="10416150" y="1449172"/>
              <a:ext cx="216024" cy="216024"/>
            </a:xfrm>
            <a:prstGeom prst="ellipse">
              <a:avLst/>
            </a:prstGeom>
            <a:ln>
              <a:solidFill>
                <a:schemeClr val="accent4"/>
              </a:solidFill>
            </a:ln>
          </p:spPr>
          <p:style>
            <a:lnRef idx="2">
              <a:schemeClr val="accent3"/>
            </a:lnRef>
            <a:fillRef idx="1">
              <a:schemeClr val="lt1"/>
            </a:fillRef>
            <a:effectRef idx="0">
              <a:schemeClr val="accent3"/>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115" name="Ellipse 114">
              <a:extLst>
                <a:ext uri="{FF2B5EF4-FFF2-40B4-BE49-F238E27FC236}">
                  <a16:creationId xmlns:a16="http://schemas.microsoft.com/office/drawing/2014/main" id="{1E4BCE6D-80C1-46E8-855E-CEF31DA98F6F}"/>
                </a:ext>
              </a:extLst>
            </p:cNvPr>
            <p:cNvSpPr/>
            <p:nvPr/>
          </p:nvSpPr>
          <p:spPr>
            <a:xfrm>
              <a:off x="10833089" y="2196344"/>
              <a:ext cx="216024" cy="216024"/>
            </a:xfrm>
            <a:prstGeom prst="ellipse">
              <a:avLst/>
            </a:prstGeom>
            <a:ln>
              <a:solidFill>
                <a:schemeClr val="accent4"/>
              </a:solidFill>
            </a:ln>
          </p:spPr>
          <p:style>
            <a:lnRef idx="2">
              <a:schemeClr val="accent3"/>
            </a:lnRef>
            <a:fillRef idx="1">
              <a:schemeClr val="lt1"/>
            </a:fillRef>
            <a:effectRef idx="0">
              <a:schemeClr val="accent3"/>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116" name="Ellipse 115">
              <a:extLst>
                <a:ext uri="{FF2B5EF4-FFF2-40B4-BE49-F238E27FC236}">
                  <a16:creationId xmlns:a16="http://schemas.microsoft.com/office/drawing/2014/main" id="{C92A4062-1DE1-4039-AB74-A9B330A54833}"/>
                </a:ext>
              </a:extLst>
            </p:cNvPr>
            <p:cNvSpPr/>
            <p:nvPr/>
          </p:nvSpPr>
          <p:spPr>
            <a:xfrm>
              <a:off x="10418269" y="2189834"/>
              <a:ext cx="216024" cy="216024"/>
            </a:xfrm>
            <a:prstGeom prst="ellipse">
              <a:avLst/>
            </a:prstGeom>
            <a:ln>
              <a:solidFill>
                <a:schemeClr val="accent4"/>
              </a:solidFill>
            </a:ln>
          </p:spPr>
          <p:style>
            <a:lnRef idx="2">
              <a:schemeClr val="accent3"/>
            </a:lnRef>
            <a:fillRef idx="1">
              <a:schemeClr val="lt1"/>
            </a:fillRef>
            <a:effectRef idx="0">
              <a:schemeClr val="accent3"/>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117" name="Ellipse 116">
              <a:extLst>
                <a:ext uri="{FF2B5EF4-FFF2-40B4-BE49-F238E27FC236}">
                  <a16:creationId xmlns:a16="http://schemas.microsoft.com/office/drawing/2014/main" id="{52CCC7C2-048E-4921-A1E0-E940F1940901}"/>
                </a:ext>
              </a:extLst>
            </p:cNvPr>
            <p:cNvSpPr/>
            <p:nvPr/>
          </p:nvSpPr>
          <p:spPr>
            <a:xfrm>
              <a:off x="10797413" y="1453178"/>
              <a:ext cx="216024" cy="216024"/>
            </a:xfrm>
            <a:prstGeom prst="ellipse">
              <a:avLst/>
            </a:prstGeom>
            <a:ln>
              <a:solidFill>
                <a:schemeClr val="accent4"/>
              </a:solidFill>
            </a:ln>
          </p:spPr>
          <p:style>
            <a:lnRef idx="2">
              <a:schemeClr val="accent3"/>
            </a:lnRef>
            <a:fillRef idx="1">
              <a:schemeClr val="lt1"/>
            </a:fillRef>
            <a:effectRef idx="0">
              <a:schemeClr val="accent3"/>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118" name="Ellipse 117">
              <a:extLst>
                <a:ext uri="{FF2B5EF4-FFF2-40B4-BE49-F238E27FC236}">
                  <a16:creationId xmlns:a16="http://schemas.microsoft.com/office/drawing/2014/main" id="{770B8CD6-5E42-47B0-AC68-73D42A56E277}"/>
                </a:ext>
              </a:extLst>
            </p:cNvPr>
            <p:cNvSpPr/>
            <p:nvPr/>
          </p:nvSpPr>
          <p:spPr>
            <a:xfrm>
              <a:off x="11181243" y="1824670"/>
              <a:ext cx="216024" cy="216024"/>
            </a:xfrm>
            <a:prstGeom prst="ellipse">
              <a:avLst/>
            </a:prstGeom>
            <a:ln>
              <a:solidFill>
                <a:schemeClr val="accent4"/>
              </a:solidFill>
            </a:ln>
          </p:spPr>
          <p:style>
            <a:lnRef idx="2">
              <a:schemeClr val="accent3"/>
            </a:lnRef>
            <a:fillRef idx="1">
              <a:schemeClr val="lt1"/>
            </a:fillRef>
            <a:effectRef idx="0">
              <a:schemeClr val="accent3"/>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grpSp>
      <p:grpSp>
        <p:nvGrpSpPr>
          <p:cNvPr id="24" name="Groupe 23">
            <a:extLst>
              <a:ext uri="{FF2B5EF4-FFF2-40B4-BE49-F238E27FC236}">
                <a16:creationId xmlns:a16="http://schemas.microsoft.com/office/drawing/2014/main" id="{B0B82681-C024-4544-B041-62112A463C70}"/>
              </a:ext>
            </a:extLst>
          </p:cNvPr>
          <p:cNvGrpSpPr/>
          <p:nvPr/>
        </p:nvGrpSpPr>
        <p:grpSpPr>
          <a:xfrm rot="19827655">
            <a:off x="7381755" y="3347367"/>
            <a:ext cx="1017064" cy="783567"/>
            <a:chOff x="10119496" y="1449172"/>
            <a:chExt cx="1277771" cy="963196"/>
          </a:xfrm>
        </p:grpSpPr>
        <p:sp>
          <p:nvSpPr>
            <p:cNvPr id="105" name="Rectangle 104">
              <a:extLst>
                <a:ext uri="{FF2B5EF4-FFF2-40B4-BE49-F238E27FC236}">
                  <a16:creationId xmlns:a16="http://schemas.microsoft.com/office/drawing/2014/main" id="{4331A5EA-1A2E-44F0-8706-EE8B3F45E987}"/>
                </a:ext>
              </a:extLst>
            </p:cNvPr>
            <p:cNvSpPr/>
            <p:nvPr/>
          </p:nvSpPr>
          <p:spPr>
            <a:xfrm>
              <a:off x="10409503" y="1706673"/>
              <a:ext cx="720080" cy="452019"/>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106" name="Ellipse 105">
              <a:extLst>
                <a:ext uri="{FF2B5EF4-FFF2-40B4-BE49-F238E27FC236}">
                  <a16:creationId xmlns:a16="http://schemas.microsoft.com/office/drawing/2014/main" id="{66DA2945-3D1E-4442-895F-B1D0D95CA9CD}"/>
                </a:ext>
              </a:extLst>
            </p:cNvPr>
            <p:cNvSpPr/>
            <p:nvPr/>
          </p:nvSpPr>
          <p:spPr>
            <a:xfrm>
              <a:off x="10119496" y="1804930"/>
              <a:ext cx="216024" cy="216024"/>
            </a:xfrm>
            <a:prstGeom prst="ellipse">
              <a:avLst/>
            </a:prstGeom>
            <a:ln/>
          </p:spPr>
          <p:style>
            <a:lnRef idx="2">
              <a:schemeClr val="accent5"/>
            </a:lnRef>
            <a:fillRef idx="1">
              <a:schemeClr val="lt1"/>
            </a:fillRef>
            <a:effectRef idx="0">
              <a:schemeClr val="accent5"/>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107" name="Ellipse 106">
              <a:extLst>
                <a:ext uri="{FF2B5EF4-FFF2-40B4-BE49-F238E27FC236}">
                  <a16:creationId xmlns:a16="http://schemas.microsoft.com/office/drawing/2014/main" id="{65A5AAAD-C01E-4122-9E96-65FD8996042B}"/>
                </a:ext>
              </a:extLst>
            </p:cNvPr>
            <p:cNvSpPr/>
            <p:nvPr/>
          </p:nvSpPr>
          <p:spPr>
            <a:xfrm>
              <a:off x="10416150" y="1449172"/>
              <a:ext cx="216024" cy="216024"/>
            </a:xfrm>
            <a:prstGeom prst="ellipse">
              <a:avLst/>
            </a:prstGeom>
            <a:ln/>
          </p:spPr>
          <p:style>
            <a:lnRef idx="2">
              <a:schemeClr val="accent5"/>
            </a:lnRef>
            <a:fillRef idx="1">
              <a:schemeClr val="lt1"/>
            </a:fillRef>
            <a:effectRef idx="0">
              <a:schemeClr val="accent5"/>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108" name="Ellipse 107">
              <a:extLst>
                <a:ext uri="{FF2B5EF4-FFF2-40B4-BE49-F238E27FC236}">
                  <a16:creationId xmlns:a16="http://schemas.microsoft.com/office/drawing/2014/main" id="{8D51754A-5FC3-49AF-8B31-6FCFBC477A53}"/>
                </a:ext>
              </a:extLst>
            </p:cNvPr>
            <p:cNvSpPr/>
            <p:nvPr/>
          </p:nvSpPr>
          <p:spPr>
            <a:xfrm>
              <a:off x="10833089" y="2196344"/>
              <a:ext cx="216024" cy="216024"/>
            </a:xfrm>
            <a:prstGeom prst="ellipse">
              <a:avLst/>
            </a:prstGeom>
            <a:ln/>
          </p:spPr>
          <p:style>
            <a:lnRef idx="2">
              <a:schemeClr val="accent5"/>
            </a:lnRef>
            <a:fillRef idx="1">
              <a:schemeClr val="lt1"/>
            </a:fillRef>
            <a:effectRef idx="0">
              <a:schemeClr val="accent5"/>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109" name="Ellipse 108">
              <a:extLst>
                <a:ext uri="{FF2B5EF4-FFF2-40B4-BE49-F238E27FC236}">
                  <a16:creationId xmlns:a16="http://schemas.microsoft.com/office/drawing/2014/main" id="{5B55E885-2E8C-489A-BA88-36C11A86DD19}"/>
                </a:ext>
              </a:extLst>
            </p:cNvPr>
            <p:cNvSpPr/>
            <p:nvPr/>
          </p:nvSpPr>
          <p:spPr>
            <a:xfrm>
              <a:off x="10418269" y="2189834"/>
              <a:ext cx="216024" cy="216024"/>
            </a:xfrm>
            <a:prstGeom prst="ellipse">
              <a:avLst/>
            </a:prstGeom>
            <a:ln/>
          </p:spPr>
          <p:style>
            <a:lnRef idx="2">
              <a:schemeClr val="accent5"/>
            </a:lnRef>
            <a:fillRef idx="1">
              <a:schemeClr val="lt1"/>
            </a:fillRef>
            <a:effectRef idx="0">
              <a:schemeClr val="accent5"/>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110" name="Ellipse 109">
              <a:extLst>
                <a:ext uri="{FF2B5EF4-FFF2-40B4-BE49-F238E27FC236}">
                  <a16:creationId xmlns:a16="http://schemas.microsoft.com/office/drawing/2014/main" id="{3A0823F5-6CE6-499F-99B6-6E1D5C2F8FC2}"/>
                </a:ext>
              </a:extLst>
            </p:cNvPr>
            <p:cNvSpPr/>
            <p:nvPr/>
          </p:nvSpPr>
          <p:spPr>
            <a:xfrm>
              <a:off x="10797413" y="1453178"/>
              <a:ext cx="216024" cy="216024"/>
            </a:xfrm>
            <a:prstGeom prst="ellipse">
              <a:avLst/>
            </a:prstGeom>
            <a:ln/>
          </p:spPr>
          <p:style>
            <a:lnRef idx="2">
              <a:schemeClr val="accent5"/>
            </a:lnRef>
            <a:fillRef idx="1">
              <a:schemeClr val="lt1"/>
            </a:fillRef>
            <a:effectRef idx="0">
              <a:schemeClr val="accent5"/>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111" name="Ellipse 110">
              <a:extLst>
                <a:ext uri="{FF2B5EF4-FFF2-40B4-BE49-F238E27FC236}">
                  <a16:creationId xmlns:a16="http://schemas.microsoft.com/office/drawing/2014/main" id="{A21279CA-A100-4D7D-8FF2-8577C60B4A2D}"/>
                </a:ext>
              </a:extLst>
            </p:cNvPr>
            <p:cNvSpPr/>
            <p:nvPr/>
          </p:nvSpPr>
          <p:spPr>
            <a:xfrm>
              <a:off x="11181243" y="1824670"/>
              <a:ext cx="216024" cy="216024"/>
            </a:xfrm>
            <a:prstGeom prst="ellipse">
              <a:avLst/>
            </a:prstGeom>
            <a:ln/>
          </p:spPr>
          <p:style>
            <a:lnRef idx="2">
              <a:schemeClr val="accent5"/>
            </a:lnRef>
            <a:fillRef idx="1">
              <a:schemeClr val="lt1"/>
            </a:fillRef>
            <a:effectRef idx="0">
              <a:schemeClr val="accent5"/>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grpSp>
      <p:grpSp>
        <p:nvGrpSpPr>
          <p:cNvPr id="26" name="Groupe 25">
            <a:extLst>
              <a:ext uri="{FF2B5EF4-FFF2-40B4-BE49-F238E27FC236}">
                <a16:creationId xmlns:a16="http://schemas.microsoft.com/office/drawing/2014/main" id="{7CE7665D-2AF9-43ED-9234-E6C468ED41F5}"/>
              </a:ext>
            </a:extLst>
          </p:cNvPr>
          <p:cNvGrpSpPr/>
          <p:nvPr/>
        </p:nvGrpSpPr>
        <p:grpSpPr>
          <a:xfrm rot="19827655">
            <a:off x="7509225" y="4297115"/>
            <a:ext cx="1017064" cy="783567"/>
            <a:chOff x="10119496" y="1449172"/>
            <a:chExt cx="1277771" cy="963196"/>
          </a:xfrm>
        </p:grpSpPr>
        <p:sp>
          <p:nvSpPr>
            <p:cNvPr id="98" name="Rectangle 97">
              <a:extLst>
                <a:ext uri="{FF2B5EF4-FFF2-40B4-BE49-F238E27FC236}">
                  <a16:creationId xmlns:a16="http://schemas.microsoft.com/office/drawing/2014/main" id="{3941845B-4290-48FC-BFF1-94C805B0BF4F}"/>
                </a:ext>
              </a:extLst>
            </p:cNvPr>
            <p:cNvSpPr/>
            <p:nvPr/>
          </p:nvSpPr>
          <p:spPr>
            <a:xfrm>
              <a:off x="10409503" y="1706673"/>
              <a:ext cx="720080" cy="452019"/>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99" name="Ellipse 98">
              <a:extLst>
                <a:ext uri="{FF2B5EF4-FFF2-40B4-BE49-F238E27FC236}">
                  <a16:creationId xmlns:a16="http://schemas.microsoft.com/office/drawing/2014/main" id="{8C22F3B1-B0A1-40E4-B981-C91539615FC7}"/>
                </a:ext>
              </a:extLst>
            </p:cNvPr>
            <p:cNvSpPr/>
            <p:nvPr/>
          </p:nvSpPr>
          <p:spPr>
            <a:xfrm>
              <a:off x="10119496" y="1804930"/>
              <a:ext cx="216024" cy="216024"/>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100" name="Ellipse 99">
              <a:extLst>
                <a:ext uri="{FF2B5EF4-FFF2-40B4-BE49-F238E27FC236}">
                  <a16:creationId xmlns:a16="http://schemas.microsoft.com/office/drawing/2014/main" id="{21E6FF20-122A-4D69-B57A-8DCF2B5BAB49}"/>
                </a:ext>
              </a:extLst>
            </p:cNvPr>
            <p:cNvSpPr/>
            <p:nvPr/>
          </p:nvSpPr>
          <p:spPr>
            <a:xfrm>
              <a:off x="10416150" y="1449172"/>
              <a:ext cx="216024" cy="216024"/>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101" name="Ellipse 100">
              <a:extLst>
                <a:ext uri="{FF2B5EF4-FFF2-40B4-BE49-F238E27FC236}">
                  <a16:creationId xmlns:a16="http://schemas.microsoft.com/office/drawing/2014/main" id="{EF1E3DF6-688C-4183-A3E2-2AD7EBAD7D9B}"/>
                </a:ext>
              </a:extLst>
            </p:cNvPr>
            <p:cNvSpPr/>
            <p:nvPr/>
          </p:nvSpPr>
          <p:spPr>
            <a:xfrm>
              <a:off x="10833089" y="2196344"/>
              <a:ext cx="216024" cy="216024"/>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102" name="Ellipse 101">
              <a:extLst>
                <a:ext uri="{FF2B5EF4-FFF2-40B4-BE49-F238E27FC236}">
                  <a16:creationId xmlns:a16="http://schemas.microsoft.com/office/drawing/2014/main" id="{24B094A7-0B89-459D-A941-B46FF0A8AD68}"/>
                </a:ext>
              </a:extLst>
            </p:cNvPr>
            <p:cNvSpPr/>
            <p:nvPr/>
          </p:nvSpPr>
          <p:spPr>
            <a:xfrm>
              <a:off x="10418269" y="2189834"/>
              <a:ext cx="216024" cy="216024"/>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103" name="Ellipse 102">
              <a:extLst>
                <a:ext uri="{FF2B5EF4-FFF2-40B4-BE49-F238E27FC236}">
                  <a16:creationId xmlns:a16="http://schemas.microsoft.com/office/drawing/2014/main" id="{D74C04D9-93C5-4562-8D37-AABCDC6E0A7A}"/>
                </a:ext>
              </a:extLst>
            </p:cNvPr>
            <p:cNvSpPr/>
            <p:nvPr/>
          </p:nvSpPr>
          <p:spPr>
            <a:xfrm>
              <a:off x="10797413" y="1453178"/>
              <a:ext cx="216024" cy="216024"/>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104" name="Ellipse 103">
              <a:extLst>
                <a:ext uri="{FF2B5EF4-FFF2-40B4-BE49-F238E27FC236}">
                  <a16:creationId xmlns:a16="http://schemas.microsoft.com/office/drawing/2014/main" id="{F2EE74B8-CD67-4823-8700-8E4E7889F239}"/>
                </a:ext>
              </a:extLst>
            </p:cNvPr>
            <p:cNvSpPr/>
            <p:nvPr/>
          </p:nvSpPr>
          <p:spPr>
            <a:xfrm>
              <a:off x="11181243" y="1824670"/>
              <a:ext cx="216024" cy="216024"/>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grpSp>
      <p:grpSp>
        <p:nvGrpSpPr>
          <p:cNvPr id="28" name="Groupe 27">
            <a:extLst>
              <a:ext uri="{FF2B5EF4-FFF2-40B4-BE49-F238E27FC236}">
                <a16:creationId xmlns:a16="http://schemas.microsoft.com/office/drawing/2014/main" id="{0740D0FE-BB4B-46B9-B76E-2ABBA4F6792A}"/>
              </a:ext>
            </a:extLst>
          </p:cNvPr>
          <p:cNvGrpSpPr/>
          <p:nvPr/>
        </p:nvGrpSpPr>
        <p:grpSpPr>
          <a:xfrm rot="19827655">
            <a:off x="8756593" y="4238042"/>
            <a:ext cx="1017064" cy="783567"/>
            <a:chOff x="10119496" y="1449172"/>
            <a:chExt cx="1277771" cy="963196"/>
          </a:xfrm>
        </p:grpSpPr>
        <p:sp>
          <p:nvSpPr>
            <p:cNvPr id="91" name="Rectangle 90">
              <a:extLst>
                <a:ext uri="{FF2B5EF4-FFF2-40B4-BE49-F238E27FC236}">
                  <a16:creationId xmlns:a16="http://schemas.microsoft.com/office/drawing/2014/main" id="{F33666F3-AB64-4797-9C7F-329426F57648}"/>
                </a:ext>
              </a:extLst>
            </p:cNvPr>
            <p:cNvSpPr/>
            <p:nvPr/>
          </p:nvSpPr>
          <p:spPr>
            <a:xfrm>
              <a:off x="10409503" y="1706673"/>
              <a:ext cx="720080" cy="452019"/>
            </a:xfrm>
            <a:prstGeom prst="rect">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92" name="Ellipse 91">
              <a:extLst>
                <a:ext uri="{FF2B5EF4-FFF2-40B4-BE49-F238E27FC236}">
                  <a16:creationId xmlns:a16="http://schemas.microsoft.com/office/drawing/2014/main" id="{1E0D4BF1-C6E0-4C9C-A331-1921B7622CA1}"/>
                </a:ext>
              </a:extLst>
            </p:cNvPr>
            <p:cNvSpPr/>
            <p:nvPr/>
          </p:nvSpPr>
          <p:spPr>
            <a:xfrm>
              <a:off x="10119496" y="1804930"/>
              <a:ext cx="216024" cy="216024"/>
            </a:xfrm>
            <a:prstGeom prst="ellipse">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93" name="Ellipse 92">
              <a:extLst>
                <a:ext uri="{FF2B5EF4-FFF2-40B4-BE49-F238E27FC236}">
                  <a16:creationId xmlns:a16="http://schemas.microsoft.com/office/drawing/2014/main" id="{CD7AAA80-43A0-402A-83B2-E89C10DD8767}"/>
                </a:ext>
              </a:extLst>
            </p:cNvPr>
            <p:cNvSpPr/>
            <p:nvPr/>
          </p:nvSpPr>
          <p:spPr>
            <a:xfrm>
              <a:off x="10416150" y="1449172"/>
              <a:ext cx="216024" cy="216024"/>
            </a:xfrm>
            <a:prstGeom prst="ellipse">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94" name="Ellipse 93">
              <a:extLst>
                <a:ext uri="{FF2B5EF4-FFF2-40B4-BE49-F238E27FC236}">
                  <a16:creationId xmlns:a16="http://schemas.microsoft.com/office/drawing/2014/main" id="{1CF0675D-FBA6-4CD1-A4C5-CC699C0890BC}"/>
                </a:ext>
              </a:extLst>
            </p:cNvPr>
            <p:cNvSpPr/>
            <p:nvPr/>
          </p:nvSpPr>
          <p:spPr>
            <a:xfrm>
              <a:off x="10833089" y="2196344"/>
              <a:ext cx="216024" cy="216024"/>
            </a:xfrm>
            <a:prstGeom prst="ellipse">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95" name="Ellipse 94">
              <a:extLst>
                <a:ext uri="{FF2B5EF4-FFF2-40B4-BE49-F238E27FC236}">
                  <a16:creationId xmlns:a16="http://schemas.microsoft.com/office/drawing/2014/main" id="{C433041E-4023-42C8-B42A-4545700AD20E}"/>
                </a:ext>
              </a:extLst>
            </p:cNvPr>
            <p:cNvSpPr/>
            <p:nvPr/>
          </p:nvSpPr>
          <p:spPr>
            <a:xfrm>
              <a:off x="10418269" y="2189834"/>
              <a:ext cx="216024" cy="216024"/>
            </a:xfrm>
            <a:prstGeom prst="ellipse">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96" name="Ellipse 95">
              <a:extLst>
                <a:ext uri="{FF2B5EF4-FFF2-40B4-BE49-F238E27FC236}">
                  <a16:creationId xmlns:a16="http://schemas.microsoft.com/office/drawing/2014/main" id="{5030C594-4162-4279-AA5A-F61BFF7EE76A}"/>
                </a:ext>
              </a:extLst>
            </p:cNvPr>
            <p:cNvSpPr/>
            <p:nvPr/>
          </p:nvSpPr>
          <p:spPr>
            <a:xfrm>
              <a:off x="10797413" y="1453178"/>
              <a:ext cx="216024" cy="216024"/>
            </a:xfrm>
            <a:prstGeom prst="ellipse">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97" name="Ellipse 96">
              <a:extLst>
                <a:ext uri="{FF2B5EF4-FFF2-40B4-BE49-F238E27FC236}">
                  <a16:creationId xmlns:a16="http://schemas.microsoft.com/office/drawing/2014/main" id="{A7D2EC61-226F-469E-842D-CAC70E79CA99}"/>
                </a:ext>
              </a:extLst>
            </p:cNvPr>
            <p:cNvSpPr/>
            <p:nvPr/>
          </p:nvSpPr>
          <p:spPr>
            <a:xfrm>
              <a:off x="11181243" y="1824670"/>
              <a:ext cx="216024" cy="216024"/>
            </a:xfrm>
            <a:prstGeom prst="ellipse">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grpSp>
      <p:grpSp>
        <p:nvGrpSpPr>
          <p:cNvPr id="29" name="Groupe 28">
            <a:extLst>
              <a:ext uri="{FF2B5EF4-FFF2-40B4-BE49-F238E27FC236}">
                <a16:creationId xmlns:a16="http://schemas.microsoft.com/office/drawing/2014/main" id="{1412F976-4380-4A7C-BD09-B3DC32D5C610}"/>
              </a:ext>
            </a:extLst>
          </p:cNvPr>
          <p:cNvGrpSpPr/>
          <p:nvPr/>
        </p:nvGrpSpPr>
        <p:grpSpPr>
          <a:xfrm rot="19827655">
            <a:off x="9878703" y="4199574"/>
            <a:ext cx="1017064" cy="783567"/>
            <a:chOff x="10119496" y="1449172"/>
            <a:chExt cx="1277771" cy="963196"/>
          </a:xfrm>
        </p:grpSpPr>
        <p:sp>
          <p:nvSpPr>
            <p:cNvPr id="84" name="Rectangle 83">
              <a:extLst>
                <a:ext uri="{FF2B5EF4-FFF2-40B4-BE49-F238E27FC236}">
                  <a16:creationId xmlns:a16="http://schemas.microsoft.com/office/drawing/2014/main" id="{B184BB28-2107-4C2F-9C63-A1F98397CE31}"/>
                </a:ext>
              </a:extLst>
            </p:cNvPr>
            <p:cNvSpPr/>
            <p:nvPr/>
          </p:nvSpPr>
          <p:spPr>
            <a:xfrm>
              <a:off x="10409503" y="1706673"/>
              <a:ext cx="720080" cy="45201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85" name="Ellipse 84">
              <a:extLst>
                <a:ext uri="{FF2B5EF4-FFF2-40B4-BE49-F238E27FC236}">
                  <a16:creationId xmlns:a16="http://schemas.microsoft.com/office/drawing/2014/main" id="{4600A730-7A8E-4E59-9166-0AD9845EBBE9}"/>
                </a:ext>
              </a:extLst>
            </p:cNvPr>
            <p:cNvSpPr/>
            <p:nvPr/>
          </p:nvSpPr>
          <p:spPr>
            <a:xfrm>
              <a:off x="10119496" y="1804930"/>
              <a:ext cx="216024" cy="216024"/>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86" name="Ellipse 85">
              <a:extLst>
                <a:ext uri="{FF2B5EF4-FFF2-40B4-BE49-F238E27FC236}">
                  <a16:creationId xmlns:a16="http://schemas.microsoft.com/office/drawing/2014/main" id="{0C673799-9702-4964-9108-722FEC84198E}"/>
                </a:ext>
              </a:extLst>
            </p:cNvPr>
            <p:cNvSpPr/>
            <p:nvPr/>
          </p:nvSpPr>
          <p:spPr>
            <a:xfrm>
              <a:off x="10416150" y="1449172"/>
              <a:ext cx="216024" cy="216024"/>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87" name="Ellipse 86">
              <a:extLst>
                <a:ext uri="{FF2B5EF4-FFF2-40B4-BE49-F238E27FC236}">
                  <a16:creationId xmlns:a16="http://schemas.microsoft.com/office/drawing/2014/main" id="{07EB659E-76C5-404B-937E-EDD5AF1117A6}"/>
                </a:ext>
              </a:extLst>
            </p:cNvPr>
            <p:cNvSpPr/>
            <p:nvPr/>
          </p:nvSpPr>
          <p:spPr>
            <a:xfrm>
              <a:off x="10833089" y="2196344"/>
              <a:ext cx="216024" cy="216024"/>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88" name="Ellipse 87">
              <a:extLst>
                <a:ext uri="{FF2B5EF4-FFF2-40B4-BE49-F238E27FC236}">
                  <a16:creationId xmlns:a16="http://schemas.microsoft.com/office/drawing/2014/main" id="{6CCEBBD1-065F-4B69-BAE5-6B7DA5A27AA5}"/>
                </a:ext>
              </a:extLst>
            </p:cNvPr>
            <p:cNvSpPr/>
            <p:nvPr/>
          </p:nvSpPr>
          <p:spPr>
            <a:xfrm>
              <a:off x="10418269" y="2189834"/>
              <a:ext cx="216024" cy="216024"/>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89" name="Ellipse 88">
              <a:extLst>
                <a:ext uri="{FF2B5EF4-FFF2-40B4-BE49-F238E27FC236}">
                  <a16:creationId xmlns:a16="http://schemas.microsoft.com/office/drawing/2014/main" id="{BA1D9148-0CF4-432C-A350-B3FB4FC527AB}"/>
                </a:ext>
              </a:extLst>
            </p:cNvPr>
            <p:cNvSpPr/>
            <p:nvPr/>
          </p:nvSpPr>
          <p:spPr>
            <a:xfrm>
              <a:off x="10797413" y="1453178"/>
              <a:ext cx="216024" cy="216024"/>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90" name="Ellipse 89">
              <a:extLst>
                <a:ext uri="{FF2B5EF4-FFF2-40B4-BE49-F238E27FC236}">
                  <a16:creationId xmlns:a16="http://schemas.microsoft.com/office/drawing/2014/main" id="{70C7ADB9-7A2D-4F7B-B893-4A59285991B6}"/>
                </a:ext>
              </a:extLst>
            </p:cNvPr>
            <p:cNvSpPr/>
            <p:nvPr/>
          </p:nvSpPr>
          <p:spPr>
            <a:xfrm>
              <a:off x="11181243" y="1824670"/>
              <a:ext cx="216024" cy="216024"/>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grpSp>
      <p:grpSp>
        <p:nvGrpSpPr>
          <p:cNvPr id="30" name="Groupe 29">
            <a:extLst>
              <a:ext uri="{FF2B5EF4-FFF2-40B4-BE49-F238E27FC236}">
                <a16:creationId xmlns:a16="http://schemas.microsoft.com/office/drawing/2014/main" id="{2D924AD1-FDAA-4535-98EF-912CA8A7FF6E}"/>
              </a:ext>
            </a:extLst>
          </p:cNvPr>
          <p:cNvGrpSpPr/>
          <p:nvPr/>
        </p:nvGrpSpPr>
        <p:grpSpPr>
          <a:xfrm rot="19827655">
            <a:off x="9765076" y="3265987"/>
            <a:ext cx="1017064" cy="783567"/>
            <a:chOff x="10119496" y="1449172"/>
            <a:chExt cx="1277771" cy="963196"/>
          </a:xfrm>
        </p:grpSpPr>
        <p:sp>
          <p:nvSpPr>
            <p:cNvPr id="77" name="Rectangle 76">
              <a:extLst>
                <a:ext uri="{FF2B5EF4-FFF2-40B4-BE49-F238E27FC236}">
                  <a16:creationId xmlns:a16="http://schemas.microsoft.com/office/drawing/2014/main" id="{4662115F-0222-4537-997A-9C4E95790806}"/>
                </a:ext>
              </a:extLst>
            </p:cNvPr>
            <p:cNvSpPr/>
            <p:nvPr/>
          </p:nvSpPr>
          <p:spPr>
            <a:xfrm>
              <a:off x="10409503" y="1706673"/>
              <a:ext cx="720080" cy="452019"/>
            </a:xfrm>
            <a:prstGeom prst="rect">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78" name="Ellipse 77">
              <a:extLst>
                <a:ext uri="{FF2B5EF4-FFF2-40B4-BE49-F238E27FC236}">
                  <a16:creationId xmlns:a16="http://schemas.microsoft.com/office/drawing/2014/main" id="{080A8B50-0099-4937-ABCF-D968EB94CA53}"/>
                </a:ext>
              </a:extLst>
            </p:cNvPr>
            <p:cNvSpPr/>
            <p:nvPr/>
          </p:nvSpPr>
          <p:spPr>
            <a:xfrm>
              <a:off x="10119496" y="1804930"/>
              <a:ext cx="216024" cy="216024"/>
            </a:xfrm>
            <a:prstGeom prst="ellipse">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79" name="Ellipse 78">
              <a:extLst>
                <a:ext uri="{FF2B5EF4-FFF2-40B4-BE49-F238E27FC236}">
                  <a16:creationId xmlns:a16="http://schemas.microsoft.com/office/drawing/2014/main" id="{3EB0A931-468B-442C-82E6-616039C75048}"/>
                </a:ext>
              </a:extLst>
            </p:cNvPr>
            <p:cNvSpPr/>
            <p:nvPr/>
          </p:nvSpPr>
          <p:spPr>
            <a:xfrm>
              <a:off x="10416150" y="1449172"/>
              <a:ext cx="216024" cy="216024"/>
            </a:xfrm>
            <a:prstGeom prst="ellipse">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80" name="Ellipse 79">
              <a:extLst>
                <a:ext uri="{FF2B5EF4-FFF2-40B4-BE49-F238E27FC236}">
                  <a16:creationId xmlns:a16="http://schemas.microsoft.com/office/drawing/2014/main" id="{BD1AB9D7-0A8B-4C8A-9A04-2F2543381B25}"/>
                </a:ext>
              </a:extLst>
            </p:cNvPr>
            <p:cNvSpPr/>
            <p:nvPr/>
          </p:nvSpPr>
          <p:spPr>
            <a:xfrm>
              <a:off x="10833089" y="2196344"/>
              <a:ext cx="216024" cy="216024"/>
            </a:xfrm>
            <a:prstGeom prst="ellipse">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81" name="Ellipse 80">
              <a:extLst>
                <a:ext uri="{FF2B5EF4-FFF2-40B4-BE49-F238E27FC236}">
                  <a16:creationId xmlns:a16="http://schemas.microsoft.com/office/drawing/2014/main" id="{88F32FC1-D88B-4E42-A34B-7BA52AFF514A}"/>
                </a:ext>
              </a:extLst>
            </p:cNvPr>
            <p:cNvSpPr/>
            <p:nvPr/>
          </p:nvSpPr>
          <p:spPr>
            <a:xfrm>
              <a:off x="10418269" y="2189834"/>
              <a:ext cx="216024" cy="216024"/>
            </a:xfrm>
            <a:prstGeom prst="ellipse">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82" name="Ellipse 81">
              <a:extLst>
                <a:ext uri="{FF2B5EF4-FFF2-40B4-BE49-F238E27FC236}">
                  <a16:creationId xmlns:a16="http://schemas.microsoft.com/office/drawing/2014/main" id="{39C67F43-FCE5-4A04-A159-8935C309B2F9}"/>
                </a:ext>
              </a:extLst>
            </p:cNvPr>
            <p:cNvSpPr/>
            <p:nvPr/>
          </p:nvSpPr>
          <p:spPr>
            <a:xfrm>
              <a:off x="10797413" y="1453178"/>
              <a:ext cx="216024" cy="216024"/>
            </a:xfrm>
            <a:prstGeom prst="ellipse">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83" name="Ellipse 82">
              <a:extLst>
                <a:ext uri="{FF2B5EF4-FFF2-40B4-BE49-F238E27FC236}">
                  <a16:creationId xmlns:a16="http://schemas.microsoft.com/office/drawing/2014/main" id="{E3518934-1584-4B77-80FA-14F421BE27F5}"/>
                </a:ext>
              </a:extLst>
            </p:cNvPr>
            <p:cNvSpPr/>
            <p:nvPr/>
          </p:nvSpPr>
          <p:spPr>
            <a:xfrm>
              <a:off x="11181243" y="1824670"/>
              <a:ext cx="216024" cy="216024"/>
            </a:xfrm>
            <a:prstGeom prst="ellipse">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grpSp>
      <p:grpSp>
        <p:nvGrpSpPr>
          <p:cNvPr id="31" name="Groupe 30">
            <a:extLst>
              <a:ext uri="{FF2B5EF4-FFF2-40B4-BE49-F238E27FC236}">
                <a16:creationId xmlns:a16="http://schemas.microsoft.com/office/drawing/2014/main" id="{0CDD83DF-E501-4392-9211-FA4FB4ED45F8}"/>
              </a:ext>
            </a:extLst>
          </p:cNvPr>
          <p:cNvGrpSpPr/>
          <p:nvPr/>
        </p:nvGrpSpPr>
        <p:grpSpPr>
          <a:xfrm>
            <a:off x="8455233" y="2984876"/>
            <a:ext cx="1209660" cy="1003719"/>
            <a:chOff x="10131991" y="450957"/>
            <a:chExt cx="1209660" cy="1003719"/>
          </a:xfrm>
        </p:grpSpPr>
        <p:grpSp>
          <p:nvGrpSpPr>
            <p:cNvPr id="65" name="Groupe 64">
              <a:extLst>
                <a:ext uri="{FF2B5EF4-FFF2-40B4-BE49-F238E27FC236}">
                  <a16:creationId xmlns:a16="http://schemas.microsoft.com/office/drawing/2014/main" id="{BC4AD13C-853A-442A-990A-B6F3A2F20790}"/>
                </a:ext>
              </a:extLst>
            </p:cNvPr>
            <p:cNvGrpSpPr/>
            <p:nvPr/>
          </p:nvGrpSpPr>
          <p:grpSpPr>
            <a:xfrm rot="19827655">
              <a:off x="10226916" y="550315"/>
              <a:ext cx="1017064" cy="783567"/>
              <a:chOff x="10119496" y="1449172"/>
              <a:chExt cx="1277771" cy="963196"/>
            </a:xfrm>
          </p:grpSpPr>
          <p:sp>
            <p:nvSpPr>
              <p:cNvPr id="70" name="Rectangle 69">
                <a:extLst>
                  <a:ext uri="{FF2B5EF4-FFF2-40B4-BE49-F238E27FC236}">
                    <a16:creationId xmlns:a16="http://schemas.microsoft.com/office/drawing/2014/main" id="{95990AD3-ED9D-4C9E-AD5A-10F1A4689C6E}"/>
                  </a:ext>
                </a:extLst>
              </p:cNvPr>
              <p:cNvSpPr/>
              <p:nvPr/>
            </p:nvSpPr>
            <p:spPr>
              <a:xfrm>
                <a:off x="10409503" y="1706673"/>
                <a:ext cx="720080" cy="452019"/>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71" name="Ellipse 70">
                <a:extLst>
                  <a:ext uri="{FF2B5EF4-FFF2-40B4-BE49-F238E27FC236}">
                    <a16:creationId xmlns:a16="http://schemas.microsoft.com/office/drawing/2014/main" id="{0B6B8D1B-41A4-4208-AB7D-58842CE2E243}"/>
                  </a:ext>
                </a:extLst>
              </p:cNvPr>
              <p:cNvSpPr/>
              <p:nvPr/>
            </p:nvSpPr>
            <p:spPr>
              <a:xfrm>
                <a:off x="10119496" y="1804930"/>
                <a:ext cx="216024" cy="216024"/>
              </a:xfrm>
              <a:prstGeom prst="ellipse">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a:endParaRPr lang="fr-FR" dirty="0"/>
              </a:p>
            </p:txBody>
          </p:sp>
          <p:sp>
            <p:nvSpPr>
              <p:cNvPr id="72" name="Ellipse 71">
                <a:extLst>
                  <a:ext uri="{FF2B5EF4-FFF2-40B4-BE49-F238E27FC236}">
                    <a16:creationId xmlns:a16="http://schemas.microsoft.com/office/drawing/2014/main" id="{C1670F6C-FD99-47D6-9542-C9243AD3FB81}"/>
                  </a:ext>
                </a:extLst>
              </p:cNvPr>
              <p:cNvSpPr/>
              <p:nvPr/>
            </p:nvSpPr>
            <p:spPr>
              <a:xfrm>
                <a:off x="10416150" y="1449172"/>
                <a:ext cx="216024" cy="216024"/>
              </a:xfrm>
              <a:prstGeom prst="ellipse">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a:endParaRPr lang="fr-FR" dirty="0"/>
              </a:p>
            </p:txBody>
          </p:sp>
          <p:sp>
            <p:nvSpPr>
              <p:cNvPr id="73" name="Ellipse 72">
                <a:extLst>
                  <a:ext uri="{FF2B5EF4-FFF2-40B4-BE49-F238E27FC236}">
                    <a16:creationId xmlns:a16="http://schemas.microsoft.com/office/drawing/2014/main" id="{12CD87E8-1BD7-49D6-B301-393058527709}"/>
                  </a:ext>
                </a:extLst>
              </p:cNvPr>
              <p:cNvSpPr/>
              <p:nvPr/>
            </p:nvSpPr>
            <p:spPr>
              <a:xfrm>
                <a:off x="10833089" y="2196344"/>
                <a:ext cx="216024" cy="216024"/>
              </a:xfrm>
              <a:prstGeom prst="ellipse">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a:endParaRPr lang="fr-FR" dirty="0"/>
              </a:p>
            </p:txBody>
          </p:sp>
          <p:sp>
            <p:nvSpPr>
              <p:cNvPr id="74" name="Ellipse 73">
                <a:extLst>
                  <a:ext uri="{FF2B5EF4-FFF2-40B4-BE49-F238E27FC236}">
                    <a16:creationId xmlns:a16="http://schemas.microsoft.com/office/drawing/2014/main" id="{4F487CB6-9D06-422E-B6F9-927282805C28}"/>
                  </a:ext>
                </a:extLst>
              </p:cNvPr>
              <p:cNvSpPr/>
              <p:nvPr/>
            </p:nvSpPr>
            <p:spPr>
              <a:xfrm>
                <a:off x="10418269" y="2189834"/>
                <a:ext cx="216024" cy="216024"/>
              </a:xfrm>
              <a:prstGeom prst="ellipse">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a:endParaRPr lang="fr-FR" dirty="0"/>
              </a:p>
            </p:txBody>
          </p:sp>
          <p:sp>
            <p:nvSpPr>
              <p:cNvPr id="75" name="Ellipse 74">
                <a:extLst>
                  <a:ext uri="{FF2B5EF4-FFF2-40B4-BE49-F238E27FC236}">
                    <a16:creationId xmlns:a16="http://schemas.microsoft.com/office/drawing/2014/main" id="{208A2911-F848-4E5E-B605-D5E78456DF21}"/>
                  </a:ext>
                </a:extLst>
              </p:cNvPr>
              <p:cNvSpPr/>
              <p:nvPr/>
            </p:nvSpPr>
            <p:spPr>
              <a:xfrm>
                <a:off x="10797413" y="1453178"/>
                <a:ext cx="216024" cy="216024"/>
              </a:xfrm>
              <a:prstGeom prst="ellipse">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a:endParaRPr lang="fr-FR" dirty="0"/>
              </a:p>
            </p:txBody>
          </p:sp>
          <p:sp>
            <p:nvSpPr>
              <p:cNvPr id="76" name="Ellipse 75">
                <a:extLst>
                  <a:ext uri="{FF2B5EF4-FFF2-40B4-BE49-F238E27FC236}">
                    <a16:creationId xmlns:a16="http://schemas.microsoft.com/office/drawing/2014/main" id="{2CECB28C-EA24-4ACC-9455-C24C99E69F45}"/>
                  </a:ext>
                </a:extLst>
              </p:cNvPr>
              <p:cNvSpPr/>
              <p:nvPr/>
            </p:nvSpPr>
            <p:spPr>
              <a:xfrm>
                <a:off x="11181243" y="1824670"/>
                <a:ext cx="216024" cy="216024"/>
              </a:xfrm>
              <a:prstGeom prst="ellipse">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a:endParaRPr lang="fr-FR" dirty="0"/>
              </a:p>
            </p:txBody>
          </p:sp>
        </p:grpSp>
        <p:sp>
          <p:nvSpPr>
            <p:cNvPr id="66" name="Ellipse 65">
              <a:extLst>
                <a:ext uri="{FF2B5EF4-FFF2-40B4-BE49-F238E27FC236}">
                  <a16:creationId xmlns:a16="http://schemas.microsoft.com/office/drawing/2014/main" id="{FE9AB49D-2618-4035-B95A-DE1B38D8AADB}"/>
                </a:ext>
              </a:extLst>
            </p:cNvPr>
            <p:cNvSpPr/>
            <p:nvPr/>
          </p:nvSpPr>
          <p:spPr>
            <a:xfrm rot="19827655">
              <a:off x="10909221" y="450957"/>
              <a:ext cx="171948" cy="175737"/>
            </a:xfrm>
            <a:prstGeom prst="ellipse">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a:endParaRPr lang="fr-FR" dirty="0"/>
            </a:p>
          </p:txBody>
        </p:sp>
        <p:sp>
          <p:nvSpPr>
            <p:cNvPr id="67" name="Ellipse 66">
              <a:extLst>
                <a:ext uri="{FF2B5EF4-FFF2-40B4-BE49-F238E27FC236}">
                  <a16:creationId xmlns:a16="http://schemas.microsoft.com/office/drawing/2014/main" id="{6C44FC03-1BDF-45FD-A5A1-275C391537EA}"/>
                </a:ext>
              </a:extLst>
            </p:cNvPr>
            <p:cNvSpPr/>
            <p:nvPr/>
          </p:nvSpPr>
          <p:spPr>
            <a:xfrm rot="19827655">
              <a:off x="10131991" y="822079"/>
              <a:ext cx="171948" cy="175737"/>
            </a:xfrm>
            <a:prstGeom prst="ellipse">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a:endParaRPr lang="fr-FR" dirty="0"/>
            </a:p>
          </p:txBody>
        </p:sp>
        <p:sp>
          <p:nvSpPr>
            <p:cNvPr id="68" name="Ellipse 67">
              <a:extLst>
                <a:ext uri="{FF2B5EF4-FFF2-40B4-BE49-F238E27FC236}">
                  <a16:creationId xmlns:a16="http://schemas.microsoft.com/office/drawing/2014/main" id="{9A5651DB-8BF5-478A-A1ED-B6C8883525EC}"/>
                </a:ext>
              </a:extLst>
            </p:cNvPr>
            <p:cNvSpPr/>
            <p:nvPr/>
          </p:nvSpPr>
          <p:spPr>
            <a:xfrm rot="19827655">
              <a:off x="10417388" y="1278939"/>
              <a:ext cx="171948" cy="175737"/>
            </a:xfrm>
            <a:prstGeom prst="ellipse">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a:endParaRPr lang="fr-FR" dirty="0"/>
            </a:p>
          </p:txBody>
        </p:sp>
        <p:sp>
          <p:nvSpPr>
            <p:cNvPr id="69" name="Ellipse 68">
              <a:extLst>
                <a:ext uri="{FF2B5EF4-FFF2-40B4-BE49-F238E27FC236}">
                  <a16:creationId xmlns:a16="http://schemas.microsoft.com/office/drawing/2014/main" id="{51875311-5988-404D-ABE7-66C1D2836244}"/>
                </a:ext>
              </a:extLst>
            </p:cNvPr>
            <p:cNvSpPr/>
            <p:nvPr/>
          </p:nvSpPr>
          <p:spPr>
            <a:xfrm rot="19827655">
              <a:off x="11169703" y="887272"/>
              <a:ext cx="171948" cy="175737"/>
            </a:xfrm>
            <a:prstGeom prst="ellipse">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a:endParaRPr lang="fr-FR" dirty="0"/>
            </a:p>
          </p:txBody>
        </p:sp>
      </p:grpSp>
      <p:grpSp>
        <p:nvGrpSpPr>
          <p:cNvPr id="32" name="Groupe 31">
            <a:extLst>
              <a:ext uri="{FF2B5EF4-FFF2-40B4-BE49-F238E27FC236}">
                <a16:creationId xmlns:a16="http://schemas.microsoft.com/office/drawing/2014/main" id="{216B3BD3-FEE3-41D5-AD2F-95EF84F88E42}"/>
              </a:ext>
            </a:extLst>
          </p:cNvPr>
          <p:cNvGrpSpPr/>
          <p:nvPr/>
        </p:nvGrpSpPr>
        <p:grpSpPr>
          <a:xfrm rot="19827655">
            <a:off x="9696551" y="2369761"/>
            <a:ext cx="1017064" cy="783567"/>
            <a:chOff x="10119496" y="1449172"/>
            <a:chExt cx="1277771" cy="963196"/>
          </a:xfrm>
        </p:grpSpPr>
        <p:sp>
          <p:nvSpPr>
            <p:cNvPr id="58" name="Rectangle 57">
              <a:extLst>
                <a:ext uri="{FF2B5EF4-FFF2-40B4-BE49-F238E27FC236}">
                  <a16:creationId xmlns:a16="http://schemas.microsoft.com/office/drawing/2014/main" id="{8FDECAA0-FCD0-4189-94C8-56B0CAD4CB24}"/>
                </a:ext>
              </a:extLst>
            </p:cNvPr>
            <p:cNvSpPr/>
            <p:nvPr/>
          </p:nvSpPr>
          <p:spPr>
            <a:xfrm>
              <a:off x="10409503" y="1706673"/>
              <a:ext cx="720080" cy="452019"/>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59" name="Ellipse 58">
              <a:extLst>
                <a:ext uri="{FF2B5EF4-FFF2-40B4-BE49-F238E27FC236}">
                  <a16:creationId xmlns:a16="http://schemas.microsoft.com/office/drawing/2014/main" id="{B6EB49B4-21F5-42D4-BFF1-A778C8AAE0C8}"/>
                </a:ext>
              </a:extLst>
            </p:cNvPr>
            <p:cNvSpPr/>
            <p:nvPr/>
          </p:nvSpPr>
          <p:spPr>
            <a:xfrm>
              <a:off x="10119496" y="1804930"/>
              <a:ext cx="216024" cy="216024"/>
            </a:xfrm>
            <a:prstGeom prst="ellipse">
              <a:avLst/>
            </a:prstGeom>
            <a:ln/>
          </p:spPr>
          <p:style>
            <a:lnRef idx="2">
              <a:schemeClr val="accent5"/>
            </a:lnRef>
            <a:fillRef idx="1">
              <a:schemeClr val="lt1"/>
            </a:fillRef>
            <a:effectRef idx="0">
              <a:schemeClr val="accent5"/>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60" name="Ellipse 59">
              <a:extLst>
                <a:ext uri="{FF2B5EF4-FFF2-40B4-BE49-F238E27FC236}">
                  <a16:creationId xmlns:a16="http://schemas.microsoft.com/office/drawing/2014/main" id="{B5E3FE42-6FE9-434D-A1FD-D542CA788FED}"/>
                </a:ext>
              </a:extLst>
            </p:cNvPr>
            <p:cNvSpPr/>
            <p:nvPr/>
          </p:nvSpPr>
          <p:spPr>
            <a:xfrm>
              <a:off x="10416150" y="1449172"/>
              <a:ext cx="216024" cy="216024"/>
            </a:xfrm>
            <a:prstGeom prst="ellipse">
              <a:avLst/>
            </a:prstGeom>
            <a:ln/>
          </p:spPr>
          <p:style>
            <a:lnRef idx="2">
              <a:schemeClr val="accent5"/>
            </a:lnRef>
            <a:fillRef idx="1">
              <a:schemeClr val="lt1"/>
            </a:fillRef>
            <a:effectRef idx="0">
              <a:schemeClr val="accent5"/>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61" name="Ellipse 60">
              <a:extLst>
                <a:ext uri="{FF2B5EF4-FFF2-40B4-BE49-F238E27FC236}">
                  <a16:creationId xmlns:a16="http://schemas.microsoft.com/office/drawing/2014/main" id="{F981CE7C-FA23-4C16-962A-A2FE21520A03}"/>
                </a:ext>
              </a:extLst>
            </p:cNvPr>
            <p:cNvSpPr/>
            <p:nvPr/>
          </p:nvSpPr>
          <p:spPr>
            <a:xfrm>
              <a:off x="10833089" y="2196344"/>
              <a:ext cx="216024" cy="216024"/>
            </a:xfrm>
            <a:prstGeom prst="ellipse">
              <a:avLst/>
            </a:prstGeom>
            <a:ln/>
          </p:spPr>
          <p:style>
            <a:lnRef idx="2">
              <a:schemeClr val="accent5"/>
            </a:lnRef>
            <a:fillRef idx="1">
              <a:schemeClr val="lt1"/>
            </a:fillRef>
            <a:effectRef idx="0">
              <a:schemeClr val="accent5"/>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62" name="Ellipse 61">
              <a:extLst>
                <a:ext uri="{FF2B5EF4-FFF2-40B4-BE49-F238E27FC236}">
                  <a16:creationId xmlns:a16="http://schemas.microsoft.com/office/drawing/2014/main" id="{E0C6F9B6-F339-46B3-BCAE-2F15D21E7E61}"/>
                </a:ext>
              </a:extLst>
            </p:cNvPr>
            <p:cNvSpPr/>
            <p:nvPr/>
          </p:nvSpPr>
          <p:spPr>
            <a:xfrm>
              <a:off x="10418269" y="2189834"/>
              <a:ext cx="216024" cy="216024"/>
            </a:xfrm>
            <a:prstGeom prst="ellipse">
              <a:avLst/>
            </a:prstGeom>
            <a:ln/>
          </p:spPr>
          <p:style>
            <a:lnRef idx="2">
              <a:schemeClr val="accent5"/>
            </a:lnRef>
            <a:fillRef idx="1">
              <a:schemeClr val="lt1"/>
            </a:fillRef>
            <a:effectRef idx="0">
              <a:schemeClr val="accent5"/>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63" name="Ellipse 62">
              <a:extLst>
                <a:ext uri="{FF2B5EF4-FFF2-40B4-BE49-F238E27FC236}">
                  <a16:creationId xmlns:a16="http://schemas.microsoft.com/office/drawing/2014/main" id="{CE4CA9A0-7486-4BFE-B148-1554807BE2D1}"/>
                </a:ext>
              </a:extLst>
            </p:cNvPr>
            <p:cNvSpPr/>
            <p:nvPr/>
          </p:nvSpPr>
          <p:spPr>
            <a:xfrm>
              <a:off x="10797413" y="1453178"/>
              <a:ext cx="216024" cy="216024"/>
            </a:xfrm>
            <a:prstGeom prst="ellipse">
              <a:avLst/>
            </a:prstGeom>
            <a:ln/>
          </p:spPr>
          <p:style>
            <a:lnRef idx="2">
              <a:schemeClr val="accent5"/>
            </a:lnRef>
            <a:fillRef idx="1">
              <a:schemeClr val="lt1"/>
            </a:fillRef>
            <a:effectRef idx="0">
              <a:schemeClr val="accent5"/>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sp>
          <p:nvSpPr>
            <p:cNvPr id="64" name="Ellipse 63">
              <a:extLst>
                <a:ext uri="{FF2B5EF4-FFF2-40B4-BE49-F238E27FC236}">
                  <a16:creationId xmlns:a16="http://schemas.microsoft.com/office/drawing/2014/main" id="{4A40EBA4-952A-4F5E-9051-92E8D9347E55}"/>
                </a:ext>
              </a:extLst>
            </p:cNvPr>
            <p:cNvSpPr/>
            <p:nvPr/>
          </p:nvSpPr>
          <p:spPr>
            <a:xfrm>
              <a:off x="11181243" y="1824670"/>
              <a:ext cx="216024" cy="216024"/>
            </a:xfrm>
            <a:prstGeom prst="ellipse">
              <a:avLst/>
            </a:prstGeom>
            <a:ln/>
          </p:spPr>
          <p:style>
            <a:lnRef idx="2">
              <a:schemeClr val="accent5"/>
            </a:lnRef>
            <a:fillRef idx="1">
              <a:schemeClr val="lt1"/>
            </a:fillRef>
            <a:effectRef idx="0">
              <a:schemeClr val="accent5"/>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endParaRPr lang="fr-FR" dirty="0"/>
            </a:p>
          </p:txBody>
        </p:sp>
      </p:grpSp>
      <p:pic>
        <p:nvPicPr>
          <p:cNvPr id="33" name="Image 32">
            <a:extLst>
              <a:ext uri="{FF2B5EF4-FFF2-40B4-BE49-F238E27FC236}">
                <a16:creationId xmlns:a16="http://schemas.microsoft.com/office/drawing/2014/main" id="{FF348203-65E4-4655-B18F-F27FE1869F6F}"/>
              </a:ext>
            </a:extLst>
          </p:cNvPr>
          <p:cNvPicPr>
            <a:picLocks noChangeAspect="1"/>
          </p:cNvPicPr>
          <p:nvPr/>
        </p:nvPicPr>
        <p:blipFill rotWithShape="1">
          <a:blip r:embed="rId4">
            <a:duotone>
              <a:schemeClr val="accent4">
                <a:shade val="45000"/>
                <a:satMod val="135000"/>
              </a:schemeClr>
              <a:prstClr val="white"/>
            </a:duotone>
          </a:blip>
          <a:srcRect b="14001"/>
          <a:stretch/>
        </p:blipFill>
        <p:spPr>
          <a:xfrm>
            <a:off x="6447365" y="2442265"/>
            <a:ext cx="633197" cy="577020"/>
          </a:xfrm>
          <a:prstGeom prst="rect">
            <a:avLst/>
          </a:prstGeom>
        </p:spPr>
      </p:pic>
      <p:pic>
        <p:nvPicPr>
          <p:cNvPr id="34" name="Image 33">
            <a:extLst>
              <a:ext uri="{FF2B5EF4-FFF2-40B4-BE49-F238E27FC236}">
                <a16:creationId xmlns:a16="http://schemas.microsoft.com/office/drawing/2014/main" id="{80F47961-AC4A-4137-9758-A0282B06C505}"/>
              </a:ext>
            </a:extLst>
          </p:cNvPr>
          <p:cNvPicPr>
            <a:picLocks noChangeAspect="1"/>
          </p:cNvPicPr>
          <p:nvPr/>
        </p:nvPicPr>
        <p:blipFill rotWithShape="1">
          <a:blip r:embed="rId4">
            <a:duotone>
              <a:schemeClr val="accent5">
                <a:shade val="45000"/>
                <a:satMod val="135000"/>
              </a:schemeClr>
              <a:prstClr val="white"/>
            </a:duotone>
          </a:blip>
          <a:srcRect b="14001"/>
          <a:stretch/>
        </p:blipFill>
        <p:spPr>
          <a:xfrm>
            <a:off x="6511513" y="3681380"/>
            <a:ext cx="633197" cy="577020"/>
          </a:xfrm>
          <a:prstGeom prst="rect">
            <a:avLst/>
          </a:prstGeom>
        </p:spPr>
      </p:pic>
      <p:pic>
        <p:nvPicPr>
          <p:cNvPr id="35" name="Image 34">
            <a:extLst>
              <a:ext uri="{FF2B5EF4-FFF2-40B4-BE49-F238E27FC236}">
                <a16:creationId xmlns:a16="http://schemas.microsoft.com/office/drawing/2014/main" id="{BA9BE7A0-7B7A-477C-A426-7A7E322EB7F8}"/>
              </a:ext>
            </a:extLst>
          </p:cNvPr>
          <p:cNvPicPr>
            <a:picLocks noChangeAspect="1"/>
          </p:cNvPicPr>
          <p:nvPr/>
        </p:nvPicPr>
        <p:blipFill rotWithShape="1">
          <a:blip r:embed="rId4">
            <a:duotone>
              <a:schemeClr val="accent2">
                <a:shade val="45000"/>
                <a:satMod val="135000"/>
              </a:schemeClr>
              <a:prstClr val="white"/>
            </a:duotone>
          </a:blip>
          <a:srcRect b="14001"/>
          <a:stretch/>
        </p:blipFill>
        <p:spPr>
          <a:xfrm>
            <a:off x="6741202" y="5000443"/>
            <a:ext cx="633197" cy="577020"/>
          </a:xfrm>
          <a:prstGeom prst="rect">
            <a:avLst/>
          </a:prstGeom>
        </p:spPr>
      </p:pic>
      <p:pic>
        <p:nvPicPr>
          <p:cNvPr id="36" name="Image 35">
            <a:extLst>
              <a:ext uri="{FF2B5EF4-FFF2-40B4-BE49-F238E27FC236}">
                <a16:creationId xmlns:a16="http://schemas.microsoft.com/office/drawing/2014/main" id="{5A37063C-1668-4DAD-B2B8-C6A530B7106E}"/>
              </a:ext>
            </a:extLst>
          </p:cNvPr>
          <p:cNvPicPr>
            <a:picLocks noChangeAspect="1"/>
          </p:cNvPicPr>
          <p:nvPr/>
        </p:nvPicPr>
        <p:blipFill rotWithShape="1">
          <a:blip r:embed="rId4">
            <a:duotone>
              <a:schemeClr val="accent4">
                <a:shade val="45000"/>
                <a:satMod val="135000"/>
              </a:schemeClr>
              <a:prstClr val="white"/>
            </a:duotone>
          </a:blip>
          <a:srcRect b="14001"/>
          <a:stretch/>
        </p:blipFill>
        <p:spPr>
          <a:xfrm>
            <a:off x="8907512" y="5146653"/>
            <a:ext cx="633197" cy="577020"/>
          </a:xfrm>
          <a:prstGeom prst="rect">
            <a:avLst/>
          </a:prstGeom>
        </p:spPr>
      </p:pic>
      <p:pic>
        <p:nvPicPr>
          <p:cNvPr id="37" name="Image 36">
            <a:extLst>
              <a:ext uri="{FF2B5EF4-FFF2-40B4-BE49-F238E27FC236}">
                <a16:creationId xmlns:a16="http://schemas.microsoft.com/office/drawing/2014/main" id="{5F393925-7DBE-40A2-B156-C4F660F98F28}"/>
              </a:ext>
            </a:extLst>
          </p:cNvPr>
          <p:cNvPicPr>
            <a:picLocks noChangeAspect="1"/>
          </p:cNvPicPr>
          <p:nvPr/>
        </p:nvPicPr>
        <p:blipFill rotWithShape="1">
          <a:blip r:embed="rId4">
            <a:duotone>
              <a:schemeClr val="accent6">
                <a:shade val="45000"/>
                <a:satMod val="135000"/>
              </a:schemeClr>
              <a:prstClr val="white"/>
            </a:duotone>
          </a:blip>
          <a:srcRect b="14001"/>
          <a:stretch/>
        </p:blipFill>
        <p:spPr>
          <a:xfrm>
            <a:off x="10809294" y="5000443"/>
            <a:ext cx="633197" cy="577020"/>
          </a:xfrm>
          <a:prstGeom prst="rect">
            <a:avLst/>
          </a:prstGeom>
        </p:spPr>
      </p:pic>
      <p:pic>
        <p:nvPicPr>
          <p:cNvPr id="38" name="Image 37">
            <a:extLst>
              <a:ext uri="{FF2B5EF4-FFF2-40B4-BE49-F238E27FC236}">
                <a16:creationId xmlns:a16="http://schemas.microsoft.com/office/drawing/2014/main" id="{EA750388-914B-493B-9F7B-9D6DB140E0FD}"/>
              </a:ext>
            </a:extLst>
          </p:cNvPr>
          <p:cNvPicPr>
            <a:picLocks noChangeAspect="1"/>
          </p:cNvPicPr>
          <p:nvPr/>
        </p:nvPicPr>
        <p:blipFill rotWithShape="1">
          <a:blip r:embed="rId4">
            <a:duotone>
              <a:schemeClr val="accent4">
                <a:shade val="45000"/>
                <a:satMod val="135000"/>
              </a:schemeClr>
              <a:prstClr val="white"/>
            </a:duotone>
          </a:blip>
          <a:srcRect b="14001"/>
          <a:stretch/>
        </p:blipFill>
        <p:spPr>
          <a:xfrm>
            <a:off x="10947768" y="3413342"/>
            <a:ext cx="633197" cy="577020"/>
          </a:xfrm>
          <a:prstGeom prst="rect">
            <a:avLst/>
          </a:prstGeom>
        </p:spPr>
      </p:pic>
      <p:pic>
        <p:nvPicPr>
          <p:cNvPr id="39" name="Image 38">
            <a:extLst>
              <a:ext uri="{FF2B5EF4-FFF2-40B4-BE49-F238E27FC236}">
                <a16:creationId xmlns:a16="http://schemas.microsoft.com/office/drawing/2014/main" id="{6620EEBF-BFFA-4B6E-B313-DF4F1F1EC859}"/>
              </a:ext>
            </a:extLst>
          </p:cNvPr>
          <p:cNvPicPr>
            <a:picLocks noChangeAspect="1"/>
          </p:cNvPicPr>
          <p:nvPr/>
        </p:nvPicPr>
        <p:blipFill rotWithShape="1">
          <a:blip r:embed="rId4">
            <a:duotone>
              <a:schemeClr val="accent5">
                <a:shade val="45000"/>
                <a:satMod val="135000"/>
              </a:schemeClr>
              <a:prstClr val="white"/>
            </a:duotone>
          </a:blip>
          <a:srcRect b="14001"/>
          <a:stretch/>
        </p:blipFill>
        <p:spPr>
          <a:xfrm>
            <a:off x="10931452" y="2207744"/>
            <a:ext cx="633197" cy="577020"/>
          </a:xfrm>
          <a:prstGeom prst="rect">
            <a:avLst/>
          </a:prstGeom>
        </p:spPr>
      </p:pic>
      <p:sp>
        <p:nvSpPr>
          <p:cNvPr id="40" name="ZoneTexte 4096">
            <a:extLst>
              <a:ext uri="{FF2B5EF4-FFF2-40B4-BE49-F238E27FC236}">
                <a16:creationId xmlns:a16="http://schemas.microsoft.com/office/drawing/2014/main" id="{DA27EFDA-2B41-45A0-B9B7-EC0F5C9BE3EA}"/>
              </a:ext>
            </a:extLst>
          </p:cNvPr>
          <p:cNvSpPr txBox="1"/>
          <p:nvPr/>
        </p:nvSpPr>
        <p:spPr>
          <a:xfrm>
            <a:off x="7600087" y="2590290"/>
            <a:ext cx="324128" cy="369332"/>
          </a:xfrm>
          <a:prstGeom prst="rect">
            <a:avLst/>
          </a:prstGeom>
          <a:noFill/>
        </p:spPr>
        <p:txBody>
          <a:bodyPr wrap="none" rtlCol="0">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r>
              <a:rPr lang="fr-FR" b="1" dirty="0">
                <a:solidFill>
                  <a:schemeClr val="accent4"/>
                </a:solidFill>
              </a:rPr>
              <a:t>A</a:t>
            </a:r>
          </a:p>
        </p:txBody>
      </p:sp>
      <p:sp>
        <p:nvSpPr>
          <p:cNvPr id="41" name="ZoneTexte 106">
            <a:extLst>
              <a:ext uri="{FF2B5EF4-FFF2-40B4-BE49-F238E27FC236}">
                <a16:creationId xmlns:a16="http://schemas.microsoft.com/office/drawing/2014/main" id="{C0D4D329-092C-4324-9602-569BF7E45022}"/>
              </a:ext>
            </a:extLst>
          </p:cNvPr>
          <p:cNvSpPr txBox="1"/>
          <p:nvPr/>
        </p:nvSpPr>
        <p:spPr>
          <a:xfrm>
            <a:off x="7737735" y="3513244"/>
            <a:ext cx="324128" cy="369332"/>
          </a:xfrm>
          <a:prstGeom prst="rect">
            <a:avLst/>
          </a:prstGeom>
          <a:noFill/>
        </p:spPr>
        <p:txBody>
          <a:bodyPr wrap="none" rtlCol="0">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r>
              <a:rPr lang="fr-FR" b="1" dirty="0">
                <a:solidFill>
                  <a:schemeClr val="accent5"/>
                </a:solidFill>
              </a:rPr>
              <a:t>B</a:t>
            </a:r>
          </a:p>
        </p:txBody>
      </p:sp>
      <p:sp>
        <p:nvSpPr>
          <p:cNvPr id="42" name="ZoneTexte 107">
            <a:extLst>
              <a:ext uri="{FF2B5EF4-FFF2-40B4-BE49-F238E27FC236}">
                <a16:creationId xmlns:a16="http://schemas.microsoft.com/office/drawing/2014/main" id="{66FD1D26-170C-43BB-83F9-B60C93234AFB}"/>
              </a:ext>
            </a:extLst>
          </p:cNvPr>
          <p:cNvSpPr txBox="1"/>
          <p:nvPr/>
        </p:nvSpPr>
        <p:spPr>
          <a:xfrm>
            <a:off x="7841303" y="4513724"/>
            <a:ext cx="306494" cy="369332"/>
          </a:xfrm>
          <a:prstGeom prst="rect">
            <a:avLst/>
          </a:prstGeom>
          <a:noFill/>
        </p:spPr>
        <p:txBody>
          <a:bodyPr wrap="none" rtlCol="0">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r>
              <a:rPr lang="fr-FR" b="1" dirty="0">
                <a:solidFill>
                  <a:schemeClr val="accent2"/>
                </a:solidFill>
              </a:rPr>
              <a:t>C</a:t>
            </a:r>
          </a:p>
        </p:txBody>
      </p:sp>
      <p:sp>
        <p:nvSpPr>
          <p:cNvPr id="43" name="ZoneTexte 108">
            <a:extLst>
              <a:ext uri="{FF2B5EF4-FFF2-40B4-BE49-F238E27FC236}">
                <a16:creationId xmlns:a16="http://schemas.microsoft.com/office/drawing/2014/main" id="{2AAE77EA-8907-4F7E-AD07-0AA0C2BA82AD}"/>
              </a:ext>
            </a:extLst>
          </p:cNvPr>
          <p:cNvSpPr txBox="1"/>
          <p:nvPr/>
        </p:nvSpPr>
        <p:spPr>
          <a:xfrm>
            <a:off x="9131156" y="4425629"/>
            <a:ext cx="330540" cy="369332"/>
          </a:xfrm>
          <a:prstGeom prst="rect">
            <a:avLst/>
          </a:prstGeom>
          <a:noFill/>
        </p:spPr>
        <p:txBody>
          <a:bodyPr wrap="none" rtlCol="0">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r>
              <a:rPr lang="fr-FR" b="1" dirty="0">
                <a:solidFill>
                  <a:schemeClr val="accent4"/>
                </a:solidFill>
              </a:rPr>
              <a:t>D</a:t>
            </a:r>
          </a:p>
        </p:txBody>
      </p:sp>
      <p:sp>
        <p:nvSpPr>
          <p:cNvPr id="44" name="ZoneTexte 109">
            <a:extLst>
              <a:ext uri="{FF2B5EF4-FFF2-40B4-BE49-F238E27FC236}">
                <a16:creationId xmlns:a16="http://schemas.microsoft.com/office/drawing/2014/main" id="{105980B0-70F1-4069-AC1F-1E1E14C61868}"/>
              </a:ext>
            </a:extLst>
          </p:cNvPr>
          <p:cNvSpPr txBox="1"/>
          <p:nvPr/>
        </p:nvSpPr>
        <p:spPr>
          <a:xfrm>
            <a:off x="10232677" y="4379000"/>
            <a:ext cx="296876" cy="369332"/>
          </a:xfrm>
          <a:prstGeom prst="rect">
            <a:avLst/>
          </a:prstGeom>
          <a:noFill/>
        </p:spPr>
        <p:txBody>
          <a:bodyPr wrap="none" rtlCol="0">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r>
              <a:rPr lang="fr-FR" b="1" dirty="0">
                <a:solidFill>
                  <a:schemeClr val="accent6"/>
                </a:solidFill>
              </a:rPr>
              <a:t>E</a:t>
            </a:r>
          </a:p>
        </p:txBody>
      </p:sp>
      <p:sp>
        <p:nvSpPr>
          <p:cNvPr id="45" name="ZoneTexte 110">
            <a:extLst>
              <a:ext uri="{FF2B5EF4-FFF2-40B4-BE49-F238E27FC236}">
                <a16:creationId xmlns:a16="http://schemas.microsoft.com/office/drawing/2014/main" id="{91A36834-0F27-4515-BE2D-76BD582C85AF}"/>
              </a:ext>
            </a:extLst>
          </p:cNvPr>
          <p:cNvSpPr txBox="1"/>
          <p:nvPr/>
        </p:nvSpPr>
        <p:spPr>
          <a:xfrm>
            <a:off x="10105022" y="3424467"/>
            <a:ext cx="290464" cy="369332"/>
          </a:xfrm>
          <a:prstGeom prst="rect">
            <a:avLst/>
          </a:prstGeom>
          <a:noFill/>
        </p:spPr>
        <p:txBody>
          <a:bodyPr wrap="none" rtlCol="0">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r>
              <a:rPr lang="fr-FR" b="1" dirty="0">
                <a:solidFill>
                  <a:schemeClr val="accent4"/>
                </a:solidFill>
              </a:rPr>
              <a:t>F</a:t>
            </a:r>
          </a:p>
        </p:txBody>
      </p:sp>
      <p:sp>
        <p:nvSpPr>
          <p:cNvPr id="46" name="ZoneTexte 111">
            <a:extLst>
              <a:ext uri="{FF2B5EF4-FFF2-40B4-BE49-F238E27FC236}">
                <a16:creationId xmlns:a16="http://schemas.microsoft.com/office/drawing/2014/main" id="{80C23769-4F30-44A3-A881-B1ABC681B565}"/>
              </a:ext>
            </a:extLst>
          </p:cNvPr>
          <p:cNvSpPr txBox="1"/>
          <p:nvPr/>
        </p:nvSpPr>
        <p:spPr>
          <a:xfrm>
            <a:off x="10060651" y="2524681"/>
            <a:ext cx="332142" cy="369332"/>
          </a:xfrm>
          <a:prstGeom prst="rect">
            <a:avLst/>
          </a:prstGeom>
          <a:noFill/>
        </p:spPr>
        <p:txBody>
          <a:bodyPr wrap="none" rtlCol="0">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r>
              <a:rPr lang="fr-FR" b="1" dirty="0">
                <a:solidFill>
                  <a:schemeClr val="accent5"/>
                </a:solidFill>
              </a:rPr>
              <a:t>G</a:t>
            </a:r>
          </a:p>
        </p:txBody>
      </p:sp>
      <p:sp>
        <p:nvSpPr>
          <p:cNvPr id="47" name="ZoneTexte 112">
            <a:extLst>
              <a:ext uri="{FF2B5EF4-FFF2-40B4-BE49-F238E27FC236}">
                <a16:creationId xmlns:a16="http://schemas.microsoft.com/office/drawing/2014/main" id="{E6BD019C-12EC-444D-9C5D-BEE951378149}"/>
              </a:ext>
            </a:extLst>
          </p:cNvPr>
          <p:cNvSpPr txBox="1"/>
          <p:nvPr/>
        </p:nvSpPr>
        <p:spPr>
          <a:xfrm>
            <a:off x="8906175" y="3286050"/>
            <a:ext cx="386644" cy="369332"/>
          </a:xfrm>
          <a:prstGeom prst="rect">
            <a:avLst/>
          </a:prstGeom>
          <a:noFill/>
        </p:spPr>
        <p:txBody>
          <a:bodyPr wrap="none" rtlCol="0">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r>
              <a:rPr lang="fr-FR" b="1" dirty="0">
                <a:solidFill>
                  <a:schemeClr val="accent1"/>
                </a:solidFill>
              </a:rPr>
              <a:t>M</a:t>
            </a:r>
          </a:p>
        </p:txBody>
      </p:sp>
      <p:cxnSp>
        <p:nvCxnSpPr>
          <p:cNvPr id="48" name="Connecteur droit 47">
            <a:extLst>
              <a:ext uri="{FF2B5EF4-FFF2-40B4-BE49-F238E27FC236}">
                <a16:creationId xmlns:a16="http://schemas.microsoft.com/office/drawing/2014/main" id="{4239914B-E517-4C91-A466-8F9117E7D550}"/>
              </a:ext>
            </a:extLst>
          </p:cNvPr>
          <p:cNvCxnSpPr/>
          <p:nvPr/>
        </p:nvCxnSpPr>
        <p:spPr>
          <a:xfrm>
            <a:off x="6308028" y="1766741"/>
            <a:ext cx="5290125" cy="0"/>
          </a:xfrm>
          <a:prstGeom prst="line">
            <a:avLst/>
          </a:prstGeom>
          <a:ln/>
        </p:spPr>
        <p:style>
          <a:lnRef idx="3">
            <a:schemeClr val="dk1"/>
          </a:lnRef>
          <a:fillRef idx="0">
            <a:schemeClr val="dk1"/>
          </a:fillRef>
          <a:effectRef idx="2">
            <a:schemeClr val="dk1"/>
          </a:effectRef>
          <a:fontRef idx="minor">
            <a:schemeClr val="tx1"/>
          </a:fontRef>
        </p:style>
      </p:cxnSp>
      <p:pic>
        <p:nvPicPr>
          <p:cNvPr id="49" name="Picture 8" descr="RÃ©sultat de recherche d'images pour &quot;icone board&quot;">
            <a:extLst>
              <a:ext uri="{FF2B5EF4-FFF2-40B4-BE49-F238E27FC236}">
                <a16:creationId xmlns:a16="http://schemas.microsoft.com/office/drawing/2014/main" id="{94FD0626-71EC-4659-A69A-2533F8D7E61F}"/>
              </a:ext>
            </a:extLst>
          </p:cNvPr>
          <p:cNvPicPr>
            <a:picLocks noChangeAspect="1" noChangeArrowheads="1"/>
          </p:cNvPicPr>
          <p:nvPr/>
        </p:nvPicPr>
        <p:blipFill>
          <a:blip r:embed="rId5">
            <a:biLevel thresh="75000"/>
            <a:extLst>
              <a:ext uri="{28A0092B-C50C-407E-A947-70E740481C1C}">
                <a14:useLocalDpi xmlns:a14="http://schemas.microsoft.com/office/drawing/2010/main" val="0"/>
              </a:ext>
            </a:extLst>
          </a:blip>
          <a:srcRect/>
          <a:stretch>
            <a:fillRect/>
          </a:stretch>
        </p:blipFill>
        <p:spPr bwMode="auto">
          <a:xfrm>
            <a:off x="8026253" y="1300634"/>
            <a:ext cx="1913988" cy="965558"/>
          </a:xfrm>
          <a:prstGeom prst="rect">
            <a:avLst/>
          </a:prstGeom>
          <a:noFill/>
          <a:extLst>
            <a:ext uri="{909E8E84-426E-40DD-AFC4-6F175D3DCCD1}">
              <a14:hiddenFill xmlns:a14="http://schemas.microsoft.com/office/drawing/2010/main">
                <a:solidFill>
                  <a:srgbClr val="FFFFFF"/>
                </a:solidFill>
              </a14:hiddenFill>
            </a:ext>
          </a:extLst>
        </p:spPr>
      </p:pic>
      <p:sp>
        <p:nvSpPr>
          <p:cNvPr id="50" name="ZoneTexte 4100">
            <a:extLst>
              <a:ext uri="{FF2B5EF4-FFF2-40B4-BE49-F238E27FC236}">
                <a16:creationId xmlns:a16="http://schemas.microsoft.com/office/drawing/2014/main" id="{B27B5705-4006-4BCB-81A9-FDC614F0E26E}"/>
              </a:ext>
            </a:extLst>
          </p:cNvPr>
          <p:cNvSpPr txBox="1"/>
          <p:nvPr/>
        </p:nvSpPr>
        <p:spPr>
          <a:xfrm>
            <a:off x="6338108" y="3005719"/>
            <a:ext cx="904991" cy="338554"/>
          </a:xfrm>
          <a:prstGeom prst="rect">
            <a:avLst/>
          </a:prstGeom>
          <a:noFill/>
        </p:spPr>
        <p:txBody>
          <a:bodyPr wrap="none" rtlCol="0">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r>
              <a:rPr lang="fr-FR" sz="1600" i="1" dirty="0">
                <a:solidFill>
                  <a:schemeClr val="accent4"/>
                </a:solidFill>
              </a:rPr>
              <a:t>Projet A</a:t>
            </a:r>
            <a:endParaRPr lang="fr-FR" i="1" dirty="0">
              <a:solidFill>
                <a:schemeClr val="accent4"/>
              </a:solidFill>
            </a:endParaRPr>
          </a:p>
        </p:txBody>
      </p:sp>
      <p:sp>
        <p:nvSpPr>
          <p:cNvPr id="51" name="ZoneTexte 117">
            <a:extLst>
              <a:ext uri="{FF2B5EF4-FFF2-40B4-BE49-F238E27FC236}">
                <a16:creationId xmlns:a16="http://schemas.microsoft.com/office/drawing/2014/main" id="{E72D3CA2-EB62-43B7-B45B-9CC57A3FF565}"/>
              </a:ext>
            </a:extLst>
          </p:cNvPr>
          <p:cNvSpPr txBox="1"/>
          <p:nvPr/>
        </p:nvSpPr>
        <p:spPr>
          <a:xfrm>
            <a:off x="6417061" y="4235566"/>
            <a:ext cx="901785" cy="338554"/>
          </a:xfrm>
          <a:prstGeom prst="rect">
            <a:avLst/>
          </a:prstGeom>
          <a:noFill/>
        </p:spPr>
        <p:txBody>
          <a:bodyPr wrap="none" rtlCol="0">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r>
              <a:rPr lang="fr-FR" sz="1600" i="1" dirty="0">
                <a:solidFill>
                  <a:schemeClr val="accent5"/>
                </a:solidFill>
              </a:rPr>
              <a:t>Projet B</a:t>
            </a:r>
            <a:endParaRPr lang="fr-FR" i="1" dirty="0">
              <a:solidFill>
                <a:schemeClr val="accent5"/>
              </a:solidFill>
            </a:endParaRPr>
          </a:p>
        </p:txBody>
      </p:sp>
      <p:sp>
        <p:nvSpPr>
          <p:cNvPr id="52" name="ZoneTexte 118">
            <a:extLst>
              <a:ext uri="{FF2B5EF4-FFF2-40B4-BE49-F238E27FC236}">
                <a16:creationId xmlns:a16="http://schemas.microsoft.com/office/drawing/2014/main" id="{8AA30221-F304-4BDD-983B-536A2E518611}"/>
              </a:ext>
            </a:extLst>
          </p:cNvPr>
          <p:cNvSpPr txBox="1"/>
          <p:nvPr/>
        </p:nvSpPr>
        <p:spPr>
          <a:xfrm>
            <a:off x="10917826" y="3940729"/>
            <a:ext cx="888961" cy="338554"/>
          </a:xfrm>
          <a:prstGeom prst="rect">
            <a:avLst/>
          </a:prstGeom>
          <a:noFill/>
        </p:spPr>
        <p:txBody>
          <a:bodyPr wrap="none" rtlCol="0">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r>
              <a:rPr lang="fr-FR" sz="1600" i="1" dirty="0">
                <a:solidFill>
                  <a:schemeClr val="accent4"/>
                </a:solidFill>
              </a:rPr>
              <a:t>Projet F</a:t>
            </a:r>
            <a:endParaRPr lang="fr-FR" i="1" dirty="0">
              <a:solidFill>
                <a:schemeClr val="accent4"/>
              </a:solidFill>
            </a:endParaRPr>
          </a:p>
        </p:txBody>
      </p:sp>
      <p:sp>
        <p:nvSpPr>
          <p:cNvPr id="53" name="ZoneTexte 119">
            <a:extLst>
              <a:ext uri="{FF2B5EF4-FFF2-40B4-BE49-F238E27FC236}">
                <a16:creationId xmlns:a16="http://schemas.microsoft.com/office/drawing/2014/main" id="{D64C0514-AEC5-4EAA-8E72-0EDCFFBB04EC}"/>
              </a:ext>
            </a:extLst>
          </p:cNvPr>
          <p:cNvSpPr txBox="1"/>
          <p:nvPr/>
        </p:nvSpPr>
        <p:spPr>
          <a:xfrm>
            <a:off x="10864102" y="2790558"/>
            <a:ext cx="917815" cy="338554"/>
          </a:xfrm>
          <a:prstGeom prst="rect">
            <a:avLst/>
          </a:prstGeom>
          <a:noFill/>
        </p:spPr>
        <p:txBody>
          <a:bodyPr wrap="none" rtlCol="0">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r>
              <a:rPr lang="fr-FR" sz="1600" i="1" dirty="0">
                <a:solidFill>
                  <a:schemeClr val="accent5"/>
                </a:solidFill>
              </a:rPr>
              <a:t>Projet G</a:t>
            </a:r>
            <a:endParaRPr lang="fr-FR" i="1" dirty="0">
              <a:solidFill>
                <a:schemeClr val="accent5"/>
              </a:solidFill>
            </a:endParaRPr>
          </a:p>
        </p:txBody>
      </p:sp>
      <p:sp>
        <p:nvSpPr>
          <p:cNvPr id="54" name="ZoneTexte 120">
            <a:extLst>
              <a:ext uri="{FF2B5EF4-FFF2-40B4-BE49-F238E27FC236}">
                <a16:creationId xmlns:a16="http://schemas.microsoft.com/office/drawing/2014/main" id="{DA7B8A09-19F3-4A9D-B058-5F6074546183}"/>
              </a:ext>
            </a:extLst>
          </p:cNvPr>
          <p:cNvSpPr txBox="1"/>
          <p:nvPr/>
        </p:nvSpPr>
        <p:spPr>
          <a:xfrm>
            <a:off x="10761813" y="5607875"/>
            <a:ext cx="847220" cy="338554"/>
          </a:xfrm>
          <a:prstGeom prst="rect">
            <a:avLst/>
          </a:prstGeom>
          <a:noFill/>
        </p:spPr>
        <p:txBody>
          <a:bodyPr wrap="none" rtlCol="0">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r>
              <a:rPr lang="fr-FR" sz="1600" i="1" dirty="0">
                <a:solidFill>
                  <a:schemeClr val="accent6"/>
                </a:solidFill>
              </a:rPr>
              <a:t>Projet E</a:t>
            </a:r>
            <a:endParaRPr lang="fr-FR" i="1" dirty="0">
              <a:solidFill>
                <a:schemeClr val="accent6"/>
              </a:solidFill>
            </a:endParaRPr>
          </a:p>
        </p:txBody>
      </p:sp>
      <p:sp>
        <p:nvSpPr>
          <p:cNvPr id="55" name="ZoneTexte 122">
            <a:extLst>
              <a:ext uri="{FF2B5EF4-FFF2-40B4-BE49-F238E27FC236}">
                <a16:creationId xmlns:a16="http://schemas.microsoft.com/office/drawing/2014/main" id="{4807340A-8057-49E3-B387-9EA309D67084}"/>
              </a:ext>
            </a:extLst>
          </p:cNvPr>
          <p:cNvSpPr txBox="1"/>
          <p:nvPr/>
        </p:nvSpPr>
        <p:spPr>
          <a:xfrm>
            <a:off x="8793330" y="5679475"/>
            <a:ext cx="921021" cy="338554"/>
          </a:xfrm>
          <a:prstGeom prst="rect">
            <a:avLst/>
          </a:prstGeom>
          <a:noFill/>
        </p:spPr>
        <p:txBody>
          <a:bodyPr wrap="none" rtlCol="0">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r>
              <a:rPr lang="fr-FR" sz="1600" i="1" dirty="0">
                <a:solidFill>
                  <a:schemeClr val="accent4"/>
                </a:solidFill>
              </a:rPr>
              <a:t>Projet D</a:t>
            </a:r>
            <a:endParaRPr lang="fr-FR" i="1" dirty="0">
              <a:solidFill>
                <a:schemeClr val="accent4"/>
              </a:solidFill>
            </a:endParaRPr>
          </a:p>
        </p:txBody>
      </p:sp>
      <p:sp>
        <p:nvSpPr>
          <p:cNvPr id="56" name="ZoneTexte 123">
            <a:extLst>
              <a:ext uri="{FF2B5EF4-FFF2-40B4-BE49-F238E27FC236}">
                <a16:creationId xmlns:a16="http://schemas.microsoft.com/office/drawing/2014/main" id="{8F18E35E-5382-4499-A74F-8801E6D9F653}"/>
              </a:ext>
            </a:extLst>
          </p:cNvPr>
          <p:cNvSpPr txBox="1"/>
          <p:nvPr/>
        </p:nvSpPr>
        <p:spPr>
          <a:xfrm>
            <a:off x="6692883" y="5542435"/>
            <a:ext cx="847220" cy="338554"/>
          </a:xfrm>
          <a:prstGeom prst="rect">
            <a:avLst/>
          </a:prstGeom>
          <a:noFill/>
        </p:spPr>
        <p:txBody>
          <a:bodyPr wrap="none" rtlCol="0">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r>
              <a:rPr lang="fr-FR" sz="1600" i="1" dirty="0">
                <a:solidFill>
                  <a:schemeClr val="accent2"/>
                </a:solidFill>
              </a:rPr>
              <a:t>Projet C</a:t>
            </a:r>
            <a:endParaRPr lang="fr-FR" i="1" dirty="0">
              <a:solidFill>
                <a:schemeClr val="accent2"/>
              </a:solidFill>
            </a:endParaRPr>
          </a:p>
        </p:txBody>
      </p:sp>
      <p:sp>
        <p:nvSpPr>
          <p:cNvPr id="57" name="ZoneTexte 124">
            <a:extLst>
              <a:ext uri="{FF2B5EF4-FFF2-40B4-BE49-F238E27FC236}">
                <a16:creationId xmlns:a16="http://schemas.microsoft.com/office/drawing/2014/main" id="{20446EF9-4D6B-44E1-8DFF-9F253B976D36}"/>
              </a:ext>
            </a:extLst>
          </p:cNvPr>
          <p:cNvSpPr txBox="1"/>
          <p:nvPr/>
        </p:nvSpPr>
        <p:spPr>
          <a:xfrm>
            <a:off x="8413053" y="966480"/>
            <a:ext cx="1170513" cy="338554"/>
          </a:xfrm>
          <a:prstGeom prst="rect">
            <a:avLst/>
          </a:prstGeom>
          <a:noFill/>
        </p:spPr>
        <p:txBody>
          <a:bodyPr wrap="none" rtlCol="0">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r>
              <a:rPr lang="fr-FR" sz="1600" i="1" dirty="0"/>
              <a:t>Programme</a:t>
            </a:r>
            <a:endParaRPr lang="fr-FR" i="1" dirty="0"/>
          </a:p>
        </p:txBody>
      </p:sp>
    </p:spTree>
    <p:extLst>
      <p:ext uri="{BB962C8B-B14F-4D97-AF65-F5344CB8AC3E}">
        <p14:creationId xmlns:p14="http://schemas.microsoft.com/office/powerpoint/2010/main" val="18557930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32</a:t>
            </a:fld>
            <a:endParaRPr lang="fr-FR" dirty="0"/>
          </a:p>
        </p:txBody>
      </p:sp>
      <p:sp>
        <p:nvSpPr>
          <p:cNvPr id="5" name="Espace réservé du texte 4"/>
          <p:cNvSpPr>
            <a:spLocks noGrp="1"/>
          </p:cNvSpPr>
          <p:nvPr>
            <p:ph type="body" idx="1"/>
          </p:nvPr>
        </p:nvSpPr>
        <p:spPr/>
        <p:txBody>
          <a:bodyPr/>
          <a:lstStyle/>
          <a:p>
            <a:r>
              <a:rPr lang="fr-FR" dirty="0"/>
              <a:t>PI Planning – Agenda Jour 1</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pic>
        <p:nvPicPr>
          <p:cNvPr id="119" name="Image 118">
            <a:extLst>
              <a:ext uri="{FF2B5EF4-FFF2-40B4-BE49-F238E27FC236}">
                <a16:creationId xmlns:a16="http://schemas.microsoft.com/office/drawing/2014/main" id="{D1F6498C-EA91-455B-8244-316EAC935D50}"/>
              </a:ext>
            </a:extLst>
          </p:cNvPr>
          <p:cNvPicPr>
            <a:picLocks noChangeAspect="1"/>
          </p:cNvPicPr>
          <p:nvPr/>
        </p:nvPicPr>
        <p:blipFill>
          <a:blip r:embed="rId2"/>
          <a:stretch>
            <a:fillRect/>
          </a:stretch>
        </p:blipFill>
        <p:spPr>
          <a:xfrm>
            <a:off x="1965110" y="1355760"/>
            <a:ext cx="8544949" cy="5152971"/>
          </a:xfrm>
          <a:prstGeom prst="rect">
            <a:avLst/>
          </a:prstGeom>
        </p:spPr>
      </p:pic>
    </p:spTree>
    <p:extLst>
      <p:ext uri="{BB962C8B-B14F-4D97-AF65-F5344CB8AC3E}">
        <p14:creationId xmlns:p14="http://schemas.microsoft.com/office/powerpoint/2010/main" val="7050621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33</a:t>
            </a:fld>
            <a:endParaRPr lang="fr-FR" dirty="0"/>
          </a:p>
        </p:txBody>
      </p:sp>
      <p:sp>
        <p:nvSpPr>
          <p:cNvPr id="5" name="Espace réservé du texte 4"/>
          <p:cNvSpPr>
            <a:spLocks noGrp="1"/>
          </p:cNvSpPr>
          <p:nvPr>
            <p:ph type="body" idx="1"/>
          </p:nvPr>
        </p:nvSpPr>
        <p:spPr/>
        <p:txBody>
          <a:bodyPr/>
          <a:lstStyle/>
          <a:p>
            <a:r>
              <a:rPr lang="fr-FR" dirty="0"/>
              <a:t>PI Planning – Jour 1 – Phase de chauffe</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sp>
        <p:nvSpPr>
          <p:cNvPr id="120" name="Espace réservé du texte 6">
            <a:extLst>
              <a:ext uri="{FF2B5EF4-FFF2-40B4-BE49-F238E27FC236}">
                <a16:creationId xmlns:a16="http://schemas.microsoft.com/office/drawing/2014/main" id="{AF07C365-2B2E-41B9-9E82-7D8948A3F962}"/>
              </a:ext>
            </a:extLst>
          </p:cNvPr>
          <p:cNvSpPr txBox="1">
            <a:spLocks/>
          </p:cNvSpPr>
          <p:nvPr/>
        </p:nvSpPr>
        <p:spPr>
          <a:xfrm>
            <a:off x="613478" y="1341120"/>
            <a:ext cx="11202930" cy="4610287"/>
          </a:xfrm>
          <a:prstGeom prst="rect">
            <a:avLst/>
          </a:prstGeom>
        </p:spPr>
        <p:txBody>
          <a:bodyPr vert="horz" lIns="0" tIns="0" rIns="0" bIns="0" rtlCol="0">
            <a:noAutofit/>
          </a:bodyPr>
          <a:lstStyle>
            <a:lvl1pPr marL="355600" indent="-355600" algn="l" defTabSz="914400" rtl="0" eaLnBrk="1" latinLnBrk="0" hangingPunct="1">
              <a:lnSpc>
                <a:spcPct val="100000"/>
              </a:lnSpc>
              <a:spcBef>
                <a:spcPts val="600"/>
              </a:spcBef>
              <a:buClr>
                <a:schemeClr val="tx2"/>
              </a:buClr>
              <a:buSzPct val="60000"/>
              <a:buFontTx/>
              <a:buBlip>
                <a:blip r:embed="rId2"/>
              </a:buBlip>
              <a:defRPr sz="1800" b="1" kern="1200">
                <a:solidFill>
                  <a:schemeClr val="tx1"/>
                </a:solidFill>
                <a:latin typeface="+mn-lt"/>
                <a:ea typeface="+mn-ea"/>
                <a:cs typeface="+mn-cs"/>
              </a:defRPr>
            </a:lvl1pPr>
            <a:lvl2pPr marL="630238" indent="-274638" algn="l" defTabSz="914400" rtl="0" eaLnBrk="1" latinLnBrk="0" hangingPunct="1">
              <a:lnSpc>
                <a:spcPct val="100000"/>
              </a:lnSpc>
              <a:spcBef>
                <a:spcPts val="600"/>
              </a:spcBef>
              <a:buClr>
                <a:schemeClr val="tx1">
                  <a:lumMod val="60000"/>
                  <a:lumOff val="40000"/>
                </a:schemeClr>
              </a:buClr>
              <a:buSzPct val="40000"/>
              <a:buFontTx/>
              <a:buBlip>
                <a:blip r:embed="rId3"/>
              </a:buBlip>
              <a:defRPr sz="1800" kern="1200">
                <a:solidFill>
                  <a:schemeClr val="tx1"/>
                </a:solidFill>
                <a:latin typeface="+mn-lt"/>
                <a:ea typeface="+mn-ea"/>
                <a:cs typeface="+mn-cs"/>
              </a:defRPr>
            </a:lvl2pPr>
            <a:lvl3pPr marL="7207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893763" indent="0" algn="l" defTabSz="914400" rtl="0" eaLnBrk="1" latinLnBrk="0" hangingPunct="1">
              <a:lnSpc>
                <a:spcPct val="100000"/>
              </a:lnSpc>
              <a:spcBef>
                <a:spcPts val="600"/>
              </a:spcBef>
              <a:buFont typeface="Arial" panose="020B0604020202020204" pitchFamily="34" charset="0"/>
              <a:buNone/>
              <a:defRPr sz="120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ltLang="fr-FR" b="1" dirty="0">
                <a:solidFill>
                  <a:schemeClr val="accent1"/>
                </a:solidFill>
              </a:rPr>
              <a:t>Le contexte du Business</a:t>
            </a:r>
          </a:p>
          <a:p>
            <a:pPr marL="630751" lvl="1" indent="0">
              <a:buNone/>
            </a:pPr>
            <a:r>
              <a:rPr lang="fr-FR" altLang="fr-FR" dirty="0"/>
              <a:t>Le top management (</a:t>
            </a:r>
            <a:r>
              <a:rPr lang="fr-FR" altLang="fr-FR" dirty="0" err="1"/>
              <a:t>executive</a:t>
            </a:r>
            <a:r>
              <a:rPr lang="fr-FR" altLang="fr-FR" dirty="0"/>
              <a:t> ou business) décrit l'état actuel de du business et présente les perspectives d’évolution pour répondre aux besoins du client.</a:t>
            </a:r>
          </a:p>
          <a:p>
            <a:endParaRPr lang="fr-FR" altLang="fr-FR" sz="1600" b="1" dirty="0">
              <a:solidFill>
                <a:schemeClr val="accent1"/>
              </a:solidFill>
            </a:endParaRPr>
          </a:p>
          <a:p>
            <a:r>
              <a:rPr lang="fr-FR" altLang="fr-FR" b="1" dirty="0">
                <a:solidFill>
                  <a:schemeClr val="accent1"/>
                </a:solidFill>
              </a:rPr>
              <a:t>Partage de la vision du produit et des priorités</a:t>
            </a:r>
          </a:p>
          <a:p>
            <a:pPr marL="630751" lvl="1" indent="0">
              <a:buNone/>
            </a:pPr>
            <a:r>
              <a:rPr lang="fr-FR" altLang="fr-FR" dirty="0"/>
              <a:t>Le « Product Management » présente la vision actuelle du programme (généralement représentée par les 10 prochaines fonctionnalités souhaitées) et met en évidence tout changement par rapport au précédent PI Planning ainsi que les étapes à venir.</a:t>
            </a:r>
          </a:p>
          <a:p>
            <a:endParaRPr lang="fr-FR" altLang="fr-FR" sz="1600" b="1" dirty="0">
              <a:solidFill>
                <a:schemeClr val="accent1"/>
              </a:solidFill>
            </a:endParaRPr>
          </a:p>
          <a:p>
            <a:r>
              <a:rPr lang="fr-FR" altLang="fr-FR" b="1" dirty="0">
                <a:solidFill>
                  <a:schemeClr val="accent1"/>
                </a:solidFill>
              </a:rPr>
              <a:t>Présentation de l’architecture et des outils communs</a:t>
            </a:r>
          </a:p>
          <a:p>
            <a:pPr marL="630751" lvl="1" indent="0">
              <a:buNone/>
            </a:pPr>
            <a:r>
              <a:rPr lang="fr-FR" altLang="fr-FR" dirty="0"/>
              <a:t>Le pôle « System Architect / Engineering » présente la vision de l'architecture. </a:t>
            </a:r>
          </a:p>
          <a:p>
            <a:pPr marL="630751" lvl="1" indent="0">
              <a:buNone/>
            </a:pPr>
            <a:r>
              <a:rPr lang="fr-FR" altLang="fr-FR" dirty="0"/>
              <a:t>Un responsable de développement peut apporter des modifications aux pratiques de développement, telles que l'automatisation des tests, le DevOps, l'intégration continue et le déploiement continu, qui sont avancées dans le prochain Program </a:t>
            </a:r>
            <a:r>
              <a:rPr lang="fr-FR" altLang="fr-FR" dirty="0" err="1"/>
              <a:t>Increment</a:t>
            </a:r>
            <a:r>
              <a:rPr lang="fr-FR" altLang="fr-FR" dirty="0"/>
              <a:t>.</a:t>
            </a:r>
          </a:p>
        </p:txBody>
      </p:sp>
      <p:grpSp>
        <p:nvGrpSpPr>
          <p:cNvPr id="8" name="Groupe 7">
            <a:extLst>
              <a:ext uri="{FF2B5EF4-FFF2-40B4-BE49-F238E27FC236}">
                <a16:creationId xmlns:a16="http://schemas.microsoft.com/office/drawing/2014/main" id="{0DFB6221-A3E5-406B-B2D8-649C73D45DD8}"/>
              </a:ext>
            </a:extLst>
          </p:cNvPr>
          <p:cNvGrpSpPr/>
          <p:nvPr/>
        </p:nvGrpSpPr>
        <p:grpSpPr>
          <a:xfrm>
            <a:off x="108105" y="4643745"/>
            <a:ext cx="971032" cy="936000"/>
            <a:chOff x="7961919" y="2276872"/>
            <a:chExt cx="1158417" cy="1081544"/>
          </a:xfrm>
        </p:grpSpPr>
        <p:pic>
          <p:nvPicPr>
            <p:cNvPr id="11" name="Image 10">
              <a:extLst>
                <a:ext uri="{FF2B5EF4-FFF2-40B4-BE49-F238E27FC236}">
                  <a16:creationId xmlns:a16="http://schemas.microsoft.com/office/drawing/2014/main" id="{E86EFB21-0FE2-491E-8369-EA503D71FBE0}"/>
                </a:ext>
              </a:extLst>
            </p:cNvPr>
            <p:cNvPicPr>
              <a:picLocks noChangeAspect="1"/>
            </p:cNvPicPr>
            <p:nvPr/>
          </p:nvPicPr>
          <p:blipFill rotWithShape="1">
            <a:blip r:embed="rId4"/>
            <a:srcRect t="6621"/>
            <a:stretch/>
          </p:blipFill>
          <p:spPr>
            <a:xfrm>
              <a:off x="7961919" y="2276872"/>
              <a:ext cx="1019746" cy="1081544"/>
            </a:xfrm>
            <a:prstGeom prst="rect">
              <a:avLst/>
            </a:prstGeom>
          </p:spPr>
        </p:pic>
        <p:sp>
          <p:nvSpPr>
            <p:cNvPr id="12" name="Rectangle 11">
              <a:extLst>
                <a:ext uri="{FF2B5EF4-FFF2-40B4-BE49-F238E27FC236}">
                  <a16:creationId xmlns:a16="http://schemas.microsoft.com/office/drawing/2014/main" id="{32EAB56A-41ED-41A3-B3EB-BA81811FE2ED}"/>
                </a:ext>
              </a:extLst>
            </p:cNvPr>
            <p:cNvSpPr/>
            <p:nvPr/>
          </p:nvSpPr>
          <p:spPr>
            <a:xfrm>
              <a:off x="8760296" y="2276872"/>
              <a:ext cx="360040"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a:endParaRPr lang="fr-FR" dirty="0"/>
            </a:p>
          </p:txBody>
        </p:sp>
      </p:grpSp>
      <p:pic>
        <p:nvPicPr>
          <p:cNvPr id="9" name="Image 8">
            <a:extLst>
              <a:ext uri="{FF2B5EF4-FFF2-40B4-BE49-F238E27FC236}">
                <a16:creationId xmlns:a16="http://schemas.microsoft.com/office/drawing/2014/main" id="{CF4E9C32-2FE5-4984-A38D-A228A1E0AE4F}"/>
              </a:ext>
            </a:extLst>
          </p:cNvPr>
          <p:cNvPicPr>
            <a:picLocks noChangeAspect="1"/>
          </p:cNvPicPr>
          <p:nvPr/>
        </p:nvPicPr>
        <p:blipFill>
          <a:blip r:embed="rId5"/>
          <a:stretch>
            <a:fillRect/>
          </a:stretch>
        </p:blipFill>
        <p:spPr>
          <a:xfrm>
            <a:off x="108105" y="3019032"/>
            <a:ext cx="786589" cy="997085"/>
          </a:xfrm>
          <a:prstGeom prst="rect">
            <a:avLst/>
          </a:prstGeom>
        </p:spPr>
      </p:pic>
      <p:pic>
        <p:nvPicPr>
          <p:cNvPr id="10" name="Image 9">
            <a:extLst>
              <a:ext uri="{FF2B5EF4-FFF2-40B4-BE49-F238E27FC236}">
                <a16:creationId xmlns:a16="http://schemas.microsoft.com/office/drawing/2014/main" id="{21F134B6-1D01-44F6-AAB5-92CC5236A8D3}"/>
              </a:ext>
            </a:extLst>
          </p:cNvPr>
          <p:cNvPicPr>
            <a:picLocks noChangeAspect="1"/>
          </p:cNvPicPr>
          <p:nvPr/>
        </p:nvPicPr>
        <p:blipFill>
          <a:blip r:embed="rId6"/>
          <a:stretch>
            <a:fillRect/>
          </a:stretch>
        </p:blipFill>
        <p:spPr>
          <a:xfrm>
            <a:off x="53137" y="1693685"/>
            <a:ext cx="844558" cy="939452"/>
          </a:xfrm>
          <a:prstGeom prst="rect">
            <a:avLst/>
          </a:prstGeom>
        </p:spPr>
      </p:pic>
      <p:sp>
        <p:nvSpPr>
          <p:cNvPr id="13" name="Rectangle 12">
            <a:extLst>
              <a:ext uri="{FF2B5EF4-FFF2-40B4-BE49-F238E27FC236}">
                <a16:creationId xmlns:a16="http://schemas.microsoft.com/office/drawing/2014/main" id="{A4876941-16CF-4B23-8CF2-C958C5A573B3}"/>
              </a:ext>
            </a:extLst>
          </p:cNvPr>
          <p:cNvSpPr/>
          <p:nvPr/>
        </p:nvSpPr>
        <p:spPr>
          <a:xfrm>
            <a:off x="9120336" y="424083"/>
            <a:ext cx="2928552" cy="1235026"/>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dirty="0" err="1">
                <a:sym typeface="Wingdings" panose="05000000000000000000" pitchFamily="2" charset="2"/>
              </a:rPr>
              <a:t>Partage</a:t>
            </a:r>
            <a:r>
              <a:rPr lang="en-US" sz="1600" dirty="0">
                <a:sym typeface="Wingdings" panose="05000000000000000000" pitchFamily="2" charset="2"/>
              </a:rPr>
              <a:t> de la Vision</a:t>
            </a:r>
            <a:endParaRPr lang="en-US" sz="1600" dirty="0"/>
          </a:p>
          <a:p>
            <a:pPr algn="ctr"/>
            <a:r>
              <a:rPr lang="en-US" sz="1600" dirty="0">
                <a:solidFill>
                  <a:schemeClr val="accent1"/>
                </a:solidFill>
              </a:rPr>
              <a:t>- - -</a:t>
            </a:r>
          </a:p>
          <a:p>
            <a:pPr algn="ctr"/>
            <a:r>
              <a:rPr lang="en-US" sz="1600" dirty="0"/>
              <a:t>The John Deere Vision</a:t>
            </a:r>
            <a:endParaRPr lang="en-US" sz="1600" dirty="0">
              <a:hlinkClick r:id="rId7"/>
            </a:endParaRPr>
          </a:p>
          <a:p>
            <a:pPr algn="ctr"/>
            <a:r>
              <a:rPr lang="en-US" sz="1600" dirty="0">
                <a:hlinkClick r:id="rId8"/>
              </a:rPr>
              <a:t>https://youtu.be/t08nOEkrX-I</a:t>
            </a:r>
            <a:endParaRPr lang="en-US" sz="1600" dirty="0"/>
          </a:p>
        </p:txBody>
      </p:sp>
      <p:pic>
        <p:nvPicPr>
          <p:cNvPr id="14" name="Picture 4" descr="RÃ©sultat de recherche d'images pour &quot;icone video&quot;">
            <a:extLst>
              <a:ext uri="{FF2B5EF4-FFF2-40B4-BE49-F238E27FC236}">
                <a16:creationId xmlns:a16="http://schemas.microsoft.com/office/drawing/2014/main" id="{93A5A177-08AC-4B64-AC79-150F0DD4034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09384" y="181793"/>
            <a:ext cx="723284" cy="504792"/>
          </a:xfrm>
          <a:prstGeom prst="rect">
            <a:avLst/>
          </a:prstGeom>
          <a:noFill/>
          <a:extLst>
            <a:ext uri="{909E8E84-426E-40DD-AFC4-6F175D3DCCD1}">
              <a14:hiddenFill xmlns:a14="http://schemas.microsoft.com/office/drawing/2010/main">
                <a:solidFill>
                  <a:srgbClr val="FFFFFF"/>
                </a:solidFill>
              </a14:hiddenFill>
            </a:ext>
          </a:extLst>
        </p:spPr>
      </p:pic>
      <p:pic>
        <p:nvPicPr>
          <p:cNvPr id="15" name="Image 14">
            <a:extLst>
              <a:ext uri="{FF2B5EF4-FFF2-40B4-BE49-F238E27FC236}">
                <a16:creationId xmlns:a16="http://schemas.microsoft.com/office/drawing/2014/main" id="{E421B6DB-5829-45C3-92D5-DE8B0EA2B611}"/>
              </a:ext>
            </a:extLst>
          </p:cNvPr>
          <p:cNvPicPr>
            <a:picLocks noChangeAspect="1"/>
          </p:cNvPicPr>
          <p:nvPr/>
        </p:nvPicPr>
        <p:blipFill rotWithShape="1">
          <a:blip r:embed="rId10"/>
          <a:srcRect l="14720" r="17240"/>
          <a:stretch/>
        </p:blipFill>
        <p:spPr>
          <a:xfrm>
            <a:off x="11448144" y="202888"/>
            <a:ext cx="743856" cy="612235"/>
          </a:xfrm>
          <a:prstGeom prst="rect">
            <a:avLst/>
          </a:prstGeom>
        </p:spPr>
      </p:pic>
    </p:spTree>
    <p:extLst>
      <p:ext uri="{BB962C8B-B14F-4D97-AF65-F5344CB8AC3E}">
        <p14:creationId xmlns:p14="http://schemas.microsoft.com/office/powerpoint/2010/main" val="2023255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34</a:t>
            </a:fld>
            <a:endParaRPr lang="fr-FR" dirty="0"/>
          </a:p>
        </p:txBody>
      </p:sp>
      <p:sp>
        <p:nvSpPr>
          <p:cNvPr id="5" name="Espace réservé du texte 4"/>
          <p:cNvSpPr>
            <a:spLocks noGrp="1"/>
          </p:cNvSpPr>
          <p:nvPr>
            <p:ph type="body" idx="1"/>
          </p:nvPr>
        </p:nvSpPr>
        <p:spPr/>
        <p:txBody>
          <a:bodyPr/>
          <a:lstStyle/>
          <a:p>
            <a:r>
              <a:rPr lang="fr-FR" dirty="0"/>
              <a:t>PI Planning – Agenda Jour 1</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pic>
        <p:nvPicPr>
          <p:cNvPr id="7" name="Image 6">
            <a:extLst>
              <a:ext uri="{FF2B5EF4-FFF2-40B4-BE49-F238E27FC236}">
                <a16:creationId xmlns:a16="http://schemas.microsoft.com/office/drawing/2014/main" id="{E04C311E-E58C-47D0-9B3F-E4DE9A0F35FB}"/>
              </a:ext>
            </a:extLst>
          </p:cNvPr>
          <p:cNvPicPr>
            <a:picLocks noChangeAspect="1"/>
          </p:cNvPicPr>
          <p:nvPr/>
        </p:nvPicPr>
        <p:blipFill>
          <a:blip r:embed="rId2"/>
          <a:stretch>
            <a:fillRect/>
          </a:stretch>
        </p:blipFill>
        <p:spPr>
          <a:xfrm>
            <a:off x="1964350" y="1341120"/>
            <a:ext cx="8795524" cy="5200673"/>
          </a:xfrm>
          <a:prstGeom prst="rect">
            <a:avLst/>
          </a:prstGeom>
        </p:spPr>
      </p:pic>
    </p:spTree>
    <p:extLst>
      <p:ext uri="{BB962C8B-B14F-4D97-AF65-F5344CB8AC3E}">
        <p14:creationId xmlns:p14="http://schemas.microsoft.com/office/powerpoint/2010/main" val="22271469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35</a:t>
            </a:fld>
            <a:endParaRPr lang="fr-FR" dirty="0"/>
          </a:p>
        </p:txBody>
      </p:sp>
      <p:sp>
        <p:nvSpPr>
          <p:cNvPr id="5" name="Espace réservé du texte 4"/>
          <p:cNvSpPr>
            <a:spLocks noGrp="1"/>
          </p:cNvSpPr>
          <p:nvPr>
            <p:ph type="body" idx="1"/>
          </p:nvPr>
        </p:nvSpPr>
        <p:spPr/>
        <p:txBody>
          <a:bodyPr/>
          <a:lstStyle/>
          <a:p>
            <a:r>
              <a:rPr lang="fr-FR" dirty="0"/>
              <a:t>PI Planning – Jour 1 – Démarrage en trombe</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sp>
        <p:nvSpPr>
          <p:cNvPr id="15" name="Espace réservé du texte 6">
            <a:extLst>
              <a:ext uri="{FF2B5EF4-FFF2-40B4-BE49-F238E27FC236}">
                <a16:creationId xmlns:a16="http://schemas.microsoft.com/office/drawing/2014/main" id="{A4992FC0-985C-41FF-B8BC-B8D2CDAE8D33}"/>
              </a:ext>
            </a:extLst>
          </p:cNvPr>
          <p:cNvSpPr txBox="1">
            <a:spLocks/>
          </p:cNvSpPr>
          <p:nvPr/>
        </p:nvSpPr>
        <p:spPr>
          <a:xfrm>
            <a:off x="633925" y="1483764"/>
            <a:ext cx="6312365" cy="2906181"/>
          </a:xfrm>
          <a:prstGeom prst="rect">
            <a:avLst/>
          </a:prstGeom>
        </p:spPr>
        <p:txBody>
          <a:bodyPr vert="horz" lIns="0" tIns="0" rIns="0" bIns="0" rtlCol="0">
            <a:noAutofit/>
          </a:bodyPr>
          <a:lstStyle>
            <a:lvl1pPr marL="355600" indent="-355600" algn="l" defTabSz="914400" rtl="0" eaLnBrk="1" latinLnBrk="0" hangingPunct="1">
              <a:lnSpc>
                <a:spcPct val="100000"/>
              </a:lnSpc>
              <a:spcBef>
                <a:spcPts val="600"/>
              </a:spcBef>
              <a:buClr>
                <a:schemeClr val="tx2"/>
              </a:buClr>
              <a:buSzPct val="60000"/>
              <a:buFontTx/>
              <a:buBlip>
                <a:blip r:embed="rId2"/>
              </a:buBlip>
              <a:defRPr sz="1800" b="1" kern="1200">
                <a:solidFill>
                  <a:schemeClr val="tx1"/>
                </a:solidFill>
                <a:latin typeface="+mn-lt"/>
                <a:ea typeface="+mn-ea"/>
                <a:cs typeface="+mn-cs"/>
              </a:defRPr>
            </a:lvl1pPr>
            <a:lvl2pPr marL="630238" indent="-274638" algn="l" defTabSz="914400" rtl="0" eaLnBrk="1" latinLnBrk="0" hangingPunct="1">
              <a:lnSpc>
                <a:spcPct val="100000"/>
              </a:lnSpc>
              <a:spcBef>
                <a:spcPts val="600"/>
              </a:spcBef>
              <a:buClr>
                <a:schemeClr val="tx1">
                  <a:lumMod val="60000"/>
                  <a:lumOff val="40000"/>
                </a:schemeClr>
              </a:buClr>
              <a:buSzPct val="40000"/>
              <a:buFontTx/>
              <a:buBlip>
                <a:blip r:embed="rId3"/>
              </a:buBlip>
              <a:defRPr sz="1800" kern="1200">
                <a:solidFill>
                  <a:schemeClr val="tx1"/>
                </a:solidFill>
                <a:latin typeface="+mn-lt"/>
                <a:ea typeface="+mn-ea"/>
                <a:cs typeface="+mn-cs"/>
              </a:defRPr>
            </a:lvl2pPr>
            <a:lvl3pPr marL="7207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893763" indent="0" algn="l" defTabSz="914400" rtl="0" eaLnBrk="1" latinLnBrk="0" hangingPunct="1">
              <a:lnSpc>
                <a:spcPct val="100000"/>
              </a:lnSpc>
              <a:spcBef>
                <a:spcPts val="600"/>
              </a:spcBef>
              <a:buFont typeface="Arial" panose="020B0604020202020204" pitchFamily="34" charset="0"/>
              <a:buNone/>
              <a:defRPr sz="120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ltLang="fr-FR" dirty="0"/>
              <a:t>Les choses sérieuses commencent !</a:t>
            </a:r>
          </a:p>
          <a:p>
            <a:r>
              <a:rPr lang="fr-FR" altLang="fr-FR" dirty="0"/>
              <a:t>Phase d’échanges entres les équipes</a:t>
            </a:r>
          </a:p>
          <a:p>
            <a:r>
              <a:rPr lang="fr-FR" altLang="fr-FR" b="1" dirty="0">
                <a:solidFill>
                  <a:schemeClr val="accent1"/>
                </a:solidFill>
              </a:rPr>
              <a:t>Au sein de l’équipe </a:t>
            </a:r>
            <a:r>
              <a:rPr lang="fr-FR" altLang="fr-FR" dirty="0"/>
              <a:t>:</a:t>
            </a:r>
          </a:p>
          <a:p>
            <a:pPr lvl="1"/>
            <a:r>
              <a:rPr lang="fr-FR" altLang="fr-FR" dirty="0"/>
              <a:t>On initialise le Project </a:t>
            </a:r>
            <a:r>
              <a:rPr lang="fr-FR" altLang="fr-FR" dirty="0" err="1"/>
              <a:t>Board</a:t>
            </a:r>
            <a:endParaRPr lang="fr-FR" altLang="fr-FR" dirty="0"/>
          </a:p>
          <a:p>
            <a:pPr lvl="1"/>
            <a:r>
              <a:rPr lang="fr-FR" altLang="fr-FR" dirty="0"/>
              <a:t>On estime sa capacité à faire (« </a:t>
            </a:r>
            <a:r>
              <a:rPr lang="fr-FR" altLang="fr-FR" dirty="0" err="1"/>
              <a:t>CàF</a:t>
            </a:r>
            <a:r>
              <a:rPr lang="fr-FR" altLang="fr-FR" dirty="0"/>
              <a:t> » ou « Velocity »)</a:t>
            </a:r>
          </a:p>
          <a:p>
            <a:pPr lvl="1"/>
            <a:r>
              <a:rPr lang="fr-FR" altLang="fr-FR" dirty="0"/>
              <a:t>On découpe les </a:t>
            </a:r>
            <a:r>
              <a:rPr lang="fr-FR" altLang="fr-FR" dirty="0" err="1"/>
              <a:t>Features</a:t>
            </a:r>
            <a:r>
              <a:rPr lang="fr-FR" altLang="fr-FR" dirty="0"/>
              <a:t> en User Stories (US)</a:t>
            </a:r>
          </a:p>
          <a:p>
            <a:pPr lvl="1"/>
            <a:r>
              <a:rPr lang="fr-FR" altLang="fr-FR" dirty="0"/>
              <a:t>On estime les User Stories en points de complexité</a:t>
            </a:r>
          </a:p>
          <a:p>
            <a:pPr lvl="1"/>
            <a:r>
              <a:rPr lang="fr-FR" altLang="fr-FR" dirty="0"/>
              <a:t>On identifie les </a:t>
            </a:r>
            <a:r>
              <a:rPr lang="fr-FR" altLang="fr-FR" dirty="0" err="1"/>
              <a:t>Enablers</a:t>
            </a:r>
            <a:endParaRPr lang="fr-FR" altLang="fr-FR" dirty="0"/>
          </a:p>
          <a:p>
            <a:pPr lvl="1"/>
            <a:r>
              <a:rPr lang="fr-FR" altLang="fr-FR" dirty="0"/>
              <a:t>On identifie les Risques</a:t>
            </a:r>
          </a:p>
          <a:p>
            <a:pPr lvl="1"/>
            <a:endParaRPr lang="fr-FR" altLang="fr-FR" dirty="0"/>
          </a:p>
        </p:txBody>
      </p:sp>
      <p:sp>
        <p:nvSpPr>
          <p:cNvPr id="18" name="Espace réservé du texte 6">
            <a:extLst>
              <a:ext uri="{FF2B5EF4-FFF2-40B4-BE49-F238E27FC236}">
                <a16:creationId xmlns:a16="http://schemas.microsoft.com/office/drawing/2014/main" id="{A3EA8172-7CDE-4459-B9A3-A8C201193A61}"/>
              </a:ext>
            </a:extLst>
          </p:cNvPr>
          <p:cNvSpPr txBox="1">
            <a:spLocks/>
          </p:cNvSpPr>
          <p:nvPr/>
        </p:nvSpPr>
        <p:spPr>
          <a:xfrm>
            <a:off x="4369978" y="4452959"/>
            <a:ext cx="6524687" cy="2010343"/>
          </a:xfrm>
          <a:prstGeom prst="rect">
            <a:avLst/>
          </a:prstGeom>
        </p:spPr>
        <p:txBody>
          <a:bodyPr vert="horz" lIns="0" tIns="0" rIns="0" bIns="0" rtlCol="0">
            <a:noAutofit/>
          </a:bodyPr>
          <a:lstStyle>
            <a:lvl1pPr marL="355600" indent="-355600" algn="l" defTabSz="914400" rtl="0" eaLnBrk="1" latinLnBrk="0" hangingPunct="1">
              <a:lnSpc>
                <a:spcPct val="100000"/>
              </a:lnSpc>
              <a:spcBef>
                <a:spcPts val="600"/>
              </a:spcBef>
              <a:buClr>
                <a:schemeClr val="tx2"/>
              </a:buClr>
              <a:buSzPct val="60000"/>
              <a:buFontTx/>
              <a:buBlip>
                <a:blip r:embed="rId2"/>
              </a:buBlip>
              <a:defRPr sz="1800" b="1" kern="1200">
                <a:solidFill>
                  <a:schemeClr val="tx1"/>
                </a:solidFill>
                <a:latin typeface="+mn-lt"/>
                <a:ea typeface="+mn-ea"/>
                <a:cs typeface="+mn-cs"/>
              </a:defRPr>
            </a:lvl1pPr>
            <a:lvl2pPr marL="630238" indent="-274638" algn="l" defTabSz="914400" rtl="0" eaLnBrk="1" latinLnBrk="0" hangingPunct="1">
              <a:lnSpc>
                <a:spcPct val="100000"/>
              </a:lnSpc>
              <a:spcBef>
                <a:spcPts val="600"/>
              </a:spcBef>
              <a:buClr>
                <a:schemeClr val="tx1">
                  <a:lumMod val="60000"/>
                  <a:lumOff val="40000"/>
                </a:schemeClr>
              </a:buClr>
              <a:buSzPct val="40000"/>
              <a:buFontTx/>
              <a:buBlip>
                <a:blip r:embed="rId3"/>
              </a:buBlip>
              <a:defRPr sz="1800" kern="1200">
                <a:solidFill>
                  <a:schemeClr val="tx1"/>
                </a:solidFill>
                <a:latin typeface="+mn-lt"/>
                <a:ea typeface="+mn-ea"/>
                <a:cs typeface="+mn-cs"/>
              </a:defRPr>
            </a:lvl2pPr>
            <a:lvl3pPr marL="7207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893763" indent="0" algn="l" defTabSz="914400" rtl="0" eaLnBrk="1" latinLnBrk="0" hangingPunct="1">
              <a:lnSpc>
                <a:spcPct val="100000"/>
              </a:lnSpc>
              <a:spcBef>
                <a:spcPts val="600"/>
              </a:spcBef>
              <a:buFont typeface="Arial" panose="020B0604020202020204" pitchFamily="34" charset="0"/>
              <a:buNone/>
              <a:defRPr sz="120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ltLang="fr-FR" b="1" dirty="0">
                <a:solidFill>
                  <a:schemeClr val="accent1"/>
                </a:solidFill>
              </a:rPr>
              <a:t>Entre les équipes </a:t>
            </a:r>
            <a:r>
              <a:rPr lang="fr-FR" altLang="fr-FR" dirty="0"/>
              <a:t>:</a:t>
            </a:r>
          </a:p>
          <a:p>
            <a:pPr lvl="1"/>
            <a:r>
              <a:rPr lang="fr-FR" altLang="fr-FR" dirty="0"/>
              <a:t>On pose ses questions :</a:t>
            </a:r>
          </a:p>
          <a:p>
            <a:pPr lvl="2"/>
            <a:r>
              <a:rPr lang="fr-FR" altLang="fr-FR" dirty="0"/>
              <a:t>au </a:t>
            </a:r>
            <a:r>
              <a:rPr lang="fr-FR" altLang="fr-FR"/>
              <a:t>Métier (profitons </a:t>
            </a:r>
            <a:r>
              <a:rPr lang="fr-FR" altLang="fr-FR" dirty="0"/>
              <a:t>qu’ils soient là !) </a:t>
            </a:r>
          </a:p>
          <a:p>
            <a:pPr lvl="2"/>
            <a:r>
              <a:rPr lang="fr-FR" altLang="fr-FR" dirty="0"/>
              <a:t>aux Architectes (eux aussi !)</a:t>
            </a:r>
          </a:p>
          <a:p>
            <a:pPr lvl="1"/>
            <a:r>
              <a:rPr lang="fr-FR" altLang="fr-FR" dirty="0"/>
              <a:t>On échange sur les dépendances et adhérences qui apparaissent entre les équipes et on se met d’accord</a:t>
            </a:r>
          </a:p>
        </p:txBody>
      </p:sp>
      <p:pic>
        <p:nvPicPr>
          <p:cNvPr id="19" name="Picture 7">
            <a:extLst>
              <a:ext uri="{FF2B5EF4-FFF2-40B4-BE49-F238E27FC236}">
                <a16:creationId xmlns:a16="http://schemas.microsoft.com/office/drawing/2014/main" id="{FA8890DB-49B0-4A76-BBDA-D1709442DA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8707" r="2052"/>
          <a:stretch>
            <a:fillRect/>
          </a:stretch>
        </p:blipFill>
        <p:spPr bwMode="auto">
          <a:xfrm>
            <a:off x="984704" y="4636893"/>
            <a:ext cx="3244611" cy="1700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7">
            <a:extLst>
              <a:ext uri="{FF2B5EF4-FFF2-40B4-BE49-F238E27FC236}">
                <a16:creationId xmlns:a16="http://schemas.microsoft.com/office/drawing/2014/main" id="{4B2DAC3F-F5C0-4A60-8119-8B878444C5F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36305" y="1530134"/>
            <a:ext cx="4542217" cy="2553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352752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36</a:t>
            </a:fld>
            <a:endParaRPr lang="fr-FR" dirty="0"/>
          </a:p>
        </p:txBody>
      </p:sp>
      <p:sp>
        <p:nvSpPr>
          <p:cNvPr id="5" name="Espace réservé du texte 4"/>
          <p:cNvSpPr>
            <a:spLocks noGrp="1"/>
          </p:cNvSpPr>
          <p:nvPr>
            <p:ph type="body" idx="1"/>
          </p:nvPr>
        </p:nvSpPr>
        <p:spPr/>
        <p:txBody>
          <a:bodyPr/>
          <a:lstStyle/>
          <a:p>
            <a:r>
              <a:rPr lang="fr-FR" dirty="0"/>
              <a:t>PI Planning – Jour 1 – Démarrage en trombe</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pic>
        <p:nvPicPr>
          <p:cNvPr id="8" name="Image 7">
            <a:extLst>
              <a:ext uri="{FF2B5EF4-FFF2-40B4-BE49-F238E27FC236}">
                <a16:creationId xmlns:a16="http://schemas.microsoft.com/office/drawing/2014/main" id="{D0FEAEA3-5979-4218-B846-3D5E4AD7FC67}"/>
              </a:ext>
            </a:extLst>
          </p:cNvPr>
          <p:cNvPicPr>
            <a:picLocks noChangeAspect="1"/>
          </p:cNvPicPr>
          <p:nvPr/>
        </p:nvPicPr>
        <p:blipFill>
          <a:blip r:embed="rId2"/>
          <a:stretch>
            <a:fillRect/>
          </a:stretch>
        </p:blipFill>
        <p:spPr>
          <a:xfrm>
            <a:off x="2316607" y="1424909"/>
            <a:ext cx="7670427" cy="5085323"/>
          </a:xfrm>
          <a:prstGeom prst="rect">
            <a:avLst/>
          </a:prstGeom>
        </p:spPr>
      </p:pic>
      <p:sp>
        <p:nvSpPr>
          <p:cNvPr id="2" name="ZoneTexte 1">
            <a:extLst>
              <a:ext uri="{FF2B5EF4-FFF2-40B4-BE49-F238E27FC236}">
                <a16:creationId xmlns:a16="http://schemas.microsoft.com/office/drawing/2014/main" id="{ADAAFE5D-2354-4CE1-95C8-3CD7D24F3585}"/>
              </a:ext>
            </a:extLst>
          </p:cNvPr>
          <p:cNvSpPr txBox="1"/>
          <p:nvPr/>
        </p:nvSpPr>
        <p:spPr>
          <a:xfrm>
            <a:off x="5627985" y="3321337"/>
            <a:ext cx="4359049" cy="1631216"/>
          </a:xfrm>
          <a:prstGeom prst="rect">
            <a:avLst/>
          </a:prstGeom>
          <a:noFill/>
        </p:spPr>
        <p:txBody>
          <a:bodyPr wrap="square" rtlCol="0">
            <a:spAutoFit/>
          </a:bodyPr>
          <a:lstStyle/>
          <a:p>
            <a:pPr>
              <a:spcBef>
                <a:spcPts val="600"/>
              </a:spcBef>
            </a:pPr>
            <a:r>
              <a:rPr lang="fr-FR" b="1" dirty="0"/>
              <a:t>Objectifs</a:t>
            </a:r>
            <a:r>
              <a:rPr lang="fr-FR" dirty="0"/>
              <a:t> : </a:t>
            </a:r>
          </a:p>
          <a:p>
            <a:pPr>
              <a:spcBef>
                <a:spcPts val="600"/>
              </a:spcBef>
            </a:pPr>
            <a:r>
              <a:rPr lang="fr-FR" dirty="0"/>
              <a:t>- Avoir une charge de travail égale à 80% de la capacité de l’équipe sur chaque Sprint ;</a:t>
            </a:r>
          </a:p>
          <a:p>
            <a:pPr>
              <a:spcBef>
                <a:spcPts val="600"/>
              </a:spcBef>
            </a:pPr>
            <a:r>
              <a:rPr lang="fr-FR" dirty="0"/>
              <a:t>- Les PI Objectives doivent être SMART.</a:t>
            </a:r>
          </a:p>
        </p:txBody>
      </p:sp>
    </p:spTree>
    <p:extLst>
      <p:ext uri="{BB962C8B-B14F-4D97-AF65-F5344CB8AC3E}">
        <p14:creationId xmlns:p14="http://schemas.microsoft.com/office/powerpoint/2010/main" val="345216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37</a:t>
            </a:fld>
            <a:endParaRPr lang="fr-FR" dirty="0"/>
          </a:p>
        </p:txBody>
      </p:sp>
      <p:sp>
        <p:nvSpPr>
          <p:cNvPr id="5" name="Espace réservé du texte 4"/>
          <p:cNvSpPr>
            <a:spLocks noGrp="1"/>
          </p:cNvSpPr>
          <p:nvPr>
            <p:ph type="body" idx="1"/>
          </p:nvPr>
        </p:nvSpPr>
        <p:spPr/>
        <p:txBody>
          <a:bodyPr/>
          <a:lstStyle/>
          <a:p>
            <a:r>
              <a:rPr lang="fr-FR" dirty="0"/>
              <a:t>PI Planning – Jour 1 – Identification des adhérences et dépendances</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sp>
        <p:nvSpPr>
          <p:cNvPr id="15" name="Espace réservé du texte 6">
            <a:extLst>
              <a:ext uri="{FF2B5EF4-FFF2-40B4-BE49-F238E27FC236}">
                <a16:creationId xmlns:a16="http://schemas.microsoft.com/office/drawing/2014/main" id="{A4992FC0-985C-41FF-B8BC-B8D2CDAE8D33}"/>
              </a:ext>
            </a:extLst>
          </p:cNvPr>
          <p:cNvSpPr txBox="1">
            <a:spLocks/>
          </p:cNvSpPr>
          <p:nvPr/>
        </p:nvSpPr>
        <p:spPr>
          <a:xfrm>
            <a:off x="633925" y="1483764"/>
            <a:ext cx="10751503" cy="2906181"/>
          </a:xfrm>
          <a:prstGeom prst="rect">
            <a:avLst/>
          </a:prstGeom>
        </p:spPr>
        <p:txBody>
          <a:bodyPr vert="horz" lIns="0" tIns="0" rIns="0" bIns="0" rtlCol="0">
            <a:noAutofit/>
          </a:bodyPr>
          <a:lstStyle>
            <a:lvl1pPr marL="355600" indent="-355600" algn="l" defTabSz="914400" rtl="0" eaLnBrk="1" latinLnBrk="0" hangingPunct="1">
              <a:lnSpc>
                <a:spcPct val="100000"/>
              </a:lnSpc>
              <a:spcBef>
                <a:spcPts val="600"/>
              </a:spcBef>
              <a:buClr>
                <a:schemeClr val="tx2"/>
              </a:buClr>
              <a:buSzPct val="60000"/>
              <a:buFontTx/>
              <a:buBlip>
                <a:blip r:embed="rId2"/>
              </a:buBlip>
              <a:defRPr sz="1800" b="1" kern="1200">
                <a:solidFill>
                  <a:schemeClr val="tx1"/>
                </a:solidFill>
                <a:latin typeface="+mn-lt"/>
                <a:ea typeface="+mn-ea"/>
                <a:cs typeface="+mn-cs"/>
              </a:defRPr>
            </a:lvl1pPr>
            <a:lvl2pPr marL="630238" indent="-274638" algn="l" defTabSz="914400" rtl="0" eaLnBrk="1" latinLnBrk="0" hangingPunct="1">
              <a:lnSpc>
                <a:spcPct val="100000"/>
              </a:lnSpc>
              <a:spcBef>
                <a:spcPts val="600"/>
              </a:spcBef>
              <a:buClr>
                <a:schemeClr val="tx1">
                  <a:lumMod val="60000"/>
                  <a:lumOff val="40000"/>
                </a:schemeClr>
              </a:buClr>
              <a:buSzPct val="40000"/>
              <a:buFontTx/>
              <a:buBlip>
                <a:blip r:embed="rId3"/>
              </a:buBlip>
              <a:defRPr sz="1800" kern="1200">
                <a:solidFill>
                  <a:schemeClr val="tx1"/>
                </a:solidFill>
                <a:latin typeface="+mn-lt"/>
                <a:ea typeface="+mn-ea"/>
                <a:cs typeface="+mn-cs"/>
              </a:defRPr>
            </a:lvl2pPr>
            <a:lvl3pPr marL="7207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893763" indent="0" algn="l" defTabSz="914400" rtl="0" eaLnBrk="1" latinLnBrk="0" hangingPunct="1">
              <a:lnSpc>
                <a:spcPct val="100000"/>
              </a:lnSpc>
              <a:spcBef>
                <a:spcPts val="600"/>
              </a:spcBef>
              <a:buFont typeface="Arial" panose="020B0604020202020204" pitchFamily="34" charset="0"/>
              <a:buNone/>
              <a:defRPr sz="120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Les adhérences entre les équipes sont regroupées sur un Program </a:t>
            </a:r>
            <a:r>
              <a:rPr lang="fr-FR" dirty="0" err="1"/>
              <a:t>Board</a:t>
            </a:r>
            <a:r>
              <a:rPr lang="fr-FR" dirty="0"/>
              <a:t> unique, </a:t>
            </a:r>
            <a:r>
              <a:rPr lang="fr-FR" b="1" dirty="0">
                <a:solidFill>
                  <a:schemeClr val="accent1"/>
                </a:solidFill>
              </a:rPr>
              <a:t>synchronisées </a:t>
            </a:r>
            <a:r>
              <a:rPr lang="fr-FR" dirty="0"/>
              <a:t>avec le Project </a:t>
            </a:r>
            <a:r>
              <a:rPr lang="fr-FR" dirty="0" err="1"/>
              <a:t>Board</a:t>
            </a:r>
            <a:r>
              <a:rPr lang="fr-FR" dirty="0"/>
              <a:t> de chaque équipe</a:t>
            </a:r>
            <a:endParaRPr lang="fr-FR" altLang="fr-FR" dirty="0"/>
          </a:p>
          <a:p>
            <a:endParaRPr lang="fr-FR" altLang="fr-FR" dirty="0"/>
          </a:p>
          <a:p>
            <a:endParaRPr lang="fr-FR" altLang="fr-FR" dirty="0"/>
          </a:p>
          <a:p>
            <a:endParaRPr lang="fr-FR" altLang="fr-FR" dirty="0"/>
          </a:p>
          <a:p>
            <a:pPr marL="5981550"/>
            <a:endParaRPr lang="fr-FR" altLang="fr-FR" dirty="0"/>
          </a:p>
        </p:txBody>
      </p:sp>
      <p:pic>
        <p:nvPicPr>
          <p:cNvPr id="10" name="Image 9">
            <a:extLst>
              <a:ext uri="{FF2B5EF4-FFF2-40B4-BE49-F238E27FC236}">
                <a16:creationId xmlns:a16="http://schemas.microsoft.com/office/drawing/2014/main" id="{7F8A32ED-6A12-429F-98E7-80CF3D0FD520}"/>
              </a:ext>
            </a:extLst>
          </p:cNvPr>
          <p:cNvPicPr>
            <a:picLocks noChangeAspect="1"/>
          </p:cNvPicPr>
          <p:nvPr/>
        </p:nvPicPr>
        <p:blipFill>
          <a:blip r:embed="rId4">
            <a:extLst>
              <a:ext uri="{28A0092B-C50C-407E-A947-70E740481C1C}">
                <a14:useLocalDpi xmlns:a14="http://schemas.microsoft.com/office/drawing/2010/main" val="0"/>
              </a:ext>
            </a:extLst>
          </a:blip>
          <a:srcRect t="2715" r="6107"/>
          <a:stretch>
            <a:fillRect/>
          </a:stretch>
        </p:blipFill>
        <p:spPr bwMode="auto">
          <a:xfrm>
            <a:off x="6594764" y="3043177"/>
            <a:ext cx="4963311" cy="2890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Image 10">
            <a:extLst>
              <a:ext uri="{FF2B5EF4-FFF2-40B4-BE49-F238E27FC236}">
                <a16:creationId xmlns:a16="http://schemas.microsoft.com/office/drawing/2014/main" id="{F283F2B5-A147-4A70-887C-85FC8710CB93}"/>
              </a:ext>
            </a:extLst>
          </p:cNvPr>
          <p:cNvPicPr>
            <a:picLocks noChangeAspect="1"/>
          </p:cNvPicPr>
          <p:nvPr/>
        </p:nvPicPr>
        <p:blipFill>
          <a:blip r:embed="rId5">
            <a:extLst>
              <a:ext uri="{28A0092B-C50C-407E-A947-70E740481C1C}">
                <a14:useLocalDpi xmlns:a14="http://schemas.microsoft.com/office/drawing/2010/main" val="0"/>
              </a:ext>
            </a:extLst>
          </a:blip>
          <a:srcRect t="10255"/>
          <a:stretch>
            <a:fillRect/>
          </a:stretch>
        </p:blipFill>
        <p:spPr bwMode="auto">
          <a:xfrm>
            <a:off x="679537" y="2175413"/>
            <a:ext cx="5184576" cy="2617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624149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38</a:t>
            </a:fld>
            <a:endParaRPr lang="fr-FR" dirty="0"/>
          </a:p>
        </p:txBody>
      </p:sp>
      <p:sp>
        <p:nvSpPr>
          <p:cNvPr id="5" name="Espace réservé du texte 4"/>
          <p:cNvSpPr>
            <a:spLocks noGrp="1"/>
          </p:cNvSpPr>
          <p:nvPr>
            <p:ph type="body" idx="1"/>
          </p:nvPr>
        </p:nvSpPr>
        <p:spPr/>
        <p:txBody>
          <a:bodyPr/>
          <a:lstStyle/>
          <a:p>
            <a:r>
              <a:rPr lang="fr-FR" dirty="0"/>
              <a:t>PI Planning – Jour 1 – Elaboration du Program </a:t>
            </a:r>
            <a:r>
              <a:rPr lang="fr-FR" dirty="0" err="1"/>
              <a:t>Board</a:t>
            </a:r>
            <a:endParaRPr lang="fr-FR" dirty="0"/>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grpSp>
        <p:nvGrpSpPr>
          <p:cNvPr id="2" name="Groupe 1">
            <a:extLst>
              <a:ext uri="{FF2B5EF4-FFF2-40B4-BE49-F238E27FC236}">
                <a16:creationId xmlns:a16="http://schemas.microsoft.com/office/drawing/2014/main" id="{E80AA9FC-285D-454B-BD09-AC2D0B1A2797}"/>
              </a:ext>
            </a:extLst>
          </p:cNvPr>
          <p:cNvGrpSpPr/>
          <p:nvPr/>
        </p:nvGrpSpPr>
        <p:grpSpPr>
          <a:xfrm>
            <a:off x="1026000" y="1355760"/>
            <a:ext cx="10111288" cy="4898013"/>
            <a:chOff x="498373" y="652032"/>
            <a:chExt cx="11546490" cy="5449341"/>
          </a:xfrm>
        </p:grpSpPr>
        <p:cxnSp>
          <p:nvCxnSpPr>
            <p:cNvPr id="9" name="Straight Connector 17">
              <a:extLst>
                <a:ext uri="{FF2B5EF4-FFF2-40B4-BE49-F238E27FC236}">
                  <a16:creationId xmlns:a16="http://schemas.microsoft.com/office/drawing/2014/main" id="{07369A7F-4911-4576-9665-01939879DC38}"/>
                </a:ext>
              </a:extLst>
            </p:cNvPr>
            <p:cNvCxnSpPr/>
            <p:nvPr/>
          </p:nvCxnSpPr>
          <p:spPr bwMode="auto">
            <a:xfrm>
              <a:off x="1072487" y="2239017"/>
              <a:ext cx="993840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pic>
          <p:nvPicPr>
            <p:cNvPr id="12" name="Picture 7">
              <a:extLst>
                <a:ext uri="{FF2B5EF4-FFF2-40B4-BE49-F238E27FC236}">
                  <a16:creationId xmlns:a16="http://schemas.microsoft.com/office/drawing/2014/main" id="{9447789E-2A3F-4839-A68E-F34A24290D03}"/>
                </a:ext>
              </a:extLst>
            </p:cNvPr>
            <p:cNvPicPr>
              <a:picLocks noChangeAspect="1"/>
            </p:cNvPicPr>
            <p:nvPr/>
          </p:nvPicPr>
          <p:blipFill rotWithShape="1">
            <a:blip r:embed="rId2">
              <a:extLst>
                <a:ext uri="{28A0092B-C50C-407E-A947-70E740481C1C}">
                  <a14:useLocalDpi xmlns:a14="http://schemas.microsoft.com/office/drawing/2010/main" val="0"/>
                </a:ext>
              </a:extLst>
            </a:blip>
            <a:srcRect t="3712" b="48884"/>
            <a:stretch/>
          </p:blipFill>
          <p:spPr bwMode="auto">
            <a:xfrm>
              <a:off x="1023903" y="665368"/>
              <a:ext cx="10035823" cy="4494440"/>
            </a:xfrm>
            <a:prstGeom prst="rect">
              <a:avLst/>
            </a:prstGeom>
            <a:noFill/>
            <a:ln w="9525">
              <a:noFill/>
              <a:miter lim="800000"/>
              <a:headEnd/>
              <a:tailEnd/>
            </a:ln>
            <a:effectLst/>
          </p:spPr>
        </p:pic>
        <p:sp>
          <p:nvSpPr>
            <p:cNvPr id="13" name="TextBox 22">
              <a:extLst>
                <a:ext uri="{FF2B5EF4-FFF2-40B4-BE49-F238E27FC236}">
                  <a16:creationId xmlns:a16="http://schemas.microsoft.com/office/drawing/2014/main" id="{B19EA34F-1382-43F6-BBF1-9FC91F028E2D}"/>
                </a:ext>
              </a:extLst>
            </p:cNvPr>
            <p:cNvSpPr txBox="1">
              <a:spLocks noChangeArrowheads="1"/>
            </p:cNvSpPr>
            <p:nvPr/>
          </p:nvSpPr>
          <p:spPr bwMode="auto">
            <a:xfrm>
              <a:off x="2512133" y="652032"/>
              <a:ext cx="1146468" cy="297454"/>
            </a:xfrm>
            <a:prstGeom prst="rect">
              <a:avLst/>
            </a:prstGeom>
            <a:noFill/>
            <a:ln w="9525">
              <a:noFill/>
              <a:miter lim="800000"/>
              <a:headEnd/>
              <a:tailEnd/>
            </a:ln>
          </p:spPr>
          <p:txBody>
            <a:bodyPr wrap="none">
              <a:prstTxWarp prst="textNoShape">
                <a:avLst/>
              </a:prstTxWarp>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algn="ctr" defTabSz="1219170">
                <a:defRPr/>
              </a:pPr>
              <a:r>
                <a:rPr lang="en-US" sz="1333" b="1" dirty="0">
                  <a:solidFill>
                    <a:srgbClr val="565656"/>
                  </a:solidFill>
                  <a:latin typeface="Arial"/>
                  <a:cs typeface="Arial"/>
                </a:rPr>
                <a:t>Iteration 1.1</a:t>
              </a:r>
            </a:p>
          </p:txBody>
        </p:sp>
        <p:cxnSp>
          <p:nvCxnSpPr>
            <p:cNvPr id="14" name="Straight Connector 9">
              <a:extLst>
                <a:ext uri="{FF2B5EF4-FFF2-40B4-BE49-F238E27FC236}">
                  <a16:creationId xmlns:a16="http://schemas.microsoft.com/office/drawing/2014/main" id="{D04A8A3B-E607-41D5-B39A-F2E19C8D8140}"/>
                </a:ext>
              </a:extLst>
            </p:cNvPr>
            <p:cNvCxnSpPr/>
            <p:nvPr/>
          </p:nvCxnSpPr>
          <p:spPr>
            <a:xfrm>
              <a:off x="3777982" y="722170"/>
              <a:ext cx="0" cy="420624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0">
              <a:extLst>
                <a:ext uri="{FF2B5EF4-FFF2-40B4-BE49-F238E27FC236}">
                  <a16:creationId xmlns:a16="http://schemas.microsoft.com/office/drawing/2014/main" id="{7DC6677E-5C1D-40B8-9B99-BDE3750AD5D2}"/>
                </a:ext>
              </a:extLst>
            </p:cNvPr>
            <p:cNvCxnSpPr/>
            <p:nvPr/>
          </p:nvCxnSpPr>
          <p:spPr>
            <a:xfrm>
              <a:off x="5200060" y="722170"/>
              <a:ext cx="0" cy="420624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1">
              <a:extLst>
                <a:ext uri="{FF2B5EF4-FFF2-40B4-BE49-F238E27FC236}">
                  <a16:creationId xmlns:a16="http://schemas.microsoft.com/office/drawing/2014/main" id="{E7DBA2FC-F736-45D9-821B-CE288C13A419}"/>
                </a:ext>
              </a:extLst>
            </p:cNvPr>
            <p:cNvCxnSpPr/>
            <p:nvPr/>
          </p:nvCxnSpPr>
          <p:spPr>
            <a:xfrm>
              <a:off x="6622137" y="722170"/>
              <a:ext cx="0" cy="420624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2">
              <a:extLst>
                <a:ext uri="{FF2B5EF4-FFF2-40B4-BE49-F238E27FC236}">
                  <a16:creationId xmlns:a16="http://schemas.microsoft.com/office/drawing/2014/main" id="{19470DC4-4BE7-42CE-9D43-BD9DD1F19F3A}"/>
                </a:ext>
              </a:extLst>
            </p:cNvPr>
            <p:cNvCxnSpPr/>
            <p:nvPr/>
          </p:nvCxnSpPr>
          <p:spPr>
            <a:xfrm>
              <a:off x="8044214" y="722170"/>
              <a:ext cx="0" cy="420624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3">
              <a:extLst>
                <a:ext uri="{FF2B5EF4-FFF2-40B4-BE49-F238E27FC236}">
                  <a16:creationId xmlns:a16="http://schemas.microsoft.com/office/drawing/2014/main" id="{04E4ED3D-29CE-48E1-BC81-4AB6E23D45AB}"/>
                </a:ext>
              </a:extLst>
            </p:cNvPr>
            <p:cNvCxnSpPr/>
            <p:nvPr/>
          </p:nvCxnSpPr>
          <p:spPr>
            <a:xfrm>
              <a:off x="2355905" y="722170"/>
              <a:ext cx="0" cy="420624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4">
              <a:extLst>
                <a:ext uri="{FF2B5EF4-FFF2-40B4-BE49-F238E27FC236}">
                  <a16:creationId xmlns:a16="http://schemas.microsoft.com/office/drawing/2014/main" id="{F2AE9724-4DAA-4F5D-8DFE-8585589F9922}"/>
                </a:ext>
              </a:extLst>
            </p:cNvPr>
            <p:cNvCxnSpPr/>
            <p:nvPr/>
          </p:nvCxnSpPr>
          <p:spPr bwMode="auto">
            <a:xfrm>
              <a:off x="1074170" y="1000717"/>
              <a:ext cx="993840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1" name="Straight Connector 15">
              <a:extLst>
                <a:ext uri="{FF2B5EF4-FFF2-40B4-BE49-F238E27FC236}">
                  <a16:creationId xmlns:a16="http://schemas.microsoft.com/office/drawing/2014/main" id="{266C25A5-B950-458B-97DB-88A55A1281C6}"/>
                </a:ext>
              </a:extLst>
            </p:cNvPr>
            <p:cNvCxnSpPr/>
            <p:nvPr/>
          </p:nvCxnSpPr>
          <p:spPr bwMode="auto">
            <a:xfrm>
              <a:off x="1042798" y="1400700"/>
              <a:ext cx="993840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2" name="Straight Connector 16">
              <a:extLst>
                <a:ext uri="{FF2B5EF4-FFF2-40B4-BE49-F238E27FC236}">
                  <a16:creationId xmlns:a16="http://schemas.microsoft.com/office/drawing/2014/main" id="{2D9B3E45-E3B4-4295-BE8A-8CC0AA581C7F}"/>
                </a:ext>
              </a:extLst>
            </p:cNvPr>
            <p:cNvCxnSpPr/>
            <p:nvPr/>
          </p:nvCxnSpPr>
          <p:spPr bwMode="auto">
            <a:xfrm>
              <a:off x="1072487" y="1800684"/>
              <a:ext cx="993840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3" name="Straight Connector 18">
              <a:extLst>
                <a:ext uri="{FF2B5EF4-FFF2-40B4-BE49-F238E27FC236}">
                  <a16:creationId xmlns:a16="http://schemas.microsoft.com/office/drawing/2014/main" id="{86C0844D-7B46-4122-A1E6-CCD8BB233D7F}"/>
                </a:ext>
              </a:extLst>
            </p:cNvPr>
            <p:cNvCxnSpPr/>
            <p:nvPr/>
          </p:nvCxnSpPr>
          <p:spPr bwMode="auto">
            <a:xfrm>
              <a:off x="1072487" y="2600650"/>
              <a:ext cx="993840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4" name="Straight Connector 19">
              <a:extLst>
                <a:ext uri="{FF2B5EF4-FFF2-40B4-BE49-F238E27FC236}">
                  <a16:creationId xmlns:a16="http://schemas.microsoft.com/office/drawing/2014/main" id="{269C59D6-9DC2-4A4A-B28A-582B17B1CD37}"/>
                </a:ext>
              </a:extLst>
            </p:cNvPr>
            <p:cNvCxnSpPr/>
            <p:nvPr/>
          </p:nvCxnSpPr>
          <p:spPr bwMode="auto">
            <a:xfrm>
              <a:off x="1074170" y="3000633"/>
              <a:ext cx="993840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5" name="TextBox 22">
              <a:extLst>
                <a:ext uri="{FF2B5EF4-FFF2-40B4-BE49-F238E27FC236}">
                  <a16:creationId xmlns:a16="http://schemas.microsoft.com/office/drawing/2014/main" id="{E01A84A6-AB44-41E1-8D1C-948C127E7CEE}"/>
                </a:ext>
              </a:extLst>
            </p:cNvPr>
            <p:cNvSpPr txBox="1">
              <a:spLocks noChangeArrowheads="1"/>
            </p:cNvSpPr>
            <p:nvPr/>
          </p:nvSpPr>
          <p:spPr bwMode="auto">
            <a:xfrm>
              <a:off x="3881583" y="652032"/>
              <a:ext cx="1146468" cy="297454"/>
            </a:xfrm>
            <a:prstGeom prst="rect">
              <a:avLst/>
            </a:prstGeom>
            <a:noFill/>
            <a:ln w="9525">
              <a:noFill/>
              <a:miter lim="800000"/>
              <a:headEnd/>
              <a:tailEnd/>
            </a:ln>
          </p:spPr>
          <p:txBody>
            <a:bodyPr wrap="none">
              <a:prstTxWarp prst="textNoShape">
                <a:avLst/>
              </a:prstTxWarp>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algn="ctr" defTabSz="1219170">
                <a:defRPr/>
              </a:pPr>
              <a:r>
                <a:rPr lang="en-US" sz="1333" b="1" dirty="0">
                  <a:solidFill>
                    <a:srgbClr val="565656"/>
                  </a:solidFill>
                  <a:latin typeface="Arial"/>
                  <a:cs typeface="Arial"/>
                </a:rPr>
                <a:t>Iteration 1.2</a:t>
              </a:r>
            </a:p>
          </p:txBody>
        </p:sp>
        <p:sp>
          <p:nvSpPr>
            <p:cNvPr id="26" name="TextBox 22">
              <a:extLst>
                <a:ext uri="{FF2B5EF4-FFF2-40B4-BE49-F238E27FC236}">
                  <a16:creationId xmlns:a16="http://schemas.microsoft.com/office/drawing/2014/main" id="{1097D2F1-DC2B-43C2-8D94-977E061C455A}"/>
                </a:ext>
              </a:extLst>
            </p:cNvPr>
            <p:cNvSpPr txBox="1">
              <a:spLocks noChangeArrowheads="1"/>
            </p:cNvSpPr>
            <p:nvPr/>
          </p:nvSpPr>
          <p:spPr bwMode="auto">
            <a:xfrm>
              <a:off x="5251036" y="652032"/>
              <a:ext cx="1146468" cy="297454"/>
            </a:xfrm>
            <a:prstGeom prst="rect">
              <a:avLst/>
            </a:prstGeom>
            <a:noFill/>
            <a:ln w="9525">
              <a:noFill/>
              <a:miter lim="800000"/>
              <a:headEnd/>
              <a:tailEnd/>
            </a:ln>
          </p:spPr>
          <p:txBody>
            <a:bodyPr wrap="none">
              <a:prstTxWarp prst="textNoShape">
                <a:avLst/>
              </a:prstTxWarp>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algn="ctr" defTabSz="1219170">
                <a:defRPr/>
              </a:pPr>
              <a:r>
                <a:rPr lang="en-US" sz="1333" b="1" dirty="0">
                  <a:solidFill>
                    <a:srgbClr val="565656"/>
                  </a:solidFill>
                  <a:latin typeface="Arial"/>
                  <a:cs typeface="Arial"/>
                </a:rPr>
                <a:t>Iteration 1.3</a:t>
              </a:r>
            </a:p>
          </p:txBody>
        </p:sp>
        <p:sp>
          <p:nvSpPr>
            <p:cNvPr id="27" name="TextBox 22">
              <a:extLst>
                <a:ext uri="{FF2B5EF4-FFF2-40B4-BE49-F238E27FC236}">
                  <a16:creationId xmlns:a16="http://schemas.microsoft.com/office/drawing/2014/main" id="{9F1EC74E-23F0-4A0B-B721-60C5D41C401E}"/>
                </a:ext>
              </a:extLst>
            </p:cNvPr>
            <p:cNvSpPr txBox="1">
              <a:spLocks noChangeArrowheads="1"/>
            </p:cNvSpPr>
            <p:nvPr/>
          </p:nvSpPr>
          <p:spPr bwMode="auto">
            <a:xfrm>
              <a:off x="6615356" y="652033"/>
              <a:ext cx="1337808" cy="297454"/>
            </a:xfrm>
            <a:prstGeom prst="rect">
              <a:avLst/>
            </a:prstGeom>
            <a:noFill/>
            <a:ln w="9525">
              <a:noFill/>
              <a:miter lim="800000"/>
              <a:headEnd/>
              <a:tailEnd/>
            </a:ln>
          </p:spPr>
          <p:txBody>
            <a:bodyPr wrap="square">
              <a:prstTxWarp prst="textNoShape">
                <a:avLst/>
              </a:prstTxWarp>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algn="ctr" defTabSz="1219170">
                <a:defRPr/>
              </a:pPr>
              <a:r>
                <a:rPr lang="en-US" sz="1333" b="1" dirty="0">
                  <a:solidFill>
                    <a:srgbClr val="565656"/>
                  </a:solidFill>
                  <a:latin typeface="Arial"/>
                  <a:cs typeface="Arial"/>
                </a:rPr>
                <a:t>Iteration 1.4</a:t>
              </a:r>
            </a:p>
          </p:txBody>
        </p:sp>
        <p:sp>
          <p:nvSpPr>
            <p:cNvPr id="28" name="TextBox 23">
              <a:extLst>
                <a:ext uri="{FF2B5EF4-FFF2-40B4-BE49-F238E27FC236}">
                  <a16:creationId xmlns:a16="http://schemas.microsoft.com/office/drawing/2014/main" id="{740FAEE9-8191-4ACB-A634-01D1B4DC4397}"/>
                </a:ext>
              </a:extLst>
            </p:cNvPr>
            <p:cNvSpPr txBox="1">
              <a:spLocks noChangeArrowheads="1"/>
            </p:cNvSpPr>
            <p:nvPr/>
          </p:nvSpPr>
          <p:spPr bwMode="auto">
            <a:xfrm>
              <a:off x="7987545" y="653141"/>
              <a:ext cx="1539176" cy="297454"/>
            </a:xfrm>
            <a:prstGeom prst="rect">
              <a:avLst/>
            </a:prstGeom>
            <a:noFill/>
            <a:ln w="9525">
              <a:noFill/>
              <a:miter lim="800000"/>
              <a:headEnd/>
              <a:tailEnd/>
            </a:ln>
          </p:spPr>
          <p:txBody>
            <a:bodyPr wrap="square">
              <a:prstTxWarp prst="textNoShape">
                <a:avLst/>
              </a:prstTxWarp>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algn="ctr" defTabSz="1219170">
                <a:defRPr/>
              </a:pPr>
              <a:r>
                <a:rPr lang="en-US" sz="1333" b="1" dirty="0">
                  <a:solidFill>
                    <a:srgbClr val="565656"/>
                  </a:solidFill>
                  <a:latin typeface="Arial"/>
                  <a:cs typeface="Arial"/>
                </a:rPr>
                <a:t>Iteration 1.5 (IP)</a:t>
              </a:r>
            </a:p>
          </p:txBody>
        </p:sp>
        <p:sp>
          <p:nvSpPr>
            <p:cNvPr id="29" name="TextBox 22">
              <a:extLst>
                <a:ext uri="{FF2B5EF4-FFF2-40B4-BE49-F238E27FC236}">
                  <a16:creationId xmlns:a16="http://schemas.microsoft.com/office/drawing/2014/main" id="{4E684882-19C2-4714-810B-64A19FE21AF4}"/>
                </a:ext>
              </a:extLst>
            </p:cNvPr>
            <p:cNvSpPr txBox="1">
              <a:spLocks noChangeArrowheads="1"/>
            </p:cNvSpPr>
            <p:nvPr/>
          </p:nvSpPr>
          <p:spPr bwMode="auto">
            <a:xfrm>
              <a:off x="929591" y="933845"/>
              <a:ext cx="1468172" cy="513631"/>
            </a:xfrm>
            <a:prstGeom prst="rect">
              <a:avLst/>
            </a:prstGeom>
            <a:noFill/>
            <a:ln w="9525">
              <a:noFill/>
              <a:miter lim="800000"/>
              <a:headEnd/>
              <a:tailEnd/>
            </a:ln>
          </p:spPr>
          <p:txBody>
            <a:bodyPr wrap="square">
              <a:prstTxWarp prst="textNoShape">
                <a:avLst/>
              </a:prstTxWarp>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algn="ctr" defTabSz="1219170">
                <a:defRPr/>
              </a:pPr>
              <a:r>
                <a:rPr lang="en-US" sz="1200" b="1" dirty="0">
                  <a:solidFill>
                    <a:srgbClr val="565656"/>
                  </a:solidFill>
                  <a:latin typeface="Arial"/>
                  <a:cs typeface="Arial"/>
                </a:rPr>
                <a:t>Milestones/ Events</a:t>
              </a:r>
            </a:p>
          </p:txBody>
        </p:sp>
        <p:sp>
          <p:nvSpPr>
            <p:cNvPr id="30" name="TextBox 22">
              <a:extLst>
                <a:ext uri="{FF2B5EF4-FFF2-40B4-BE49-F238E27FC236}">
                  <a16:creationId xmlns:a16="http://schemas.microsoft.com/office/drawing/2014/main" id="{900A8774-D333-4D03-A8D9-41E7199B01AC}"/>
                </a:ext>
              </a:extLst>
            </p:cNvPr>
            <p:cNvSpPr txBox="1">
              <a:spLocks noChangeArrowheads="1"/>
            </p:cNvSpPr>
            <p:nvPr/>
          </p:nvSpPr>
          <p:spPr bwMode="auto">
            <a:xfrm>
              <a:off x="929591" y="1423328"/>
              <a:ext cx="1468173" cy="297454"/>
            </a:xfrm>
            <a:prstGeom prst="rect">
              <a:avLst/>
            </a:prstGeom>
            <a:noFill/>
            <a:ln w="9525">
              <a:noFill/>
              <a:miter lim="800000"/>
              <a:headEnd/>
              <a:tailEnd/>
            </a:ln>
          </p:spPr>
          <p:txBody>
            <a:bodyPr wrap="square">
              <a:prstTxWarp prst="textNoShape">
                <a:avLst/>
              </a:prstTxWarp>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algn="ctr" defTabSz="1219170">
                <a:defRPr/>
              </a:pPr>
              <a:r>
                <a:rPr lang="en-US" sz="1333" b="1" dirty="0">
                  <a:solidFill>
                    <a:srgbClr val="565656"/>
                  </a:solidFill>
                  <a:latin typeface="Arial"/>
                  <a:cs typeface="Arial"/>
                </a:rPr>
                <a:t>Unicorns</a:t>
              </a:r>
            </a:p>
          </p:txBody>
        </p:sp>
        <p:sp>
          <p:nvSpPr>
            <p:cNvPr id="31" name="TextBox 22">
              <a:extLst>
                <a:ext uri="{FF2B5EF4-FFF2-40B4-BE49-F238E27FC236}">
                  <a16:creationId xmlns:a16="http://schemas.microsoft.com/office/drawing/2014/main" id="{594292AA-02FF-4C77-B5D6-25ABA48D2256}"/>
                </a:ext>
              </a:extLst>
            </p:cNvPr>
            <p:cNvSpPr txBox="1">
              <a:spLocks noChangeArrowheads="1"/>
            </p:cNvSpPr>
            <p:nvPr/>
          </p:nvSpPr>
          <p:spPr bwMode="auto">
            <a:xfrm>
              <a:off x="1205859" y="1833227"/>
              <a:ext cx="915635" cy="297454"/>
            </a:xfrm>
            <a:prstGeom prst="rect">
              <a:avLst/>
            </a:prstGeom>
            <a:noFill/>
            <a:ln w="9525">
              <a:noFill/>
              <a:miter lim="800000"/>
              <a:headEnd/>
              <a:tailEnd/>
            </a:ln>
          </p:spPr>
          <p:txBody>
            <a:bodyPr wrap="none">
              <a:prstTxWarp prst="textNoShape">
                <a:avLst/>
              </a:prstTxWarp>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algn="ctr" defTabSz="1219170">
                <a:defRPr/>
              </a:pPr>
              <a:r>
                <a:rPr lang="en-US" sz="1333" b="1" dirty="0">
                  <a:solidFill>
                    <a:srgbClr val="565656"/>
                  </a:solidFill>
                  <a:latin typeface="Arial"/>
                  <a:cs typeface="Arial"/>
                </a:rPr>
                <a:t>Dolphins</a:t>
              </a:r>
            </a:p>
          </p:txBody>
        </p:sp>
        <p:sp>
          <p:nvSpPr>
            <p:cNvPr id="32" name="TextBox 22">
              <a:extLst>
                <a:ext uri="{FF2B5EF4-FFF2-40B4-BE49-F238E27FC236}">
                  <a16:creationId xmlns:a16="http://schemas.microsoft.com/office/drawing/2014/main" id="{2CE68FC0-D652-44E1-94C1-8B03689FD061}"/>
                </a:ext>
              </a:extLst>
            </p:cNvPr>
            <p:cNvSpPr txBox="1">
              <a:spLocks noChangeArrowheads="1"/>
            </p:cNvSpPr>
            <p:nvPr/>
          </p:nvSpPr>
          <p:spPr bwMode="auto">
            <a:xfrm>
              <a:off x="1334100" y="2241368"/>
              <a:ext cx="659155" cy="297454"/>
            </a:xfrm>
            <a:prstGeom prst="rect">
              <a:avLst/>
            </a:prstGeom>
            <a:noFill/>
            <a:ln w="9525">
              <a:noFill/>
              <a:miter lim="800000"/>
              <a:headEnd/>
              <a:tailEnd/>
            </a:ln>
          </p:spPr>
          <p:txBody>
            <a:bodyPr wrap="none">
              <a:prstTxWarp prst="textNoShape">
                <a:avLst/>
              </a:prstTxWarp>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algn="ctr" defTabSz="1219170">
                <a:defRPr/>
              </a:pPr>
              <a:r>
                <a:rPr lang="en-US" sz="1333" b="1" dirty="0">
                  <a:solidFill>
                    <a:srgbClr val="565656"/>
                  </a:solidFill>
                  <a:latin typeface="Arial"/>
                  <a:cs typeface="Arial"/>
                </a:rPr>
                <a:t>Bears</a:t>
              </a:r>
            </a:p>
          </p:txBody>
        </p:sp>
        <p:sp>
          <p:nvSpPr>
            <p:cNvPr id="33" name="TextBox 22">
              <a:extLst>
                <a:ext uri="{FF2B5EF4-FFF2-40B4-BE49-F238E27FC236}">
                  <a16:creationId xmlns:a16="http://schemas.microsoft.com/office/drawing/2014/main" id="{92840DEA-B9A4-4902-9C14-9081E33093A4}"/>
                </a:ext>
              </a:extLst>
            </p:cNvPr>
            <p:cNvSpPr txBox="1">
              <a:spLocks noChangeArrowheads="1"/>
            </p:cNvSpPr>
            <p:nvPr/>
          </p:nvSpPr>
          <p:spPr bwMode="auto">
            <a:xfrm>
              <a:off x="929591" y="2992475"/>
              <a:ext cx="1468173" cy="297454"/>
            </a:xfrm>
            <a:prstGeom prst="rect">
              <a:avLst/>
            </a:prstGeom>
            <a:noFill/>
            <a:ln w="9525">
              <a:noFill/>
              <a:miter lim="800000"/>
              <a:headEnd/>
              <a:tailEnd/>
            </a:ln>
          </p:spPr>
          <p:txBody>
            <a:bodyPr wrap="square">
              <a:prstTxWarp prst="textNoShape">
                <a:avLst/>
              </a:prstTxWarp>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algn="ctr" defTabSz="1219170">
                <a:defRPr/>
              </a:pPr>
              <a:r>
                <a:rPr lang="en-US" sz="1333" b="1" dirty="0">
                  <a:solidFill>
                    <a:srgbClr val="565656"/>
                  </a:solidFill>
                  <a:latin typeface="Arial"/>
                  <a:cs typeface="Arial"/>
                </a:rPr>
                <a:t>Iguanas</a:t>
              </a:r>
            </a:p>
          </p:txBody>
        </p:sp>
        <p:sp>
          <p:nvSpPr>
            <p:cNvPr id="34" name="Rectangle 33">
              <a:extLst>
                <a:ext uri="{FF2B5EF4-FFF2-40B4-BE49-F238E27FC236}">
                  <a16:creationId xmlns:a16="http://schemas.microsoft.com/office/drawing/2014/main" id="{0FA929F6-AE1F-4169-AD55-AD220014C2F7}"/>
                </a:ext>
              </a:extLst>
            </p:cNvPr>
            <p:cNvSpPr/>
            <p:nvPr/>
          </p:nvSpPr>
          <p:spPr>
            <a:xfrm>
              <a:off x="498373" y="5454426"/>
              <a:ext cx="790555" cy="338809"/>
            </a:xfrm>
            <a:prstGeom prst="rect">
              <a:avLst/>
            </a:prstGeom>
            <a:solidFill>
              <a:srgbClr val="99CCFF"/>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r>
                <a:rPr lang="en-US" sz="1200" dirty="0">
                  <a:solidFill>
                    <a:srgbClr val="565656"/>
                  </a:solidFill>
                  <a:latin typeface="Arial"/>
                  <a:cs typeface="Arial"/>
                </a:rPr>
                <a:t>Blue</a:t>
              </a:r>
            </a:p>
          </p:txBody>
        </p:sp>
        <p:sp>
          <p:nvSpPr>
            <p:cNvPr id="35" name="TextBox 30">
              <a:extLst>
                <a:ext uri="{FF2B5EF4-FFF2-40B4-BE49-F238E27FC236}">
                  <a16:creationId xmlns:a16="http://schemas.microsoft.com/office/drawing/2014/main" id="{16E1AFDC-1737-4E66-A666-D00F22B5960D}"/>
                </a:ext>
              </a:extLst>
            </p:cNvPr>
            <p:cNvSpPr txBox="1"/>
            <p:nvPr/>
          </p:nvSpPr>
          <p:spPr>
            <a:xfrm>
              <a:off x="1319359" y="5512700"/>
              <a:ext cx="1176421" cy="297454"/>
            </a:xfrm>
            <a:prstGeom prst="rect">
              <a:avLst/>
            </a:prstGeom>
            <a:noFill/>
          </p:spPr>
          <p:txBody>
            <a:bodyPr wrap="square" rtlCol="0">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marL="152396" indent="-152396" defTabSz="1219170">
                <a:defRPr/>
              </a:pPr>
              <a:r>
                <a:rPr lang="en-US" sz="1333" dirty="0">
                  <a:solidFill>
                    <a:srgbClr val="565656"/>
                  </a:solidFill>
                  <a:latin typeface="Arial"/>
                  <a:cs typeface="Arial"/>
                </a:rPr>
                <a:t>= Features</a:t>
              </a:r>
            </a:p>
          </p:txBody>
        </p:sp>
        <p:sp>
          <p:nvSpPr>
            <p:cNvPr id="36" name="TextBox 31">
              <a:extLst>
                <a:ext uri="{FF2B5EF4-FFF2-40B4-BE49-F238E27FC236}">
                  <a16:creationId xmlns:a16="http://schemas.microsoft.com/office/drawing/2014/main" id="{6BC0158F-8D7E-4A4F-8673-36862F20E6D7}"/>
                </a:ext>
              </a:extLst>
            </p:cNvPr>
            <p:cNvSpPr txBox="1"/>
            <p:nvPr/>
          </p:nvSpPr>
          <p:spPr>
            <a:xfrm>
              <a:off x="7934764" y="5393679"/>
              <a:ext cx="3750467" cy="707694"/>
            </a:xfrm>
            <a:prstGeom prst="rect">
              <a:avLst/>
            </a:prstGeom>
            <a:noFill/>
          </p:spPr>
          <p:txBody>
            <a:bodyPr wrap="square" rtlCol="0">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defTabSz="1219170">
                <a:spcAft>
                  <a:spcPts val="533"/>
                </a:spcAft>
                <a:defRPr/>
              </a:pPr>
              <a:r>
                <a:rPr lang="en-US" sz="1333" b="1" dirty="0">
                  <a:solidFill>
                    <a:srgbClr val="565656"/>
                  </a:solidFill>
                  <a:latin typeface="Arial"/>
                  <a:cs typeface="Arial"/>
                </a:rPr>
                <a:t>Fil rouge</a:t>
              </a:r>
              <a:r>
                <a:rPr lang="en-US" sz="1333" dirty="0">
                  <a:solidFill>
                    <a:srgbClr val="565656"/>
                  </a:solidFill>
                  <a:latin typeface="Arial"/>
                  <a:cs typeface="Arial"/>
                </a:rPr>
                <a:t> = </a:t>
              </a:r>
              <a:r>
                <a:rPr lang="en-US" sz="1333" dirty="0" err="1">
                  <a:solidFill>
                    <a:srgbClr val="565656"/>
                  </a:solidFill>
                  <a:latin typeface="Arial"/>
                  <a:cs typeface="Arial"/>
                </a:rPr>
                <a:t>Une</a:t>
              </a:r>
              <a:r>
                <a:rPr lang="en-US" sz="1333" dirty="0">
                  <a:solidFill>
                    <a:srgbClr val="565656"/>
                  </a:solidFill>
                  <a:latin typeface="Arial"/>
                  <a:cs typeface="Arial"/>
                </a:rPr>
                <a:t> </a:t>
              </a:r>
              <a:r>
                <a:rPr lang="en-US" sz="1333" dirty="0" err="1">
                  <a:solidFill>
                    <a:srgbClr val="565656"/>
                  </a:solidFill>
                  <a:latin typeface="Arial"/>
                  <a:cs typeface="Arial"/>
                </a:rPr>
                <a:t>dépendance</a:t>
              </a:r>
              <a:r>
                <a:rPr lang="en-US" sz="1333" dirty="0">
                  <a:solidFill>
                    <a:srgbClr val="565656"/>
                  </a:solidFill>
                  <a:latin typeface="Arial"/>
                  <a:cs typeface="Arial"/>
                </a:rPr>
                <a:t> </a:t>
              </a:r>
              <a:r>
                <a:rPr lang="en-US" sz="1333" dirty="0" err="1">
                  <a:solidFill>
                    <a:srgbClr val="565656"/>
                  </a:solidFill>
                  <a:latin typeface="Arial"/>
                  <a:cs typeface="Arial"/>
                </a:rPr>
                <a:t>nécessitant</a:t>
              </a:r>
              <a:r>
                <a:rPr lang="en-US" sz="1333" dirty="0">
                  <a:solidFill>
                    <a:srgbClr val="565656"/>
                  </a:solidFill>
                  <a:latin typeface="Arial"/>
                  <a:cs typeface="Arial"/>
                </a:rPr>
                <a:t> </a:t>
              </a:r>
              <a:r>
                <a:rPr lang="en-US" sz="1333" dirty="0" err="1">
                  <a:solidFill>
                    <a:srgbClr val="565656"/>
                  </a:solidFill>
                  <a:latin typeface="Arial"/>
                  <a:cs typeface="Arial"/>
                </a:rPr>
                <a:t>une</a:t>
              </a:r>
              <a:r>
                <a:rPr lang="en-US" sz="1333" dirty="0">
                  <a:solidFill>
                    <a:srgbClr val="565656"/>
                  </a:solidFill>
                  <a:latin typeface="Arial"/>
                  <a:cs typeface="Arial"/>
                </a:rPr>
                <a:t> story </a:t>
              </a:r>
              <a:r>
                <a:rPr lang="en-US" sz="1333" dirty="0" err="1">
                  <a:solidFill>
                    <a:srgbClr val="565656"/>
                  </a:solidFill>
                  <a:latin typeface="Arial"/>
                  <a:cs typeface="Arial"/>
                </a:rPr>
                <a:t>ou</a:t>
              </a:r>
              <a:r>
                <a:rPr lang="en-US" sz="1333" dirty="0">
                  <a:solidFill>
                    <a:srgbClr val="565656"/>
                  </a:solidFill>
                  <a:latin typeface="Arial"/>
                  <a:cs typeface="Arial"/>
                </a:rPr>
                <a:t> </a:t>
              </a:r>
              <a:r>
                <a:rPr lang="en-US" sz="1333" dirty="0" err="1">
                  <a:solidFill>
                    <a:srgbClr val="565656"/>
                  </a:solidFill>
                  <a:latin typeface="Arial"/>
                  <a:cs typeface="Arial"/>
                </a:rPr>
                <a:t>une</a:t>
              </a:r>
              <a:r>
                <a:rPr lang="en-US" sz="1333" dirty="0">
                  <a:solidFill>
                    <a:srgbClr val="565656"/>
                  </a:solidFill>
                  <a:latin typeface="Arial"/>
                  <a:cs typeface="Arial"/>
                </a:rPr>
                <a:t> </a:t>
              </a:r>
              <a:r>
                <a:rPr lang="en-US" sz="1333" dirty="0" err="1">
                  <a:solidFill>
                    <a:srgbClr val="565656"/>
                  </a:solidFill>
                  <a:latin typeface="Arial"/>
                  <a:cs typeface="Arial"/>
                </a:rPr>
                <a:t>autre</a:t>
              </a:r>
              <a:r>
                <a:rPr lang="en-US" sz="1333" dirty="0">
                  <a:solidFill>
                    <a:srgbClr val="565656"/>
                  </a:solidFill>
                  <a:latin typeface="Arial"/>
                  <a:cs typeface="Arial"/>
                </a:rPr>
                <a:t> </a:t>
              </a:r>
              <a:r>
                <a:rPr lang="en-US" sz="1333" dirty="0" err="1">
                  <a:solidFill>
                    <a:srgbClr val="565656"/>
                  </a:solidFill>
                  <a:latin typeface="Arial"/>
                  <a:cs typeface="Arial"/>
                </a:rPr>
                <a:t>dépendance</a:t>
              </a:r>
              <a:r>
                <a:rPr lang="en-US" sz="1333" dirty="0">
                  <a:solidFill>
                    <a:srgbClr val="565656"/>
                  </a:solidFill>
                  <a:latin typeface="Arial"/>
                  <a:cs typeface="Arial"/>
                </a:rPr>
                <a:t> pour </a:t>
              </a:r>
              <a:r>
                <a:rPr lang="en-US" sz="1333" dirty="0" err="1">
                  <a:solidFill>
                    <a:srgbClr val="565656"/>
                  </a:solidFill>
                  <a:latin typeface="Arial"/>
                  <a:cs typeface="Arial"/>
                </a:rPr>
                <a:t>être</a:t>
              </a:r>
              <a:r>
                <a:rPr lang="en-US" sz="1333" dirty="0">
                  <a:solidFill>
                    <a:srgbClr val="565656"/>
                  </a:solidFill>
                  <a:latin typeface="Arial"/>
                  <a:cs typeface="Arial"/>
                </a:rPr>
                <a:t> </a:t>
              </a:r>
              <a:r>
                <a:rPr lang="en-US" sz="1333" dirty="0" err="1">
                  <a:solidFill>
                    <a:srgbClr val="565656"/>
                  </a:solidFill>
                  <a:latin typeface="Arial"/>
                  <a:cs typeface="Arial"/>
                </a:rPr>
                <a:t>complétée</a:t>
              </a:r>
              <a:r>
                <a:rPr lang="en-US" sz="1333" dirty="0">
                  <a:solidFill>
                    <a:srgbClr val="565656"/>
                  </a:solidFill>
                  <a:latin typeface="Arial"/>
                  <a:cs typeface="Arial"/>
                </a:rPr>
                <a:t> </a:t>
              </a:r>
              <a:r>
                <a:rPr lang="en-US" sz="1333" dirty="0" err="1">
                  <a:solidFill>
                    <a:srgbClr val="565656"/>
                  </a:solidFill>
                  <a:latin typeface="Arial"/>
                  <a:cs typeface="Arial"/>
                </a:rPr>
                <a:t>avant</a:t>
              </a:r>
              <a:r>
                <a:rPr lang="en-US" sz="1333" dirty="0">
                  <a:solidFill>
                    <a:srgbClr val="565656"/>
                  </a:solidFill>
                  <a:latin typeface="Arial"/>
                  <a:cs typeface="Arial"/>
                </a:rPr>
                <a:t> que la Feature </a:t>
              </a:r>
              <a:r>
                <a:rPr lang="en-US" sz="1333" dirty="0" err="1">
                  <a:solidFill>
                    <a:srgbClr val="565656"/>
                  </a:solidFill>
                  <a:latin typeface="Arial"/>
                  <a:cs typeface="Arial"/>
                </a:rPr>
                <a:t>soit</a:t>
              </a:r>
              <a:r>
                <a:rPr lang="en-US" sz="1333" dirty="0">
                  <a:solidFill>
                    <a:srgbClr val="565656"/>
                  </a:solidFill>
                  <a:latin typeface="Arial"/>
                  <a:cs typeface="Arial"/>
                </a:rPr>
                <a:t> </a:t>
              </a:r>
              <a:r>
                <a:rPr lang="en-US" sz="1333" dirty="0" err="1">
                  <a:solidFill>
                    <a:srgbClr val="565656"/>
                  </a:solidFill>
                  <a:latin typeface="Arial"/>
                  <a:cs typeface="Arial"/>
                </a:rPr>
                <a:t>effectuée</a:t>
              </a:r>
              <a:r>
                <a:rPr lang="en-US" sz="1333" dirty="0">
                  <a:solidFill>
                    <a:srgbClr val="565656"/>
                  </a:solidFill>
                  <a:latin typeface="Arial"/>
                  <a:cs typeface="Arial"/>
                </a:rPr>
                <a:t>.</a:t>
              </a:r>
            </a:p>
          </p:txBody>
        </p:sp>
        <p:cxnSp>
          <p:nvCxnSpPr>
            <p:cNvPr id="37" name="Curved Connector 128">
              <a:extLst>
                <a:ext uri="{FF2B5EF4-FFF2-40B4-BE49-F238E27FC236}">
                  <a16:creationId xmlns:a16="http://schemas.microsoft.com/office/drawing/2014/main" id="{6C4D14DC-FA10-49EC-B086-0E3093C38B74}"/>
                </a:ext>
              </a:extLst>
            </p:cNvPr>
            <p:cNvCxnSpPr/>
            <p:nvPr/>
          </p:nvCxnSpPr>
          <p:spPr bwMode="auto">
            <a:xfrm rot="10800000" flipV="1">
              <a:off x="7260289" y="5563094"/>
              <a:ext cx="633857" cy="174347"/>
            </a:xfrm>
            <a:prstGeom prst="curvedConnector3">
              <a:avLst>
                <a:gd name="adj1" fmla="val 50000"/>
              </a:avLst>
            </a:prstGeom>
            <a:solidFill>
              <a:schemeClr val="accent1"/>
            </a:solidFill>
            <a:ln w="25400" cap="flat" cmpd="sng" algn="ctr">
              <a:solidFill>
                <a:srgbClr val="FF0000"/>
              </a:solidFill>
              <a:prstDash val="solid"/>
              <a:round/>
              <a:headEnd type="none" w="med" len="med"/>
              <a:tailEnd type="none" w="med" len="med"/>
            </a:ln>
            <a:effectLst/>
          </p:spPr>
        </p:cxnSp>
        <p:sp>
          <p:nvSpPr>
            <p:cNvPr id="38" name="TextBox 34">
              <a:extLst>
                <a:ext uri="{FF2B5EF4-FFF2-40B4-BE49-F238E27FC236}">
                  <a16:creationId xmlns:a16="http://schemas.microsoft.com/office/drawing/2014/main" id="{242649F3-56A8-4CDF-A475-B727954379F1}"/>
                </a:ext>
              </a:extLst>
            </p:cNvPr>
            <p:cNvSpPr txBox="1"/>
            <p:nvPr/>
          </p:nvSpPr>
          <p:spPr>
            <a:xfrm>
              <a:off x="3452602" y="5441425"/>
              <a:ext cx="1496564" cy="502573"/>
            </a:xfrm>
            <a:prstGeom prst="rect">
              <a:avLst/>
            </a:prstGeom>
            <a:noFill/>
          </p:spPr>
          <p:txBody>
            <a:bodyPr wrap="square" rtlCol="0">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marL="152396" indent="-152396" defTabSz="1219170">
                <a:defRPr/>
              </a:pPr>
              <a:r>
                <a:rPr lang="en-US" sz="1333" dirty="0">
                  <a:solidFill>
                    <a:srgbClr val="565656"/>
                  </a:solidFill>
                  <a:latin typeface="Arial"/>
                  <a:cs typeface="Arial"/>
                </a:rPr>
                <a:t>= </a:t>
              </a:r>
              <a:r>
                <a:rPr lang="en-US" sz="1333" dirty="0" err="1">
                  <a:solidFill>
                    <a:srgbClr val="565656"/>
                  </a:solidFill>
                  <a:latin typeface="Arial"/>
                  <a:cs typeface="Arial"/>
                </a:rPr>
                <a:t>Dépendance</a:t>
              </a:r>
              <a:r>
                <a:rPr lang="en-US" sz="1333" dirty="0">
                  <a:solidFill>
                    <a:srgbClr val="565656"/>
                  </a:solidFill>
                  <a:latin typeface="Arial"/>
                  <a:cs typeface="Arial"/>
                </a:rPr>
                <a:t> </a:t>
              </a:r>
              <a:r>
                <a:rPr lang="en-US" sz="1333" dirty="0" err="1">
                  <a:solidFill>
                    <a:srgbClr val="565656"/>
                  </a:solidFill>
                  <a:latin typeface="Arial"/>
                  <a:cs typeface="Arial"/>
                </a:rPr>
                <a:t>significative</a:t>
              </a:r>
              <a:endParaRPr lang="en-US" sz="1333" dirty="0">
                <a:solidFill>
                  <a:srgbClr val="565656"/>
                </a:solidFill>
                <a:latin typeface="Arial"/>
                <a:cs typeface="Arial"/>
              </a:endParaRPr>
            </a:p>
          </p:txBody>
        </p:sp>
        <p:cxnSp>
          <p:nvCxnSpPr>
            <p:cNvPr id="39" name="Straight Connector 35">
              <a:extLst>
                <a:ext uri="{FF2B5EF4-FFF2-40B4-BE49-F238E27FC236}">
                  <a16:creationId xmlns:a16="http://schemas.microsoft.com/office/drawing/2014/main" id="{D14BC6F2-1737-4644-9CDB-1E28FAE844FC}"/>
                </a:ext>
              </a:extLst>
            </p:cNvPr>
            <p:cNvCxnSpPr/>
            <p:nvPr/>
          </p:nvCxnSpPr>
          <p:spPr bwMode="auto">
            <a:xfrm>
              <a:off x="1074170" y="3400616"/>
              <a:ext cx="993840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40" name="TextBox 22">
              <a:extLst>
                <a:ext uri="{FF2B5EF4-FFF2-40B4-BE49-F238E27FC236}">
                  <a16:creationId xmlns:a16="http://schemas.microsoft.com/office/drawing/2014/main" id="{A3E72AF5-1905-4EC5-B2E5-1B9A497B6CD6}"/>
                </a:ext>
              </a:extLst>
            </p:cNvPr>
            <p:cNvSpPr txBox="1">
              <a:spLocks noChangeArrowheads="1"/>
            </p:cNvSpPr>
            <p:nvPr/>
          </p:nvSpPr>
          <p:spPr bwMode="auto">
            <a:xfrm>
              <a:off x="929591" y="3412380"/>
              <a:ext cx="1468173" cy="297454"/>
            </a:xfrm>
            <a:prstGeom prst="rect">
              <a:avLst/>
            </a:prstGeom>
            <a:noFill/>
            <a:ln w="9525">
              <a:noFill/>
              <a:miter lim="800000"/>
              <a:headEnd/>
              <a:tailEnd/>
            </a:ln>
          </p:spPr>
          <p:txBody>
            <a:bodyPr wrap="square">
              <a:prstTxWarp prst="textNoShape">
                <a:avLst/>
              </a:prstTxWarp>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algn="ctr" defTabSz="1219170">
                <a:defRPr/>
              </a:pPr>
              <a:r>
                <a:rPr lang="en-US" sz="1333" b="1" dirty="0">
                  <a:solidFill>
                    <a:srgbClr val="565656"/>
                  </a:solidFill>
                  <a:latin typeface="Arial"/>
                  <a:cs typeface="Arial"/>
                </a:rPr>
                <a:t>Antelope</a:t>
              </a:r>
            </a:p>
          </p:txBody>
        </p:sp>
        <p:cxnSp>
          <p:nvCxnSpPr>
            <p:cNvPr id="41" name="Straight Connector 37">
              <a:extLst>
                <a:ext uri="{FF2B5EF4-FFF2-40B4-BE49-F238E27FC236}">
                  <a16:creationId xmlns:a16="http://schemas.microsoft.com/office/drawing/2014/main" id="{D52C4D02-4E6A-45DF-AAE9-64E91A9535EC}"/>
                </a:ext>
              </a:extLst>
            </p:cNvPr>
            <p:cNvCxnSpPr/>
            <p:nvPr/>
          </p:nvCxnSpPr>
          <p:spPr bwMode="auto">
            <a:xfrm>
              <a:off x="1074170" y="3800600"/>
              <a:ext cx="993840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42" name="TextBox 22">
              <a:extLst>
                <a:ext uri="{FF2B5EF4-FFF2-40B4-BE49-F238E27FC236}">
                  <a16:creationId xmlns:a16="http://schemas.microsoft.com/office/drawing/2014/main" id="{87040581-950D-4A2B-B9F9-53CCD07FF520}"/>
                </a:ext>
              </a:extLst>
            </p:cNvPr>
            <p:cNvSpPr txBox="1">
              <a:spLocks noChangeArrowheads="1"/>
            </p:cNvSpPr>
            <p:nvPr/>
          </p:nvSpPr>
          <p:spPr bwMode="auto">
            <a:xfrm>
              <a:off x="929591" y="3812363"/>
              <a:ext cx="1468173" cy="297454"/>
            </a:xfrm>
            <a:prstGeom prst="rect">
              <a:avLst/>
            </a:prstGeom>
            <a:noFill/>
            <a:ln w="9525">
              <a:noFill/>
              <a:miter lim="800000"/>
              <a:headEnd/>
              <a:tailEnd/>
            </a:ln>
          </p:spPr>
          <p:txBody>
            <a:bodyPr wrap="square">
              <a:prstTxWarp prst="textNoShape">
                <a:avLst/>
              </a:prstTxWarp>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algn="ctr" defTabSz="1219170">
                <a:defRPr/>
              </a:pPr>
              <a:r>
                <a:rPr lang="en-US" sz="1333" b="1" dirty="0">
                  <a:solidFill>
                    <a:srgbClr val="565656"/>
                  </a:solidFill>
                  <a:latin typeface="Arial"/>
                  <a:cs typeface="Arial"/>
                </a:rPr>
                <a:t>Tarantulas</a:t>
              </a:r>
            </a:p>
          </p:txBody>
        </p:sp>
        <p:sp>
          <p:nvSpPr>
            <p:cNvPr id="43" name="TextBox 22">
              <a:extLst>
                <a:ext uri="{FF2B5EF4-FFF2-40B4-BE49-F238E27FC236}">
                  <a16:creationId xmlns:a16="http://schemas.microsoft.com/office/drawing/2014/main" id="{06F4B6C2-07C7-4710-91BB-FFA0452CB494}"/>
                </a:ext>
              </a:extLst>
            </p:cNvPr>
            <p:cNvSpPr txBox="1">
              <a:spLocks noChangeArrowheads="1"/>
            </p:cNvSpPr>
            <p:nvPr/>
          </p:nvSpPr>
          <p:spPr bwMode="auto">
            <a:xfrm>
              <a:off x="1296429" y="2619625"/>
              <a:ext cx="734495" cy="297454"/>
            </a:xfrm>
            <a:prstGeom prst="rect">
              <a:avLst/>
            </a:prstGeom>
            <a:noFill/>
            <a:ln w="9525">
              <a:noFill/>
              <a:miter lim="800000"/>
              <a:headEnd/>
              <a:tailEnd/>
            </a:ln>
          </p:spPr>
          <p:txBody>
            <a:bodyPr wrap="none">
              <a:prstTxWarp prst="textNoShape">
                <a:avLst/>
              </a:prstTxWarp>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algn="ctr" defTabSz="1219170">
                <a:defRPr/>
              </a:pPr>
              <a:r>
                <a:rPr lang="en-US" sz="1333" b="1" dirty="0">
                  <a:solidFill>
                    <a:srgbClr val="565656"/>
                  </a:solidFill>
                  <a:latin typeface="Arial"/>
                  <a:cs typeface="Arial"/>
                </a:rPr>
                <a:t>Eagles</a:t>
              </a:r>
            </a:p>
          </p:txBody>
        </p:sp>
        <p:cxnSp>
          <p:nvCxnSpPr>
            <p:cNvPr id="44" name="Straight Connector 40">
              <a:extLst>
                <a:ext uri="{FF2B5EF4-FFF2-40B4-BE49-F238E27FC236}">
                  <a16:creationId xmlns:a16="http://schemas.microsoft.com/office/drawing/2014/main" id="{AE2E1E4A-DF4F-4B76-BFE8-A3D32A25A98F}"/>
                </a:ext>
              </a:extLst>
            </p:cNvPr>
            <p:cNvCxnSpPr/>
            <p:nvPr/>
          </p:nvCxnSpPr>
          <p:spPr bwMode="auto">
            <a:xfrm>
              <a:off x="1023903" y="4196737"/>
              <a:ext cx="10068025" cy="3845"/>
            </a:xfrm>
            <a:prstGeom prst="line">
              <a:avLst/>
            </a:prstGeom>
            <a:ln>
              <a:solidFill>
                <a:schemeClr val="tx1">
                  <a:alpha val="88000"/>
                </a:schemeClr>
              </a:solidFill>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5" name="Straight Connector 41">
              <a:extLst>
                <a:ext uri="{FF2B5EF4-FFF2-40B4-BE49-F238E27FC236}">
                  <a16:creationId xmlns:a16="http://schemas.microsoft.com/office/drawing/2014/main" id="{8D9969B1-C5AA-4078-9AD8-24C6CBEC2D68}"/>
                </a:ext>
              </a:extLst>
            </p:cNvPr>
            <p:cNvCxnSpPr/>
            <p:nvPr/>
          </p:nvCxnSpPr>
          <p:spPr bwMode="auto">
            <a:xfrm>
              <a:off x="1074170" y="4600565"/>
              <a:ext cx="993840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46" name="TextBox 22">
              <a:extLst>
                <a:ext uri="{FF2B5EF4-FFF2-40B4-BE49-F238E27FC236}">
                  <a16:creationId xmlns:a16="http://schemas.microsoft.com/office/drawing/2014/main" id="{99BD4296-5299-4FC2-BF03-965E891E463A}"/>
                </a:ext>
              </a:extLst>
            </p:cNvPr>
            <p:cNvSpPr txBox="1">
              <a:spLocks noChangeArrowheads="1"/>
            </p:cNvSpPr>
            <p:nvPr/>
          </p:nvSpPr>
          <p:spPr bwMode="auto">
            <a:xfrm>
              <a:off x="929591" y="4224969"/>
              <a:ext cx="1565064" cy="308178"/>
            </a:xfrm>
            <a:prstGeom prst="rect">
              <a:avLst/>
            </a:prstGeom>
            <a:noFill/>
            <a:ln w="9525">
              <a:noFill/>
              <a:miter lim="800000"/>
              <a:headEnd/>
              <a:tailEnd/>
            </a:ln>
          </p:spPr>
          <p:txBody>
            <a:bodyPr wrap="square">
              <a:prstTxWarp prst="textNoShape">
                <a:avLst/>
              </a:prstTxWarp>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algn="ctr" defTabSz="1219170">
                <a:defRPr/>
              </a:pPr>
              <a:r>
                <a:rPr lang="en-US" sz="1200" b="1" dirty="0">
                  <a:solidFill>
                    <a:srgbClr val="565656"/>
                  </a:solidFill>
                  <a:latin typeface="Arial"/>
                  <a:cs typeface="Arial"/>
                </a:rPr>
                <a:t>Needs UX Help</a:t>
              </a:r>
            </a:p>
          </p:txBody>
        </p:sp>
        <p:sp>
          <p:nvSpPr>
            <p:cNvPr id="47" name="TextBox 22">
              <a:extLst>
                <a:ext uri="{FF2B5EF4-FFF2-40B4-BE49-F238E27FC236}">
                  <a16:creationId xmlns:a16="http://schemas.microsoft.com/office/drawing/2014/main" id="{86328340-0D6D-48D2-8974-749036EA8C4E}"/>
                </a:ext>
              </a:extLst>
            </p:cNvPr>
            <p:cNvSpPr txBox="1">
              <a:spLocks noChangeArrowheads="1"/>
            </p:cNvSpPr>
            <p:nvPr/>
          </p:nvSpPr>
          <p:spPr bwMode="auto">
            <a:xfrm>
              <a:off x="929591" y="4605779"/>
              <a:ext cx="1468173" cy="502573"/>
            </a:xfrm>
            <a:prstGeom prst="rect">
              <a:avLst/>
            </a:prstGeom>
            <a:noFill/>
            <a:ln w="9525">
              <a:noFill/>
              <a:miter lim="800000"/>
              <a:headEnd/>
              <a:tailEnd/>
            </a:ln>
          </p:spPr>
          <p:txBody>
            <a:bodyPr wrap="square">
              <a:prstTxWarp prst="textNoShape">
                <a:avLst/>
              </a:prstTxWarp>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algn="ctr" defTabSz="1219170">
                <a:defRPr/>
              </a:pPr>
              <a:r>
                <a:rPr lang="en-US" sz="1333" b="1" dirty="0">
                  <a:solidFill>
                    <a:srgbClr val="565656"/>
                  </a:solidFill>
                  <a:latin typeface="Arial"/>
                  <a:cs typeface="Arial"/>
                </a:rPr>
                <a:t>Needs Sys Arch Help</a:t>
              </a:r>
            </a:p>
          </p:txBody>
        </p:sp>
        <p:sp>
          <p:nvSpPr>
            <p:cNvPr id="48" name="Rectangle 47">
              <a:extLst>
                <a:ext uri="{FF2B5EF4-FFF2-40B4-BE49-F238E27FC236}">
                  <a16:creationId xmlns:a16="http://schemas.microsoft.com/office/drawing/2014/main" id="{08F84291-DFEA-4A76-8614-7E8CE1622FBC}"/>
                </a:ext>
              </a:extLst>
            </p:cNvPr>
            <p:cNvSpPr/>
            <p:nvPr/>
          </p:nvSpPr>
          <p:spPr>
            <a:xfrm>
              <a:off x="5049746" y="5454426"/>
              <a:ext cx="914235" cy="338809"/>
            </a:xfrm>
            <a:prstGeom prst="rect">
              <a:avLst/>
            </a:prstGeom>
            <a:solidFill>
              <a:srgbClr val="FF9900"/>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r>
                <a:rPr lang="en-US" sz="1200" dirty="0">
                  <a:solidFill>
                    <a:srgbClr val="565656"/>
                  </a:solidFill>
                  <a:latin typeface="Arial"/>
                  <a:cs typeface="Arial"/>
                </a:rPr>
                <a:t>Orange</a:t>
              </a:r>
            </a:p>
          </p:txBody>
        </p:sp>
        <p:sp>
          <p:nvSpPr>
            <p:cNvPr id="49" name="TextBox 45">
              <a:extLst>
                <a:ext uri="{FF2B5EF4-FFF2-40B4-BE49-F238E27FC236}">
                  <a16:creationId xmlns:a16="http://schemas.microsoft.com/office/drawing/2014/main" id="{81D2B3FE-F685-4BD9-8AEA-9A7B0F4D2E3A}"/>
                </a:ext>
              </a:extLst>
            </p:cNvPr>
            <p:cNvSpPr txBox="1"/>
            <p:nvPr/>
          </p:nvSpPr>
          <p:spPr>
            <a:xfrm>
              <a:off x="5977576" y="5441425"/>
              <a:ext cx="1476792" cy="559143"/>
            </a:xfrm>
            <a:prstGeom prst="rect">
              <a:avLst/>
            </a:prstGeom>
            <a:noFill/>
          </p:spPr>
          <p:txBody>
            <a:bodyPr wrap="square" rtlCol="0">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marL="152396" indent="-152396" defTabSz="1219170">
                <a:defRPr/>
              </a:pPr>
              <a:r>
                <a:rPr lang="en-US" sz="1333" dirty="0">
                  <a:solidFill>
                    <a:srgbClr val="565656"/>
                  </a:solidFill>
                  <a:latin typeface="Arial"/>
                  <a:cs typeface="Arial"/>
                </a:rPr>
                <a:t>= Jalon / </a:t>
              </a:r>
              <a:r>
                <a:rPr lang="en-US" sz="1333" dirty="0" err="1">
                  <a:solidFill>
                    <a:srgbClr val="565656"/>
                  </a:solidFill>
                  <a:latin typeface="Arial"/>
                  <a:cs typeface="Arial"/>
                </a:rPr>
                <a:t>Evènement</a:t>
              </a:r>
              <a:endParaRPr lang="en-US" sz="1333" dirty="0">
                <a:solidFill>
                  <a:srgbClr val="565656"/>
                </a:solidFill>
                <a:latin typeface="Arial"/>
                <a:cs typeface="Arial"/>
              </a:endParaRPr>
            </a:p>
          </p:txBody>
        </p:sp>
        <p:sp>
          <p:nvSpPr>
            <p:cNvPr id="50" name="Rectangle 49">
              <a:extLst>
                <a:ext uri="{FF2B5EF4-FFF2-40B4-BE49-F238E27FC236}">
                  <a16:creationId xmlns:a16="http://schemas.microsoft.com/office/drawing/2014/main" id="{BFB7737C-BBE0-4542-A2E7-A0B8CF31FB76}"/>
                </a:ext>
              </a:extLst>
            </p:cNvPr>
            <p:cNvSpPr/>
            <p:nvPr/>
          </p:nvSpPr>
          <p:spPr>
            <a:xfrm>
              <a:off x="6091604" y="1106595"/>
              <a:ext cx="327516" cy="160935"/>
            </a:xfrm>
            <a:prstGeom prst="rect">
              <a:avLst/>
            </a:prstGeom>
            <a:solidFill>
              <a:srgbClr val="FF9900"/>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cxnSp>
          <p:nvCxnSpPr>
            <p:cNvPr id="51" name="Straight Connector 47">
              <a:extLst>
                <a:ext uri="{FF2B5EF4-FFF2-40B4-BE49-F238E27FC236}">
                  <a16:creationId xmlns:a16="http://schemas.microsoft.com/office/drawing/2014/main" id="{9CFCDB4F-BCB7-46F3-8581-831A2F49B510}"/>
                </a:ext>
              </a:extLst>
            </p:cNvPr>
            <p:cNvCxnSpPr/>
            <p:nvPr/>
          </p:nvCxnSpPr>
          <p:spPr>
            <a:xfrm>
              <a:off x="9466290" y="733934"/>
              <a:ext cx="0" cy="420624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2" name="TextBox 22">
              <a:extLst>
                <a:ext uri="{FF2B5EF4-FFF2-40B4-BE49-F238E27FC236}">
                  <a16:creationId xmlns:a16="http://schemas.microsoft.com/office/drawing/2014/main" id="{A5AE7BA4-873A-4EB8-B9A3-EF474673B60F}"/>
                </a:ext>
              </a:extLst>
            </p:cNvPr>
            <p:cNvSpPr txBox="1">
              <a:spLocks noChangeArrowheads="1"/>
            </p:cNvSpPr>
            <p:nvPr/>
          </p:nvSpPr>
          <p:spPr bwMode="auto">
            <a:xfrm>
              <a:off x="9571013" y="663796"/>
              <a:ext cx="1337808" cy="297454"/>
            </a:xfrm>
            <a:prstGeom prst="rect">
              <a:avLst/>
            </a:prstGeom>
            <a:noFill/>
            <a:ln w="9525">
              <a:noFill/>
              <a:miter lim="800000"/>
              <a:headEnd/>
              <a:tailEnd/>
            </a:ln>
          </p:spPr>
          <p:txBody>
            <a:bodyPr wrap="square">
              <a:prstTxWarp prst="textNoShape">
                <a:avLst/>
              </a:prstTxWarp>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algn="ctr" defTabSz="1219170">
                <a:defRPr/>
              </a:pPr>
              <a:r>
                <a:rPr lang="en-US" sz="1333" b="1" dirty="0">
                  <a:solidFill>
                    <a:srgbClr val="565656"/>
                  </a:solidFill>
                  <a:latin typeface="Arial"/>
                  <a:cs typeface="Arial"/>
                </a:rPr>
                <a:t>PI 2 &gt;&gt;&gt;</a:t>
              </a:r>
            </a:p>
          </p:txBody>
        </p:sp>
        <p:sp>
          <p:nvSpPr>
            <p:cNvPr id="53" name="Rectangle 52">
              <a:extLst>
                <a:ext uri="{FF2B5EF4-FFF2-40B4-BE49-F238E27FC236}">
                  <a16:creationId xmlns:a16="http://schemas.microsoft.com/office/drawing/2014/main" id="{353F4653-F445-48CC-8756-06B2C00ED38C}"/>
                </a:ext>
              </a:extLst>
            </p:cNvPr>
            <p:cNvSpPr/>
            <p:nvPr/>
          </p:nvSpPr>
          <p:spPr>
            <a:xfrm>
              <a:off x="9728235" y="1106595"/>
              <a:ext cx="327516" cy="160935"/>
            </a:xfrm>
            <a:prstGeom prst="rect">
              <a:avLst/>
            </a:prstGeom>
            <a:solidFill>
              <a:srgbClr val="FF9900"/>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54" name="Rectangle 53">
              <a:extLst>
                <a:ext uri="{FF2B5EF4-FFF2-40B4-BE49-F238E27FC236}">
                  <a16:creationId xmlns:a16="http://schemas.microsoft.com/office/drawing/2014/main" id="{73FA3278-E52B-4D1F-8858-F3EC122581F2}"/>
                </a:ext>
              </a:extLst>
            </p:cNvPr>
            <p:cNvSpPr/>
            <p:nvPr/>
          </p:nvSpPr>
          <p:spPr>
            <a:xfrm>
              <a:off x="4498103" y="1914561"/>
              <a:ext cx="329397" cy="164699"/>
            </a:xfrm>
            <a:prstGeom prst="rect">
              <a:avLst/>
            </a:prstGeom>
            <a:solidFill>
              <a:srgbClr val="99CCFF"/>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55" name="Rectangle 54">
              <a:extLst>
                <a:ext uri="{FF2B5EF4-FFF2-40B4-BE49-F238E27FC236}">
                  <a16:creationId xmlns:a16="http://schemas.microsoft.com/office/drawing/2014/main" id="{605B0DF0-4653-44E5-BEDE-6371B7D2DC5F}"/>
                </a:ext>
              </a:extLst>
            </p:cNvPr>
            <p:cNvSpPr/>
            <p:nvPr/>
          </p:nvSpPr>
          <p:spPr>
            <a:xfrm>
              <a:off x="5366692" y="1518342"/>
              <a:ext cx="329397" cy="164699"/>
            </a:xfrm>
            <a:prstGeom prst="rect">
              <a:avLst/>
            </a:prstGeom>
            <a:solidFill>
              <a:srgbClr val="99CCFF"/>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56" name="Rectangle 55">
              <a:extLst>
                <a:ext uri="{FF2B5EF4-FFF2-40B4-BE49-F238E27FC236}">
                  <a16:creationId xmlns:a16="http://schemas.microsoft.com/office/drawing/2014/main" id="{06D7C7D7-0437-43A0-9FE8-2B87C418D48E}"/>
                </a:ext>
              </a:extLst>
            </p:cNvPr>
            <p:cNvSpPr/>
            <p:nvPr/>
          </p:nvSpPr>
          <p:spPr>
            <a:xfrm>
              <a:off x="6183121" y="3130040"/>
              <a:ext cx="329397" cy="164699"/>
            </a:xfrm>
            <a:prstGeom prst="rect">
              <a:avLst/>
            </a:prstGeom>
            <a:solidFill>
              <a:srgbClr val="99CCFF"/>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57" name="Rectangle 56">
              <a:extLst>
                <a:ext uri="{FF2B5EF4-FFF2-40B4-BE49-F238E27FC236}">
                  <a16:creationId xmlns:a16="http://schemas.microsoft.com/office/drawing/2014/main" id="{DD60B1A0-C7A8-46BE-96D9-52DCE2D82214}"/>
                </a:ext>
              </a:extLst>
            </p:cNvPr>
            <p:cNvSpPr/>
            <p:nvPr/>
          </p:nvSpPr>
          <p:spPr>
            <a:xfrm>
              <a:off x="6699969" y="1518342"/>
              <a:ext cx="329397" cy="164699"/>
            </a:xfrm>
            <a:prstGeom prst="rect">
              <a:avLst/>
            </a:prstGeom>
            <a:solidFill>
              <a:srgbClr val="99CCFF"/>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58" name="Rectangle 57">
              <a:extLst>
                <a:ext uri="{FF2B5EF4-FFF2-40B4-BE49-F238E27FC236}">
                  <a16:creationId xmlns:a16="http://schemas.microsoft.com/office/drawing/2014/main" id="{D48A2050-997A-446F-8961-7F4150839C15}"/>
                </a:ext>
              </a:extLst>
            </p:cNvPr>
            <p:cNvSpPr/>
            <p:nvPr/>
          </p:nvSpPr>
          <p:spPr>
            <a:xfrm>
              <a:off x="7327393" y="1506578"/>
              <a:ext cx="329397" cy="164699"/>
            </a:xfrm>
            <a:prstGeom prst="rect">
              <a:avLst/>
            </a:prstGeom>
            <a:solidFill>
              <a:srgbClr val="99CCFF"/>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59" name="Rectangle 58">
              <a:extLst>
                <a:ext uri="{FF2B5EF4-FFF2-40B4-BE49-F238E27FC236}">
                  <a16:creationId xmlns:a16="http://schemas.microsoft.com/office/drawing/2014/main" id="{35864A0A-DEF2-4338-9387-8E4D8CA1055C}"/>
                </a:ext>
              </a:extLst>
            </p:cNvPr>
            <p:cNvSpPr/>
            <p:nvPr/>
          </p:nvSpPr>
          <p:spPr>
            <a:xfrm>
              <a:off x="4754953" y="2318309"/>
              <a:ext cx="329397" cy="164699"/>
            </a:xfrm>
            <a:prstGeom prst="rect">
              <a:avLst/>
            </a:prstGeom>
            <a:solidFill>
              <a:srgbClr val="99CCFF"/>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60" name="Rectangle 59">
              <a:extLst>
                <a:ext uri="{FF2B5EF4-FFF2-40B4-BE49-F238E27FC236}">
                  <a16:creationId xmlns:a16="http://schemas.microsoft.com/office/drawing/2014/main" id="{2B01ABF8-29A3-47B5-A279-DD2646E15CA5}"/>
                </a:ext>
              </a:extLst>
            </p:cNvPr>
            <p:cNvSpPr/>
            <p:nvPr/>
          </p:nvSpPr>
          <p:spPr>
            <a:xfrm>
              <a:off x="4707897" y="3512377"/>
              <a:ext cx="329397" cy="164699"/>
            </a:xfrm>
            <a:prstGeom prst="rect">
              <a:avLst/>
            </a:prstGeom>
            <a:solidFill>
              <a:srgbClr val="99CCFF"/>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61" name="Rectangle 60">
              <a:extLst>
                <a:ext uri="{FF2B5EF4-FFF2-40B4-BE49-F238E27FC236}">
                  <a16:creationId xmlns:a16="http://schemas.microsoft.com/office/drawing/2014/main" id="{678B1F89-6B5D-4704-BFFA-170731FA4584}"/>
                </a:ext>
              </a:extLst>
            </p:cNvPr>
            <p:cNvSpPr/>
            <p:nvPr/>
          </p:nvSpPr>
          <p:spPr>
            <a:xfrm>
              <a:off x="7454368" y="3535905"/>
              <a:ext cx="329397" cy="164699"/>
            </a:xfrm>
            <a:prstGeom prst="rect">
              <a:avLst/>
            </a:prstGeom>
            <a:solidFill>
              <a:srgbClr val="99CCFF"/>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62" name="Rectangle 61">
              <a:extLst>
                <a:ext uri="{FF2B5EF4-FFF2-40B4-BE49-F238E27FC236}">
                  <a16:creationId xmlns:a16="http://schemas.microsoft.com/office/drawing/2014/main" id="{E55D0741-20A3-4392-B33E-02E5F6DE8A20}"/>
                </a:ext>
              </a:extLst>
            </p:cNvPr>
            <p:cNvSpPr/>
            <p:nvPr/>
          </p:nvSpPr>
          <p:spPr>
            <a:xfrm>
              <a:off x="2642260" y="4312343"/>
              <a:ext cx="327516" cy="160935"/>
            </a:xfrm>
            <a:prstGeom prst="rect">
              <a:avLst/>
            </a:prstGeom>
            <a:solidFill>
              <a:srgbClr val="FF0000"/>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63" name="Rectangle 62">
              <a:extLst>
                <a:ext uri="{FF2B5EF4-FFF2-40B4-BE49-F238E27FC236}">
                  <a16:creationId xmlns:a16="http://schemas.microsoft.com/office/drawing/2014/main" id="{3E4CC65E-16A5-45C1-91F3-B2D84D7ED0C3}"/>
                </a:ext>
              </a:extLst>
            </p:cNvPr>
            <p:cNvSpPr/>
            <p:nvPr/>
          </p:nvSpPr>
          <p:spPr>
            <a:xfrm>
              <a:off x="4320620" y="4312343"/>
              <a:ext cx="327516" cy="160935"/>
            </a:xfrm>
            <a:prstGeom prst="rect">
              <a:avLst/>
            </a:prstGeom>
            <a:solidFill>
              <a:srgbClr val="FF0000"/>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64" name="Rectangle 63">
              <a:extLst>
                <a:ext uri="{FF2B5EF4-FFF2-40B4-BE49-F238E27FC236}">
                  <a16:creationId xmlns:a16="http://schemas.microsoft.com/office/drawing/2014/main" id="{4AB64AA9-BDBF-467E-B236-B4F81A4CBD0C}"/>
                </a:ext>
              </a:extLst>
            </p:cNvPr>
            <p:cNvSpPr/>
            <p:nvPr/>
          </p:nvSpPr>
          <p:spPr>
            <a:xfrm>
              <a:off x="5762206" y="4312343"/>
              <a:ext cx="327516" cy="160935"/>
            </a:xfrm>
            <a:prstGeom prst="rect">
              <a:avLst/>
            </a:prstGeom>
            <a:solidFill>
              <a:srgbClr val="FF0000"/>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65" name="Rectangle 64">
              <a:extLst>
                <a:ext uri="{FF2B5EF4-FFF2-40B4-BE49-F238E27FC236}">
                  <a16:creationId xmlns:a16="http://schemas.microsoft.com/office/drawing/2014/main" id="{AA589FE7-76A9-406A-AE0E-961DD37C48C5}"/>
                </a:ext>
              </a:extLst>
            </p:cNvPr>
            <p:cNvSpPr/>
            <p:nvPr/>
          </p:nvSpPr>
          <p:spPr>
            <a:xfrm>
              <a:off x="3285370" y="4671151"/>
              <a:ext cx="327516" cy="160935"/>
            </a:xfrm>
            <a:prstGeom prst="rect">
              <a:avLst/>
            </a:prstGeom>
            <a:solidFill>
              <a:srgbClr val="FF0000"/>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66" name="Rectangle 65">
              <a:extLst>
                <a:ext uri="{FF2B5EF4-FFF2-40B4-BE49-F238E27FC236}">
                  <a16:creationId xmlns:a16="http://schemas.microsoft.com/office/drawing/2014/main" id="{D6497CA6-FB47-471C-9A1D-12BBDA531658}"/>
                </a:ext>
              </a:extLst>
            </p:cNvPr>
            <p:cNvSpPr/>
            <p:nvPr/>
          </p:nvSpPr>
          <p:spPr>
            <a:xfrm>
              <a:off x="4304935" y="4671151"/>
              <a:ext cx="327516" cy="160935"/>
            </a:xfrm>
            <a:prstGeom prst="rect">
              <a:avLst/>
            </a:prstGeom>
            <a:solidFill>
              <a:srgbClr val="FF0000"/>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67" name="Rectangle 66">
              <a:extLst>
                <a:ext uri="{FF2B5EF4-FFF2-40B4-BE49-F238E27FC236}">
                  <a16:creationId xmlns:a16="http://schemas.microsoft.com/office/drawing/2014/main" id="{C17BB7F6-7F13-44C6-A22D-B95058465EE2}"/>
                </a:ext>
              </a:extLst>
            </p:cNvPr>
            <p:cNvSpPr/>
            <p:nvPr/>
          </p:nvSpPr>
          <p:spPr>
            <a:xfrm>
              <a:off x="5762206" y="4671151"/>
              <a:ext cx="327516" cy="160935"/>
            </a:xfrm>
            <a:prstGeom prst="rect">
              <a:avLst/>
            </a:prstGeom>
            <a:solidFill>
              <a:srgbClr val="FF0000"/>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68" name="Rectangle 67">
              <a:extLst>
                <a:ext uri="{FF2B5EF4-FFF2-40B4-BE49-F238E27FC236}">
                  <a16:creationId xmlns:a16="http://schemas.microsoft.com/office/drawing/2014/main" id="{3097608E-E1A7-4E4F-8E04-FB8B3304B432}"/>
                </a:ext>
              </a:extLst>
            </p:cNvPr>
            <p:cNvSpPr/>
            <p:nvPr/>
          </p:nvSpPr>
          <p:spPr>
            <a:xfrm>
              <a:off x="3959851" y="1918326"/>
              <a:ext cx="327516" cy="160935"/>
            </a:xfrm>
            <a:prstGeom prst="rect">
              <a:avLst/>
            </a:prstGeom>
            <a:solidFill>
              <a:srgbClr val="FF0000"/>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69" name="Rectangle 68">
              <a:extLst>
                <a:ext uri="{FF2B5EF4-FFF2-40B4-BE49-F238E27FC236}">
                  <a16:creationId xmlns:a16="http://schemas.microsoft.com/office/drawing/2014/main" id="{EAAD78AC-9D66-4190-8F02-755E23854B1A}"/>
                </a:ext>
              </a:extLst>
            </p:cNvPr>
            <p:cNvSpPr/>
            <p:nvPr/>
          </p:nvSpPr>
          <p:spPr>
            <a:xfrm>
              <a:off x="6940118" y="1918326"/>
              <a:ext cx="327516" cy="160935"/>
            </a:xfrm>
            <a:prstGeom prst="rect">
              <a:avLst/>
            </a:prstGeom>
            <a:solidFill>
              <a:srgbClr val="FF0000"/>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70" name="Rectangle 69">
              <a:extLst>
                <a:ext uri="{FF2B5EF4-FFF2-40B4-BE49-F238E27FC236}">
                  <a16:creationId xmlns:a16="http://schemas.microsoft.com/office/drawing/2014/main" id="{236A0E05-99EC-49E4-B730-889714A3C228}"/>
                </a:ext>
              </a:extLst>
            </p:cNvPr>
            <p:cNvSpPr/>
            <p:nvPr/>
          </p:nvSpPr>
          <p:spPr>
            <a:xfrm>
              <a:off x="5418614" y="1918326"/>
              <a:ext cx="327516" cy="160935"/>
            </a:xfrm>
            <a:prstGeom prst="rect">
              <a:avLst/>
            </a:prstGeom>
            <a:solidFill>
              <a:srgbClr val="FF0000"/>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71" name="Rectangle 70">
              <a:extLst>
                <a:ext uri="{FF2B5EF4-FFF2-40B4-BE49-F238E27FC236}">
                  <a16:creationId xmlns:a16="http://schemas.microsoft.com/office/drawing/2014/main" id="{9B4C22DC-81F9-4158-9619-82D5300FB386}"/>
                </a:ext>
              </a:extLst>
            </p:cNvPr>
            <p:cNvSpPr/>
            <p:nvPr/>
          </p:nvSpPr>
          <p:spPr>
            <a:xfrm>
              <a:off x="2391290" y="3130039"/>
              <a:ext cx="327516" cy="160935"/>
            </a:xfrm>
            <a:prstGeom prst="rect">
              <a:avLst/>
            </a:prstGeom>
            <a:solidFill>
              <a:srgbClr val="FF0000"/>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72" name="Rectangle 71">
              <a:extLst>
                <a:ext uri="{FF2B5EF4-FFF2-40B4-BE49-F238E27FC236}">
                  <a16:creationId xmlns:a16="http://schemas.microsoft.com/office/drawing/2014/main" id="{313EFF4B-79DB-4ED4-B354-9D058A917B99}"/>
                </a:ext>
              </a:extLst>
            </p:cNvPr>
            <p:cNvSpPr/>
            <p:nvPr/>
          </p:nvSpPr>
          <p:spPr>
            <a:xfrm>
              <a:off x="4304935" y="3118275"/>
              <a:ext cx="327516" cy="160935"/>
            </a:xfrm>
            <a:prstGeom prst="rect">
              <a:avLst/>
            </a:prstGeom>
            <a:solidFill>
              <a:srgbClr val="FF0000"/>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73" name="Rectangle 72">
              <a:extLst>
                <a:ext uri="{FF2B5EF4-FFF2-40B4-BE49-F238E27FC236}">
                  <a16:creationId xmlns:a16="http://schemas.microsoft.com/office/drawing/2014/main" id="{C8383800-C85D-4CD7-8765-92A4D9E87BEB}"/>
                </a:ext>
              </a:extLst>
            </p:cNvPr>
            <p:cNvSpPr/>
            <p:nvPr/>
          </p:nvSpPr>
          <p:spPr>
            <a:xfrm>
              <a:off x="6043604" y="2741821"/>
              <a:ext cx="329397" cy="164699"/>
            </a:xfrm>
            <a:prstGeom prst="rect">
              <a:avLst/>
            </a:prstGeom>
            <a:solidFill>
              <a:srgbClr val="99CCFF"/>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74" name="Rectangle 73">
              <a:extLst>
                <a:ext uri="{FF2B5EF4-FFF2-40B4-BE49-F238E27FC236}">
                  <a16:creationId xmlns:a16="http://schemas.microsoft.com/office/drawing/2014/main" id="{A83799ED-C79C-45F2-BC0D-16D3C1F8F1AC}"/>
                </a:ext>
              </a:extLst>
            </p:cNvPr>
            <p:cNvSpPr/>
            <p:nvPr/>
          </p:nvSpPr>
          <p:spPr>
            <a:xfrm>
              <a:off x="7546992" y="2741821"/>
              <a:ext cx="329397" cy="164699"/>
            </a:xfrm>
            <a:prstGeom prst="rect">
              <a:avLst/>
            </a:prstGeom>
            <a:solidFill>
              <a:srgbClr val="99CCFF"/>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75" name="Rectangle 74">
              <a:extLst>
                <a:ext uri="{FF2B5EF4-FFF2-40B4-BE49-F238E27FC236}">
                  <a16:creationId xmlns:a16="http://schemas.microsoft.com/office/drawing/2014/main" id="{E5774388-DDF5-4384-88D7-B930C0F2EA3D}"/>
                </a:ext>
              </a:extLst>
            </p:cNvPr>
            <p:cNvSpPr/>
            <p:nvPr/>
          </p:nvSpPr>
          <p:spPr>
            <a:xfrm>
              <a:off x="7517111" y="3953534"/>
              <a:ext cx="329397" cy="164699"/>
            </a:xfrm>
            <a:prstGeom prst="rect">
              <a:avLst/>
            </a:prstGeom>
            <a:solidFill>
              <a:srgbClr val="99CCFF"/>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76" name="Rectangle 75">
              <a:extLst>
                <a:ext uri="{FF2B5EF4-FFF2-40B4-BE49-F238E27FC236}">
                  <a16:creationId xmlns:a16="http://schemas.microsoft.com/office/drawing/2014/main" id="{7CF1FB20-7EB4-41E2-8939-75D52EED5283}"/>
                </a:ext>
              </a:extLst>
            </p:cNvPr>
            <p:cNvSpPr/>
            <p:nvPr/>
          </p:nvSpPr>
          <p:spPr>
            <a:xfrm>
              <a:off x="2940287" y="2318308"/>
              <a:ext cx="327516" cy="160935"/>
            </a:xfrm>
            <a:prstGeom prst="rect">
              <a:avLst/>
            </a:prstGeom>
            <a:solidFill>
              <a:srgbClr val="FF0000"/>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77" name="Rectangle 76">
              <a:extLst>
                <a:ext uri="{FF2B5EF4-FFF2-40B4-BE49-F238E27FC236}">
                  <a16:creationId xmlns:a16="http://schemas.microsoft.com/office/drawing/2014/main" id="{B45E71CF-0F58-4574-B50B-277F6ABD3679}"/>
                </a:ext>
              </a:extLst>
            </p:cNvPr>
            <p:cNvSpPr/>
            <p:nvPr/>
          </p:nvSpPr>
          <p:spPr>
            <a:xfrm>
              <a:off x="7128344" y="3106511"/>
              <a:ext cx="327516" cy="160935"/>
            </a:xfrm>
            <a:prstGeom prst="rect">
              <a:avLst/>
            </a:prstGeom>
            <a:solidFill>
              <a:srgbClr val="FF0000"/>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78" name="Rectangle 77">
              <a:extLst>
                <a:ext uri="{FF2B5EF4-FFF2-40B4-BE49-F238E27FC236}">
                  <a16:creationId xmlns:a16="http://schemas.microsoft.com/office/drawing/2014/main" id="{48BB1543-CCF4-4B77-ADD0-8BF86AA3CA7F}"/>
                </a:ext>
              </a:extLst>
            </p:cNvPr>
            <p:cNvSpPr/>
            <p:nvPr/>
          </p:nvSpPr>
          <p:spPr>
            <a:xfrm>
              <a:off x="5573979" y="2335955"/>
              <a:ext cx="327516" cy="160935"/>
            </a:xfrm>
            <a:prstGeom prst="rect">
              <a:avLst/>
            </a:prstGeom>
            <a:solidFill>
              <a:srgbClr val="FF0000"/>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79" name="Rectangle 78">
              <a:extLst>
                <a:ext uri="{FF2B5EF4-FFF2-40B4-BE49-F238E27FC236}">
                  <a16:creationId xmlns:a16="http://schemas.microsoft.com/office/drawing/2014/main" id="{E6CA48AF-4106-45D0-8E10-1B3E3CDCB88F}"/>
                </a:ext>
              </a:extLst>
            </p:cNvPr>
            <p:cNvSpPr/>
            <p:nvPr/>
          </p:nvSpPr>
          <p:spPr>
            <a:xfrm>
              <a:off x="7565109" y="2330074"/>
              <a:ext cx="329397" cy="164699"/>
            </a:xfrm>
            <a:prstGeom prst="rect">
              <a:avLst/>
            </a:prstGeom>
            <a:solidFill>
              <a:srgbClr val="99CCFF"/>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cxnSp>
          <p:nvCxnSpPr>
            <p:cNvPr id="80" name="Curved Connector 128">
              <a:extLst>
                <a:ext uri="{FF2B5EF4-FFF2-40B4-BE49-F238E27FC236}">
                  <a16:creationId xmlns:a16="http://schemas.microsoft.com/office/drawing/2014/main" id="{66EC4603-B5E9-4B2C-8B72-CECD42470F54}"/>
                </a:ext>
              </a:extLst>
            </p:cNvPr>
            <p:cNvCxnSpPr>
              <a:stCxn id="68" idx="2"/>
              <a:endCxn id="71" idx="3"/>
            </p:cNvCxnSpPr>
            <p:nvPr/>
          </p:nvCxnSpPr>
          <p:spPr bwMode="auto">
            <a:xfrm rot="5400000">
              <a:off x="2855583" y="1942483"/>
              <a:ext cx="1131247" cy="1404804"/>
            </a:xfrm>
            <a:prstGeom prst="curvedConnector2">
              <a:avLst/>
            </a:prstGeom>
            <a:solidFill>
              <a:schemeClr val="accent1"/>
            </a:solidFill>
            <a:ln w="9525" cap="flat" cmpd="sng" algn="ctr">
              <a:solidFill>
                <a:srgbClr val="FF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81" name="Curved Connector 128">
              <a:extLst>
                <a:ext uri="{FF2B5EF4-FFF2-40B4-BE49-F238E27FC236}">
                  <a16:creationId xmlns:a16="http://schemas.microsoft.com/office/drawing/2014/main" id="{22BE4CAA-1D09-42F2-A3C3-A3A5D6441A63}"/>
                </a:ext>
              </a:extLst>
            </p:cNvPr>
            <p:cNvCxnSpPr>
              <a:stCxn id="55" idx="2"/>
              <a:endCxn id="68" idx="0"/>
            </p:cNvCxnSpPr>
            <p:nvPr/>
          </p:nvCxnSpPr>
          <p:spPr bwMode="auto">
            <a:xfrm rot="5400000">
              <a:off x="4709859" y="1096792"/>
              <a:ext cx="235284" cy="1407784"/>
            </a:xfrm>
            <a:prstGeom prst="curvedConnector3">
              <a:avLst>
                <a:gd name="adj1" fmla="val 50000"/>
              </a:avLst>
            </a:prstGeom>
            <a:solidFill>
              <a:schemeClr val="accent1"/>
            </a:solidFill>
            <a:ln w="9525" cap="flat" cmpd="sng" algn="ctr">
              <a:solidFill>
                <a:srgbClr val="FF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82" name="Curved Connector 128">
              <a:extLst>
                <a:ext uri="{FF2B5EF4-FFF2-40B4-BE49-F238E27FC236}">
                  <a16:creationId xmlns:a16="http://schemas.microsoft.com/office/drawing/2014/main" id="{F5CB23BF-9DBD-410A-B3DB-0F272C9B411E}"/>
                </a:ext>
              </a:extLst>
            </p:cNvPr>
            <p:cNvCxnSpPr>
              <a:stCxn id="72" idx="2"/>
              <a:endCxn id="65" idx="3"/>
            </p:cNvCxnSpPr>
            <p:nvPr/>
          </p:nvCxnSpPr>
          <p:spPr bwMode="auto">
            <a:xfrm rot="5400000">
              <a:off x="3304585" y="3587511"/>
              <a:ext cx="1472409" cy="855807"/>
            </a:xfrm>
            <a:prstGeom prst="curvedConnector2">
              <a:avLst/>
            </a:prstGeom>
            <a:solidFill>
              <a:schemeClr val="accent1"/>
            </a:solidFill>
            <a:ln w="9525" cap="flat" cmpd="sng" algn="ctr">
              <a:solidFill>
                <a:srgbClr val="FF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83" name="Curved Connector 128">
              <a:extLst>
                <a:ext uri="{FF2B5EF4-FFF2-40B4-BE49-F238E27FC236}">
                  <a16:creationId xmlns:a16="http://schemas.microsoft.com/office/drawing/2014/main" id="{1EFFD5D5-9C96-4B00-821A-15840FD097C8}"/>
                </a:ext>
              </a:extLst>
            </p:cNvPr>
            <p:cNvCxnSpPr>
              <a:stCxn id="68" idx="2"/>
              <a:endCxn id="62" idx="0"/>
            </p:cNvCxnSpPr>
            <p:nvPr/>
          </p:nvCxnSpPr>
          <p:spPr bwMode="auto">
            <a:xfrm rot="5400000">
              <a:off x="2348270" y="2537005"/>
              <a:ext cx="2233083" cy="1317592"/>
            </a:xfrm>
            <a:prstGeom prst="curvedConnector3">
              <a:avLst>
                <a:gd name="adj1" fmla="val 50000"/>
              </a:avLst>
            </a:prstGeom>
            <a:solidFill>
              <a:schemeClr val="accent1"/>
            </a:solidFill>
            <a:ln w="9525" cap="flat" cmpd="sng" algn="ctr">
              <a:solidFill>
                <a:srgbClr val="FF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84" name="Curved Connector 128">
              <a:extLst>
                <a:ext uri="{FF2B5EF4-FFF2-40B4-BE49-F238E27FC236}">
                  <a16:creationId xmlns:a16="http://schemas.microsoft.com/office/drawing/2014/main" id="{A354A664-5DD2-4A43-97B0-13FB32022E43}"/>
                </a:ext>
              </a:extLst>
            </p:cNvPr>
            <p:cNvCxnSpPr>
              <a:stCxn id="58" idx="2"/>
              <a:endCxn id="69" idx="3"/>
            </p:cNvCxnSpPr>
            <p:nvPr/>
          </p:nvCxnSpPr>
          <p:spPr bwMode="auto">
            <a:xfrm rot="5400000">
              <a:off x="7216106" y="1722805"/>
              <a:ext cx="327516" cy="224461"/>
            </a:xfrm>
            <a:prstGeom prst="curvedConnector2">
              <a:avLst/>
            </a:prstGeom>
            <a:solidFill>
              <a:schemeClr val="accent1"/>
            </a:solidFill>
            <a:ln w="9525" cap="flat" cmpd="sng" algn="ctr">
              <a:solidFill>
                <a:srgbClr val="FF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85" name="Curved Connector 128">
              <a:extLst>
                <a:ext uri="{FF2B5EF4-FFF2-40B4-BE49-F238E27FC236}">
                  <a16:creationId xmlns:a16="http://schemas.microsoft.com/office/drawing/2014/main" id="{5E27501C-AD02-4FA7-9498-BF6083402D3F}"/>
                </a:ext>
              </a:extLst>
            </p:cNvPr>
            <p:cNvCxnSpPr>
              <a:stCxn id="58" idx="2"/>
              <a:endCxn id="77" idx="3"/>
            </p:cNvCxnSpPr>
            <p:nvPr/>
          </p:nvCxnSpPr>
          <p:spPr bwMode="auto">
            <a:xfrm rot="5400000">
              <a:off x="6716127" y="2411013"/>
              <a:ext cx="1515701" cy="36233"/>
            </a:xfrm>
            <a:prstGeom prst="curvedConnector2">
              <a:avLst/>
            </a:prstGeom>
            <a:solidFill>
              <a:schemeClr val="accent1"/>
            </a:solidFill>
            <a:ln w="9525" cap="flat" cmpd="sng" algn="ctr">
              <a:solidFill>
                <a:srgbClr val="FF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86" name="Curved Connector 128">
              <a:extLst>
                <a:ext uri="{FF2B5EF4-FFF2-40B4-BE49-F238E27FC236}">
                  <a16:creationId xmlns:a16="http://schemas.microsoft.com/office/drawing/2014/main" id="{A955DA2B-F077-4E4A-8A4A-3726D5D1B914}"/>
                </a:ext>
              </a:extLst>
            </p:cNvPr>
            <p:cNvCxnSpPr>
              <a:stCxn id="54" idx="2"/>
              <a:endCxn id="72" idx="0"/>
            </p:cNvCxnSpPr>
            <p:nvPr/>
          </p:nvCxnSpPr>
          <p:spPr bwMode="auto">
            <a:xfrm rot="5400000">
              <a:off x="4046238" y="2501713"/>
              <a:ext cx="1039016" cy="194109"/>
            </a:xfrm>
            <a:prstGeom prst="curvedConnector3">
              <a:avLst>
                <a:gd name="adj1" fmla="val 50000"/>
              </a:avLst>
            </a:prstGeom>
            <a:solidFill>
              <a:schemeClr val="accent1"/>
            </a:solidFill>
            <a:ln w="9525" cap="flat" cmpd="sng" algn="ctr">
              <a:solidFill>
                <a:srgbClr val="FF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87" name="Curved Connector 128">
              <a:extLst>
                <a:ext uri="{FF2B5EF4-FFF2-40B4-BE49-F238E27FC236}">
                  <a16:creationId xmlns:a16="http://schemas.microsoft.com/office/drawing/2014/main" id="{4AB4DDA6-8CF5-466F-B720-438A0A5C84E5}"/>
                </a:ext>
              </a:extLst>
            </p:cNvPr>
            <p:cNvCxnSpPr>
              <a:stCxn id="68" idx="2"/>
              <a:endCxn id="76" idx="3"/>
            </p:cNvCxnSpPr>
            <p:nvPr/>
          </p:nvCxnSpPr>
          <p:spPr bwMode="auto">
            <a:xfrm rot="5400000">
              <a:off x="3535947" y="1811115"/>
              <a:ext cx="319516" cy="855807"/>
            </a:xfrm>
            <a:prstGeom prst="curvedConnector2">
              <a:avLst/>
            </a:prstGeom>
            <a:solidFill>
              <a:schemeClr val="accent1"/>
            </a:solidFill>
            <a:ln w="9525" cap="flat" cmpd="sng" algn="ctr">
              <a:solidFill>
                <a:srgbClr val="FF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88" name="Curved Connector 128">
              <a:extLst>
                <a:ext uri="{FF2B5EF4-FFF2-40B4-BE49-F238E27FC236}">
                  <a16:creationId xmlns:a16="http://schemas.microsoft.com/office/drawing/2014/main" id="{8FAA64AC-4CB1-42C4-946F-1363F6FCEF19}"/>
                </a:ext>
              </a:extLst>
            </p:cNvPr>
            <p:cNvCxnSpPr>
              <a:stCxn id="70" idx="2"/>
              <a:endCxn id="63" idx="0"/>
            </p:cNvCxnSpPr>
            <p:nvPr/>
          </p:nvCxnSpPr>
          <p:spPr bwMode="auto">
            <a:xfrm rot="5400000">
              <a:off x="3916832" y="2646806"/>
              <a:ext cx="2233083" cy="1097993"/>
            </a:xfrm>
            <a:prstGeom prst="curvedConnector3">
              <a:avLst>
                <a:gd name="adj1" fmla="val 50000"/>
              </a:avLst>
            </a:prstGeom>
            <a:solidFill>
              <a:schemeClr val="accent1"/>
            </a:solidFill>
            <a:ln w="9525" cap="flat" cmpd="sng" algn="ctr">
              <a:solidFill>
                <a:srgbClr val="FF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89" name="Curved Connector 128">
              <a:extLst>
                <a:ext uri="{FF2B5EF4-FFF2-40B4-BE49-F238E27FC236}">
                  <a16:creationId xmlns:a16="http://schemas.microsoft.com/office/drawing/2014/main" id="{1D8CD8A0-47F5-452A-B3EA-F1BADC89824B}"/>
                </a:ext>
              </a:extLst>
            </p:cNvPr>
            <p:cNvCxnSpPr>
              <a:stCxn id="56" idx="2"/>
              <a:endCxn id="70" idx="3"/>
            </p:cNvCxnSpPr>
            <p:nvPr/>
          </p:nvCxnSpPr>
          <p:spPr bwMode="auto">
            <a:xfrm rot="5400000" flipH="1">
              <a:off x="5399001" y="2345920"/>
              <a:ext cx="1295947" cy="601692"/>
            </a:xfrm>
            <a:prstGeom prst="curvedConnector4">
              <a:avLst>
                <a:gd name="adj1" fmla="val -17640"/>
                <a:gd name="adj2" fmla="val 63686"/>
              </a:avLst>
            </a:prstGeom>
            <a:solidFill>
              <a:schemeClr val="accent1"/>
            </a:solidFill>
            <a:ln w="9525" cap="flat" cmpd="sng" algn="ctr">
              <a:solidFill>
                <a:srgbClr val="FF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90" name="Curved Connector 128">
              <a:extLst>
                <a:ext uri="{FF2B5EF4-FFF2-40B4-BE49-F238E27FC236}">
                  <a16:creationId xmlns:a16="http://schemas.microsoft.com/office/drawing/2014/main" id="{17042BF6-43BD-4483-9E73-C8BDAC71E06D}"/>
                </a:ext>
              </a:extLst>
            </p:cNvPr>
            <p:cNvCxnSpPr>
              <a:stCxn id="57" idx="2"/>
              <a:endCxn id="78" idx="3"/>
            </p:cNvCxnSpPr>
            <p:nvPr/>
          </p:nvCxnSpPr>
          <p:spPr bwMode="auto">
            <a:xfrm rot="5400000">
              <a:off x="6016391" y="1568144"/>
              <a:ext cx="733381" cy="963176"/>
            </a:xfrm>
            <a:prstGeom prst="curvedConnector2">
              <a:avLst/>
            </a:prstGeom>
            <a:solidFill>
              <a:schemeClr val="accent1"/>
            </a:solidFill>
            <a:ln w="9525" cap="flat" cmpd="sng" algn="ctr">
              <a:solidFill>
                <a:srgbClr val="FF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91" name="Curved Connector 128">
              <a:extLst>
                <a:ext uri="{FF2B5EF4-FFF2-40B4-BE49-F238E27FC236}">
                  <a16:creationId xmlns:a16="http://schemas.microsoft.com/office/drawing/2014/main" id="{27E89C2F-169A-48AF-B715-5D043E5A0529}"/>
                </a:ext>
              </a:extLst>
            </p:cNvPr>
            <p:cNvCxnSpPr>
              <a:stCxn id="78" idx="2"/>
              <a:endCxn id="66" idx="3"/>
            </p:cNvCxnSpPr>
            <p:nvPr/>
          </p:nvCxnSpPr>
          <p:spPr bwMode="auto">
            <a:xfrm rot="5400000">
              <a:off x="4057730" y="3071612"/>
              <a:ext cx="2254729" cy="1105287"/>
            </a:xfrm>
            <a:prstGeom prst="curvedConnector2">
              <a:avLst/>
            </a:prstGeom>
            <a:solidFill>
              <a:schemeClr val="accent1"/>
            </a:solidFill>
            <a:ln w="9525" cap="flat" cmpd="sng" algn="ctr">
              <a:solidFill>
                <a:srgbClr val="FF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92" name="Curved Connector 128">
              <a:extLst>
                <a:ext uri="{FF2B5EF4-FFF2-40B4-BE49-F238E27FC236}">
                  <a16:creationId xmlns:a16="http://schemas.microsoft.com/office/drawing/2014/main" id="{A2259F7F-D8B0-454E-8E72-48BCE67094E8}"/>
                </a:ext>
              </a:extLst>
            </p:cNvPr>
            <p:cNvCxnSpPr>
              <a:stCxn id="77" idx="2"/>
              <a:endCxn id="67" idx="3"/>
            </p:cNvCxnSpPr>
            <p:nvPr/>
          </p:nvCxnSpPr>
          <p:spPr bwMode="auto">
            <a:xfrm rot="5400000">
              <a:off x="5948825" y="3408341"/>
              <a:ext cx="1484173" cy="1202381"/>
            </a:xfrm>
            <a:prstGeom prst="curvedConnector2">
              <a:avLst/>
            </a:prstGeom>
            <a:solidFill>
              <a:schemeClr val="accent1"/>
            </a:solidFill>
            <a:ln w="9525" cap="flat" cmpd="sng" algn="ctr">
              <a:solidFill>
                <a:srgbClr val="FF0000"/>
              </a:solidFill>
              <a:prstDash val="solid"/>
              <a:round/>
              <a:headEnd type="none" w="med" len="med"/>
              <a:tailEnd type="none" w="med" len="med"/>
            </a:ln>
            <a:effectLst>
              <a:outerShdw blurRad="50800" dist="38100" dir="2700000" algn="tl" rotWithShape="0">
                <a:prstClr val="black">
                  <a:alpha val="40000"/>
                </a:prstClr>
              </a:outerShdw>
            </a:effectLst>
          </p:spPr>
        </p:cxnSp>
        <p:sp>
          <p:nvSpPr>
            <p:cNvPr id="93" name="Rectangle 92">
              <a:extLst>
                <a:ext uri="{FF2B5EF4-FFF2-40B4-BE49-F238E27FC236}">
                  <a16:creationId xmlns:a16="http://schemas.microsoft.com/office/drawing/2014/main" id="{34FE4315-B99B-4D2B-8610-C9B8D3CA7B48}"/>
                </a:ext>
              </a:extLst>
            </p:cNvPr>
            <p:cNvSpPr/>
            <p:nvPr/>
          </p:nvSpPr>
          <p:spPr>
            <a:xfrm>
              <a:off x="5979921" y="3918242"/>
              <a:ext cx="329397" cy="164699"/>
            </a:xfrm>
            <a:prstGeom prst="rect">
              <a:avLst/>
            </a:prstGeom>
            <a:solidFill>
              <a:srgbClr val="99CCFF"/>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cxnSp>
          <p:nvCxnSpPr>
            <p:cNvPr id="94" name="Curved Connector 128">
              <a:extLst>
                <a:ext uri="{FF2B5EF4-FFF2-40B4-BE49-F238E27FC236}">
                  <a16:creationId xmlns:a16="http://schemas.microsoft.com/office/drawing/2014/main" id="{374D13CA-E9EE-49FF-96A9-BEC1B2CAE5C3}"/>
                </a:ext>
              </a:extLst>
            </p:cNvPr>
            <p:cNvCxnSpPr>
              <a:endCxn id="64" idx="3"/>
            </p:cNvCxnSpPr>
            <p:nvPr/>
          </p:nvCxnSpPr>
          <p:spPr bwMode="auto">
            <a:xfrm rot="5400000">
              <a:off x="5497510" y="2745820"/>
              <a:ext cx="2239200" cy="1054780"/>
            </a:xfrm>
            <a:prstGeom prst="curvedConnector2">
              <a:avLst/>
            </a:prstGeom>
            <a:solidFill>
              <a:schemeClr val="accent1"/>
            </a:solidFill>
            <a:ln w="9525" cap="flat" cmpd="sng" algn="ctr">
              <a:solidFill>
                <a:srgbClr val="FF0000"/>
              </a:solidFill>
              <a:prstDash val="solid"/>
              <a:round/>
              <a:headEnd type="none" w="med" len="med"/>
              <a:tailEnd type="none" w="med" len="med"/>
            </a:ln>
            <a:effectLst>
              <a:outerShdw blurRad="50800" dist="38100" dir="2700000" algn="tl" rotWithShape="0">
                <a:prstClr val="black">
                  <a:alpha val="40000"/>
                </a:prstClr>
              </a:outerShdw>
            </a:effectLst>
          </p:spPr>
        </p:cxnSp>
        <p:sp>
          <p:nvSpPr>
            <p:cNvPr id="95" name="Rectangle 94">
              <a:extLst>
                <a:ext uri="{FF2B5EF4-FFF2-40B4-BE49-F238E27FC236}">
                  <a16:creationId xmlns:a16="http://schemas.microsoft.com/office/drawing/2014/main" id="{DBB44814-5D03-4D8B-AEA7-1B2D5AEC8A71}"/>
                </a:ext>
              </a:extLst>
            </p:cNvPr>
            <p:cNvSpPr/>
            <p:nvPr/>
          </p:nvSpPr>
          <p:spPr>
            <a:xfrm>
              <a:off x="2576601" y="5454425"/>
              <a:ext cx="853440" cy="384048"/>
            </a:xfrm>
            <a:prstGeom prst="rect">
              <a:avLst/>
            </a:prstGeom>
            <a:solidFill>
              <a:srgbClr val="FF0000"/>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r>
                <a:rPr lang="en-US" sz="1200" dirty="0">
                  <a:solidFill>
                    <a:srgbClr val="FFFFFF"/>
                  </a:solidFill>
                  <a:latin typeface="Arial"/>
                  <a:cs typeface="Arial"/>
                </a:rPr>
                <a:t>Red/ Pink</a:t>
              </a:r>
            </a:p>
          </p:txBody>
        </p:sp>
        <p:sp>
          <p:nvSpPr>
            <p:cNvPr id="96" name="Rectangle 95">
              <a:extLst>
                <a:ext uri="{FF2B5EF4-FFF2-40B4-BE49-F238E27FC236}">
                  <a16:creationId xmlns:a16="http://schemas.microsoft.com/office/drawing/2014/main" id="{20AE29D2-9F6B-4E5D-BEE0-6AEA8A863F6B}"/>
                </a:ext>
              </a:extLst>
            </p:cNvPr>
            <p:cNvSpPr/>
            <p:nvPr/>
          </p:nvSpPr>
          <p:spPr>
            <a:xfrm>
              <a:off x="2926573" y="1946413"/>
              <a:ext cx="329397" cy="164699"/>
            </a:xfrm>
            <a:prstGeom prst="rect">
              <a:avLst/>
            </a:prstGeom>
            <a:solidFill>
              <a:srgbClr val="99CCFF"/>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sp>
          <p:nvSpPr>
            <p:cNvPr id="97" name="Rectangle 96">
              <a:extLst>
                <a:ext uri="{FF2B5EF4-FFF2-40B4-BE49-F238E27FC236}">
                  <a16:creationId xmlns:a16="http://schemas.microsoft.com/office/drawing/2014/main" id="{E5F78406-D212-4C38-B3B0-1A8C10A68FFE}"/>
                </a:ext>
              </a:extLst>
            </p:cNvPr>
            <p:cNvSpPr/>
            <p:nvPr/>
          </p:nvSpPr>
          <p:spPr>
            <a:xfrm>
              <a:off x="3282740" y="3905862"/>
              <a:ext cx="329397" cy="164699"/>
            </a:xfrm>
            <a:prstGeom prst="rect">
              <a:avLst/>
            </a:prstGeom>
            <a:solidFill>
              <a:srgbClr val="99CCFF"/>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defTabSz="1219170">
                <a:defRPr/>
              </a:pPr>
              <a:endParaRPr lang="en-US" sz="1467" dirty="0">
                <a:solidFill>
                  <a:srgbClr val="565656"/>
                </a:solidFill>
                <a:latin typeface="Arial"/>
                <a:cs typeface="Arial"/>
              </a:endParaRPr>
            </a:p>
          </p:txBody>
        </p:sp>
        <p:cxnSp>
          <p:nvCxnSpPr>
            <p:cNvPr id="98" name="Straight Arrow Connector 101">
              <a:extLst>
                <a:ext uri="{FF2B5EF4-FFF2-40B4-BE49-F238E27FC236}">
                  <a16:creationId xmlns:a16="http://schemas.microsoft.com/office/drawing/2014/main" id="{C4846264-5DAF-4786-AE49-89798447CE2F}"/>
                </a:ext>
              </a:extLst>
            </p:cNvPr>
            <p:cNvCxnSpPr>
              <a:stCxn id="99" idx="1"/>
              <a:endCxn id="50" idx="3"/>
            </p:cNvCxnSpPr>
            <p:nvPr/>
          </p:nvCxnSpPr>
          <p:spPr bwMode="auto">
            <a:xfrm flipH="1" flipV="1">
              <a:off x="6419120" y="1187063"/>
              <a:ext cx="1307525" cy="454437"/>
            </a:xfrm>
            <a:prstGeom prst="straightConnector1">
              <a:avLst/>
            </a:prstGeom>
            <a:solidFill>
              <a:schemeClr val="accent1"/>
            </a:solidFill>
            <a:ln w="28575" cap="flat" cmpd="sng" algn="ctr">
              <a:solidFill>
                <a:schemeClr val="tx1"/>
              </a:solidFill>
              <a:prstDash val="solid"/>
              <a:round/>
              <a:headEnd type="none" w="med" len="med"/>
              <a:tailEnd type="arrow"/>
            </a:ln>
            <a:effectLst/>
          </p:spPr>
        </p:cxnSp>
        <p:sp>
          <p:nvSpPr>
            <p:cNvPr id="99" name="Rounded Rectangle 5">
              <a:extLst>
                <a:ext uri="{FF2B5EF4-FFF2-40B4-BE49-F238E27FC236}">
                  <a16:creationId xmlns:a16="http://schemas.microsoft.com/office/drawing/2014/main" id="{5F82530E-925F-4EA1-B53D-2BF8EF54FD4A}"/>
                </a:ext>
              </a:extLst>
            </p:cNvPr>
            <p:cNvSpPr/>
            <p:nvPr/>
          </p:nvSpPr>
          <p:spPr bwMode="auto">
            <a:xfrm>
              <a:off x="7726645" y="960462"/>
              <a:ext cx="4242029" cy="1362075"/>
            </a:xfrm>
            <a:prstGeom prst="roundRect">
              <a:avLst/>
            </a:prstGeom>
            <a:solidFill>
              <a:schemeClr val="bg1"/>
            </a:solidFill>
            <a:ln w="31750" cap="flat" cmpd="sng" algn="ctr">
              <a:solidFill>
                <a:schemeClr val="tx2"/>
              </a:solid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defTabSz="1219170" fontAlgn="base">
                <a:spcBef>
                  <a:spcPts val="533"/>
                </a:spcBef>
                <a:spcAft>
                  <a:spcPts val="533"/>
                </a:spcAft>
                <a:buClr>
                  <a:srgbClr val="565656">
                    <a:lumMod val="50000"/>
                    <a:lumOff val="50000"/>
                  </a:srgbClr>
                </a:buClr>
                <a:buSzPct val="100000"/>
                <a:defRPr/>
              </a:pPr>
              <a:r>
                <a:rPr lang="en-US" sz="1600" kern="0" dirty="0">
                  <a:solidFill>
                    <a:srgbClr val="565656"/>
                  </a:solidFill>
                  <a:latin typeface="Arial"/>
                  <a:cs typeface="Arial"/>
                </a:rPr>
                <a:t>Un </a:t>
              </a:r>
              <a:r>
                <a:rPr lang="en-US" sz="1600" kern="0" dirty="0" err="1">
                  <a:solidFill>
                    <a:srgbClr val="565656"/>
                  </a:solidFill>
                  <a:latin typeface="Arial"/>
                  <a:cs typeface="Arial"/>
                </a:rPr>
                <a:t>jalon</a:t>
              </a:r>
              <a:r>
                <a:rPr lang="en-US" sz="1600" kern="0" dirty="0">
                  <a:solidFill>
                    <a:srgbClr val="565656"/>
                  </a:solidFill>
                  <a:latin typeface="Arial"/>
                  <a:cs typeface="Arial"/>
                </a:rPr>
                <a:t> </a:t>
              </a:r>
              <a:r>
                <a:rPr lang="en-US" sz="1600" kern="0" dirty="0" err="1">
                  <a:solidFill>
                    <a:srgbClr val="565656"/>
                  </a:solidFill>
                  <a:latin typeface="Arial"/>
                  <a:cs typeface="Arial"/>
                </a:rPr>
                <a:t>Programme</a:t>
              </a:r>
              <a:r>
                <a:rPr lang="en-US" sz="1600" kern="0" dirty="0">
                  <a:solidFill>
                    <a:srgbClr val="565656"/>
                  </a:solidFill>
                  <a:latin typeface="Arial"/>
                  <a:cs typeface="Arial"/>
                </a:rPr>
                <a:t> </a:t>
              </a:r>
              <a:r>
                <a:rPr lang="en-US" sz="1600" kern="0" dirty="0" err="1">
                  <a:solidFill>
                    <a:srgbClr val="565656"/>
                  </a:solidFill>
                  <a:latin typeface="Arial"/>
                  <a:cs typeface="Arial"/>
                </a:rPr>
                <a:t>ou</a:t>
              </a:r>
              <a:r>
                <a:rPr lang="en-US" sz="1600" kern="0" dirty="0">
                  <a:solidFill>
                    <a:srgbClr val="565656"/>
                  </a:solidFill>
                  <a:latin typeface="Arial"/>
                  <a:cs typeface="Arial"/>
                </a:rPr>
                <a:t> un </a:t>
              </a:r>
              <a:r>
                <a:rPr lang="en-US" sz="1600" kern="0" dirty="0" err="1">
                  <a:solidFill>
                    <a:srgbClr val="565656"/>
                  </a:solidFill>
                  <a:latin typeface="Arial"/>
                  <a:cs typeface="Arial"/>
                </a:rPr>
                <a:t>événement</a:t>
              </a:r>
              <a:r>
                <a:rPr lang="en-US" sz="1600" kern="0" dirty="0">
                  <a:solidFill>
                    <a:srgbClr val="565656"/>
                  </a:solidFill>
                  <a:latin typeface="Arial"/>
                  <a:cs typeface="Arial"/>
                </a:rPr>
                <a:t> </a:t>
              </a:r>
              <a:r>
                <a:rPr lang="en-US" sz="1600" kern="0" dirty="0" err="1">
                  <a:solidFill>
                    <a:srgbClr val="565656"/>
                  </a:solidFill>
                  <a:latin typeface="Arial"/>
                  <a:cs typeface="Arial"/>
                </a:rPr>
                <a:t>est</a:t>
              </a:r>
              <a:r>
                <a:rPr lang="en-US" sz="1600" kern="0" dirty="0">
                  <a:solidFill>
                    <a:srgbClr val="565656"/>
                  </a:solidFill>
                  <a:latin typeface="Arial"/>
                  <a:cs typeface="Arial"/>
                </a:rPr>
                <a:t> </a:t>
              </a:r>
              <a:r>
                <a:rPr lang="en-US" sz="1600" kern="0" dirty="0" err="1">
                  <a:solidFill>
                    <a:srgbClr val="565656"/>
                  </a:solidFill>
                  <a:latin typeface="Arial"/>
                  <a:cs typeface="Arial"/>
                </a:rPr>
                <a:t>prévu</a:t>
              </a:r>
              <a:r>
                <a:rPr lang="en-US" sz="1600" kern="0" dirty="0">
                  <a:solidFill>
                    <a:srgbClr val="565656"/>
                  </a:solidFill>
                  <a:latin typeface="Arial"/>
                  <a:cs typeface="Arial"/>
                </a:rPr>
                <a:t> </a:t>
              </a:r>
              <a:r>
                <a:rPr lang="en-US" sz="1600" kern="0" dirty="0" err="1">
                  <a:solidFill>
                    <a:srgbClr val="565656"/>
                  </a:solidFill>
                  <a:latin typeface="Arial"/>
                  <a:cs typeface="Arial"/>
                </a:rPr>
                <a:t>en</a:t>
              </a:r>
              <a:r>
                <a:rPr lang="en-US" sz="1600" kern="0" dirty="0">
                  <a:solidFill>
                    <a:srgbClr val="565656"/>
                  </a:solidFill>
                  <a:latin typeface="Arial"/>
                  <a:cs typeface="Arial"/>
                </a:rPr>
                <a:t> </a:t>
              </a:r>
              <a:r>
                <a:rPr lang="en-US" sz="1600" kern="0" dirty="0" err="1">
                  <a:solidFill>
                    <a:srgbClr val="565656"/>
                  </a:solidFill>
                  <a:latin typeface="Arial"/>
                  <a:cs typeface="Arial"/>
                </a:rPr>
                <a:t>Itération</a:t>
              </a:r>
              <a:r>
                <a:rPr lang="en-US" sz="1600" kern="0" dirty="0">
                  <a:solidFill>
                    <a:srgbClr val="565656"/>
                  </a:solidFill>
                  <a:latin typeface="Arial"/>
                  <a:cs typeface="Arial"/>
                </a:rPr>
                <a:t> 1.3 (</a:t>
              </a:r>
              <a:r>
                <a:rPr lang="en-US" sz="1600" kern="0" dirty="0" err="1">
                  <a:solidFill>
                    <a:srgbClr val="565656"/>
                  </a:solidFill>
                  <a:latin typeface="Arial"/>
                  <a:cs typeface="Arial"/>
                </a:rPr>
                <a:t>une</a:t>
              </a:r>
              <a:r>
                <a:rPr lang="en-US" sz="1600" kern="0" dirty="0">
                  <a:solidFill>
                    <a:srgbClr val="565656"/>
                  </a:solidFill>
                  <a:latin typeface="Arial"/>
                  <a:cs typeface="Arial"/>
                </a:rPr>
                <a:t> </a:t>
              </a:r>
              <a:r>
                <a:rPr lang="en-US" sz="1600" kern="0" dirty="0" err="1">
                  <a:solidFill>
                    <a:srgbClr val="565656"/>
                  </a:solidFill>
                  <a:latin typeface="Arial"/>
                  <a:cs typeface="Arial"/>
                </a:rPr>
                <a:t>démo</a:t>
              </a:r>
              <a:r>
                <a:rPr lang="en-US" sz="1600" kern="0" dirty="0">
                  <a:solidFill>
                    <a:srgbClr val="565656"/>
                  </a:solidFill>
                  <a:latin typeface="Arial"/>
                  <a:cs typeface="Arial"/>
                </a:rPr>
                <a:t> </a:t>
              </a:r>
              <a:r>
                <a:rPr lang="en-US" sz="1600" kern="0" dirty="0" err="1">
                  <a:solidFill>
                    <a:srgbClr val="565656"/>
                  </a:solidFill>
                  <a:latin typeface="Arial"/>
                  <a:cs typeface="Arial"/>
                </a:rPr>
                <a:t>commerciale</a:t>
              </a:r>
              <a:r>
                <a:rPr lang="en-US" sz="1600" kern="0" dirty="0">
                  <a:solidFill>
                    <a:srgbClr val="565656"/>
                  </a:solidFill>
                  <a:latin typeface="Arial"/>
                  <a:cs typeface="Arial"/>
                </a:rPr>
                <a:t>, </a:t>
              </a:r>
              <a:r>
                <a:rPr lang="en-US" sz="1600" kern="0" dirty="0" err="1">
                  <a:solidFill>
                    <a:srgbClr val="565656"/>
                  </a:solidFill>
                  <a:latin typeface="Arial"/>
                  <a:cs typeface="Arial"/>
                </a:rPr>
                <a:t>une</a:t>
              </a:r>
              <a:r>
                <a:rPr lang="en-US" sz="1600" kern="0" dirty="0">
                  <a:solidFill>
                    <a:srgbClr val="565656"/>
                  </a:solidFill>
                  <a:latin typeface="Arial"/>
                  <a:cs typeface="Arial"/>
                </a:rPr>
                <a:t> version à </a:t>
              </a:r>
              <a:r>
                <a:rPr lang="en-US" sz="1600" kern="0" dirty="0" err="1">
                  <a:solidFill>
                    <a:srgbClr val="565656"/>
                  </a:solidFill>
                  <a:latin typeface="Arial"/>
                  <a:cs typeface="Arial"/>
                </a:rPr>
                <a:t>mettre</a:t>
              </a:r>
              <a:r>
                <a:rPr lang="en-US" sz="1600" kern="0" dirty="0">
                  <a:solidFill>
                    <a:srgbClr val="565656"/>
                  </a:solidFill>
                  <a:latin typeface="Arial"/>
                  <a:cs typeface="Arial"/>
                </a:rPr>
                <a:t> sur le </a:t>
              </a:r>
              <a:r>
                <a:rPr lang="en-US" sz="1600" kern="0" dirty="0" err="1">
                  <a:solidFill>
                    <a:srgbClr val="565656"/>
                  </a:solidFill>
                  <a:latin typeface="Arial"/>
                  <a:cs typeface="Arial"/>
                </a:rPr>
                <a:t>marché</a:t>
              </a:r>
              <a:r>
                <a:rPr lang="en-US" sz="1600" kern="0" dirty="0">
                  <a:solidFill>
                    <a:srgbClr val="565656"/>
                  </a:solidFill>
                  <a:latin typeface="Arial"/>
                  <a:cs typeface="Arial"/>
                </a:rPr>
                <a:t>, etc.).</a:t>
              </a:r>
            </a:p>
          </p:txBody>
        </p:sp>
        <p:cxnSp>
          <p:nvCxnSpPr>
            <p:cNvPr id="100" name="Straight Arrow Connector 102">
              <a:extLst>
                <a:ext uri="{FF2B5EF4-FFF2-40B4-BE49-F238E27FC236}">
                  <a16:creationId xmlns:a16="http://schemas.microsoft.com/office/drawing/2014/main" id="{6EB53092-F3CA-414A-A0C5-55CF7B6CD92E}"/>
                </a:ext>
              </a:extLst>
            </p:cNvPr>
            <p:cNvCxnSpPr>
              <a:stCxn id="104" idx="1"/>
              <a:endCxn id="56" idx="3"/>
            </p:cNvCxnSpPr>
            <p:nvPr/>
          </p:nvCxnSpPr>
          <p:spPr bwMode="auto">
            <a:xfrm flipH="1" flipV="1">
              <a:off x="6512518" y="3212390"/>
              <a:ext cx="1484307" cy="1299890"/>
            </a:xfrm>
            <a:prstGeom prst="straightConnector1">
              <a:avLst/>
            </a:prstGeom>
            <a:solidFill>
              <a:schemeClr val="accent1"/>
            </a:solidFill>
            <a:ln w="28575" cap="flat" cmpd="sng" algn="ctr">
              <a:solidFill>
                <a:schemeClr val="tx1"/>
              </a:solidFill>
              <a:prstDash val="solid"/>
              <a:round/>
              <a:headEnd type="none" w="med" len="med"/>
              <a:tailEnd type="arrow"/>
            </a:ln>
            <a:effectLst/>
          </p:spPr>
        </p:cxnSp>
        <p:sp>
          <p:nvSpPr>
            <p:cNvPr id="101" name="Rounded Rectangle 105">
              <a:extLst>
                <a:ext uri="{FF2B5EF4-FFF2-40B4-BE49-F238E27FC236}">
                  <a16:creationId xmlns:a16="http://schemas.microsoft.com/office/drawing/2014/main" id="{F7BE25B8-3F27-4DB5-927C-2EE6B6E2A11F}"/>
                </a:ext>
              </a:extLst>
            </p:cNvPr>
            <p:cNvSpPr/>
            <p:nvPr/>
          </p:nvSpPr>
          <p:spPr bwMode="auto">
            <a:xfrm>
              <a:off x="8057147" y="2521860"/>
              <a:ext cx="3987716" cy="1362075"/>
            </a:xfrm>
            <a:prstGeom prst="roundRect">
              <a:avLst/>
            </a:prstGeom>
            <a:solidFill>
              <a:schemeClr val="bg1"/>
            </a:solidFill>
            <a:ln w="31750" cap="flat" cmpd="sng" algn="ctr">
              <a:solidFill>
                <a:schemeClr val="tx2"/>
              </a:solid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defTabSz="1219170" fontAlgn="base">
                <a:spcBef>
                  <a:spcPts val="533"/>
                </a:spcBef>
                <a:spcAft>
                  <a:spcPts val="533"/>
                </a:spcAft>
                <a:buClr>
                  <a:srgbClr val="565656">
                    <a:lumMod val="50000"/>
                    <a:lumOff val="50000"/>
                  </a:srgbClr>
                </a:buClr>
                <a:buSzPct val="100000"/>
                <a:defRPr/>
              </a:pPr>
              <a:r>
                <a:rPr lang="en-US" sz="1600" kern="0" dirty="0" err="1">
                  <a:solidFill>
                    <a:srgbClr val="565656"/>
                  </a:solidFill>
                  <a:latin typeface="Arial"/>
                  <a:cs typeface="Arial"/>
                </a:rPr>
                <a:t>Une</a:t>
              </a:r>
              <a:r>
                <a:rPr lang="en-US" sz="1600" kern="0" dirty="0">
                  <a:solidFill>
                    <a:srgbClr val="565656"/>
                  </a:solidFill>
                  <a:latin typeface="Arial"/>
                  <a:cs typeface="Arial"/>
                </a:rPr>
                <a:t> </a:t>
              </a:r>
              <a:r>
                <a:rPr lang="en-US" sz="1600" kern="0" dirty="0" err="1">
                  <a:solidFill>
                    <a:srgbClr val="565656"/>
                  </a:solidFill>
                  <a:latin typeface="Arial"/>
                  <a:cs typeface="Arial"/>
                </a:rPr>
                <a:t>dépendance</a:t>
              </a:r>
              <a:r>
                <a:rPr lang="en-US" sz="1600" kern="0" dirty="0">
                  <a:solidFill>
                    <a:srgbClr val="565656"/>
                  </a:solidFill>
                  <a:latin typeface="Arial"/>
                  <a:cs typeface="Arial"/>
                </a:rPr>
                <a:t> </a:t>
              </a:r>
              <a:r>
                <a:rPr lang="en-US" sz="1600" kern="0" dirty="0" err="1">
                  <a:solidFill>
                    <a:srgbClr val="565656"/>
                  </a:solidFill>
                  <a:latin typeface="Arial"/>
                  <a:cs typeface="Arial"/>
                </a:rPr>
                <a:t>peut</a:t>
              </a:r>
              <a:r>
                <a:rPr lang="en-US" sz="1600" kern="0" dirty="0">
                  <a:solidFill>
                    <a:srgbClr val="565656"/>
                  </a:solidFill>
                  <a:latin typeface="Arial"/>
                  <a:cs typeface="Arial"/>
                </a:rPr>
                <a:t> se faire au sein d’un </a:t>
              </a:r>
              <a:r>
                <a:rPr lang="en-US" sz="1600" kern="0" dirty="0" err="1">
                  <a:solidFill>
                    <a:srgbClr val="565656"/>
                  </a:solidFill>
                  <a:latin typeface="Arial"/>
                  <a:cs typeface="Arial"/>
                </a:rPr>
                <a:t>même</a:t>
              </a:r>
              <a:r>
                <a:rPr lang="en-US" sz="1600" kern="0" dirty="0">
                  <a:solidFill>
                    <a:srgbClr val="565656"/>
                  </a:solidFill>
                  <a:latin typeface="Arial"/>
                  <a:cs typeface="Arial"/>
                </a:rPr>
                <a:t> sprint. </a:t>
              </a:r>
              <a:r>
                <a:rPr lang="en-US" sz="1600" kern="0" dirty="0" err="1">
                  <a:solidFill>
                    <a:srgbClr val="565656"/>
                  </a:solidFill>
                  <a:latin typeface="Arial"/>
                  <a:cs typeface="Arial"/>
                </a:rPr>
                <a:t>Nécessite</a:t>
              </a:r>
              <a:r>
                <a:rPr lang="en-US" sz="1600" kern="0" dirty="0">
                  <a:solidFill>
                    <a:srgbClr val="565656"/>
                  </a:solidFill>
                  <a:latin typeface="Arial"/>
                  <a:cs typeface="Arial"/>
                </a:rPr>
                <a:t> de </a:t>
              </a:r>
              <a:r>
                <a:rPr lang="en-US" sz="1600" kern="0" dirty="0" err="1">
                  <a:solidFill>
                    <a:srgbClr val="565656"/>
                  </a:solidFill>
                  <a:latin typeface="Arial"/>
                  <a:cs typeface="Arial"/>
                </a:rPr>
                <a:t>s’accorder</a:t>
              </a:r>
              <a:r>
                <a:rPr lang="en-US" sz="1600" kern="0" dirty="0">
                  <a:solidFill>
                    <a:srgbClr val="565656"/>
                  </a:solidFill>
                  <a:latin typeface="Arial"/>
                  <a:cs typeface="Arial"/>
                </a:rPr>
                <a:t> sur </a:t>
              </a:r>
              <a:r>
                <a:rPr lang="en-US" sz="1600" kern="0" dirty="0" err="1">
                  <a:solidFill>
                    <a:srgbClr val="565656"/>
                  </a:solidFill>
                  <a:latin typeface="Arial"/>
                  <a:cs typeface="Arial"/>
                </a:rPr>
                <a:t>une</a:t>
              </a:r>
              <a:r>
                <a:rPr lang="en-US" sz="1600" kern="0" dirty="0">
                  <a:solidFill>
                    <a:srgbClr val="565656"/>
                  </a:solidFill>
                  <a:latin typeface="Arial"/>
                  <a:cs typeface="Arial"/>
                </a:rPr>
                <a:t> </a:t>
              </a:r>
              <a:r>
                <a:rPr lang="en-US" sz="1600" kern="0" dirty="0" err="1">
                  <a:solidFill>
                    <a:srgbClr val="565656"/>
                  </a:solidFill>
                  <a:latin typeface="Arial"/>
                  <a:cs typeface="Arial"/>
                </a:rPr>
                <a:t>échéance</a:t>
              </a:r>
              <a:r>
                <a:rPr lang="en-US" sz="1600" kern="0" dirty="0">
                  <a:solidFill>
                    <a:srgbClr val="565656"/>
                  </a:solidFill>
                  <a:latin typeface="Arial"/>
                  <a:cs typeface="Arial"/>
                </a:rPr>
                <a:t> au sein du sprint (</a:t>
              </a:r>
              <a:r>
                <a:rPr lang="en-US" sz="1600" kern="0" dirty="0" err="1">
                  <a:solidFill>
                    <a:srgbClr val="565656"/>
                  </a:solidFill>
                  <a:latin typeface="Arial"/>
                  <a:cs typeface="Arial"/>
                </a:rPr>
                <a:t>semaine</a:t>
              </a:r>
              <a:r>
                <a:rPr lang="en-US" sz="1600" kern="0" dirty="0">
                  <a:solidFill>
                    <a:srgbClr val="565656"/>
                  </a:solidFill>
                  <a:latin typeface="Arial"/>
                  <a:cs typeface="Arial"/>
                </a:rPr>
                <a:t>).</a:t>
              </a:r>
            </a:p>
          </p:txBody>
        </p:sp>
        <p:cxnSp>
          <p:nvCxnSpPr>
            <p:cNvPr id="102" name="Straight Arrow Connector 103">
              <a:extLst>
                <a:ext uri="{FF2B5EF4-FFF2-40B4-BE49-F238E27FC236}">
                  <a16:creationId xmlns:a16="http://schemas.microsoft.com/office/drawing/2014/main" id="{4A70BD01-F6FD-4ECE-80C1-A3F79CB4BA27}"/>
                </a:ext>
              </a:extLst>
            </p:cNvPr>
            <p:cNvCxnSpPr>
              <a:stCxn id="101" idx="1"/>
            </p:cNvCxnSpPr>
            <p:nvPr/>
          </p:nvCxnSpPr>
          <p:spPr bwMode="auto">
            <a:xfrm flipH="1" flipV="1">
              <a:off x="7292103" y="2099628"/>
              <a:ext cx="765044" cy="1103270"/>
            </a:xfrm>
            <a:prstGeom prst="straightConnector1">
              <a:avLst/>
            </a:prstGeom>
            <a:solidFill>
              <a:schemeClr val="accent1"/>
            </a:solidFill>
            <a:ln w="28575" cap="flat" cmpd="sng" algn="ctr">
              <a:solidFill>
                <a:schemeClr val="tx1"/>
              </a:solidFill>
              <a:prstDash val="solid"/>
              <a:round/>
              <a:headEnd type="none" w="med" len="med"/>
              <a:tailEnd type="arrow"/>
            </a:ln>
            <a:effectLst/>
          </p:spPr>
        </p:cxnSp>
        <p:cxnSp>
          <p:nvCxnSpPr>
            <p:cNvPr id="103" name="Straight Connector 106">
              <a:extLst>
                <a:ext uri="{FF2B5EF4-FFF2-40B4-BE49-F238E27FC236}">
                  <a16:creationId xmlns:a16="http://schemas.microsoft.com/office/drawing/2014/main" id="{AC6E978B-B3E8-4FB9-8BFA-EA3E672041DE}"/>
                </a:ext>
              </a:extLst>
            </p:cNvPr>
            <p:cNvCxnSpPr/>
            <p:nvPr/>
          </p:nvCxnSpPr>
          <p:spPr bwMode="auto">
            <a:xfrm>
              <a:off x="1072487" y="2224162"/>
              <a:ext cx="993840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04" name="Rounded Rectangle 104">
              <a:extLst>
                <a:ext uri="{FF2B5EF4-FFF2-40B4-BE49-F238E27FC236}">
                  <a16:creationId xmlns:a16="http://schemas.microsoft.com/office/drawing/2014/main" id="{D9BE5EA9-6178-4476-BA98-FBC119A1DE82}"/>
                </a:ext>
              </a:extLst>
            </p:cNvPr>
            <p:cNvSpPr/>
            <p:nvPr/>
          </p:nvSpPr>
          <p:spPr bwMode="auto">
            <a:xfrm>
              <a:off x="7996825" y="3967450"/>
              <a:ext cx="3987716" cy="1089660"/>
            </a:xfrm>
            <a:prstGeom prst="roundRect">
              <a:avLst/>
            </a:prstGeom>
            <a:solidFill>
              <a:schemeClr val="bg1"/>
            </a:solidFill>
            <a:ln w="31750" cap="flat" cmpd="sng" algn="ctr">
              <a:solidFill>
                <a:schemeClr val="tx2"/>
              </a:solidFill>
              <a:prstDash val="solid"/>
              <a:round/>
              <a:headEnd type="none" w="med" len="med"/>
              <a:tailEnd type="none" w="med" len="med"/>
            </a:ln>
            <a:effectLst/>
          </p:spPr>
          <p:txBody>
            <a:bodyPr vert="horz" wrap="square" lIns="121920" tIns="121920" rIns="121920" bIns="121920" numCol="1" rtlCol="0" anchor="t" anchorCtr="0" compatLnSpc="1">
              <a:prstTxWarp prst="textNoShape">
                <a:avLst/>
              </a:prstTxWarp>
              <a:sp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pPr indent="-304792" defTabSz="1219170" fontAlgn="base">
                <a:spcBef>
                  <a:spcPts val="533"/>
                </a:spcBef>
                <a:spcAft>
                  <a:spcPts val="533"/>
                </a:spcAft>
                <a:buClr>
                  <a:srgbClr val="565656">
                    <a:lumMod val="50000"/>
                    <a:lumOff val="50000"/>
                  </a:srgbClr>
                </a:buClr>
                <a:buSzPct val="100000"/>
                <a:defRPr/>
              </a:pPr>
              <a:r>
                <a:rPr lang="en-US" sz="1600" kern="0" dirty="0" err="1">
                  <a:solidFill>
                    <a:srgbClr val="565656"/>
                  </a:solidFill>
                  <a:latin typeface="Arial"/>
                  <a:cs typeface="Arial"/>
                </a:rPr>
                <a:t>Cette</a:t>
              </a:r>
              <a:r>
                <a:rPr lang="en-US" sz="1600" kern="0" dirty="0">
                  <a:solidFill>
                    <a:srgbClr val="565656"/>
                  </a:solidFill>
                  <a:latin typeface="Arial"/>
                  <a:cs typeface="Arial"/>
                </a:rPr>
                <a:t> Feature ne </a:t>
              </a:r>
              <a:r>
                <a:rPr lang="en-US" sz="1600" kern="0" dirty="0" err="1">
                  <a:solidFill>
                    <a:srgbClr val="565656"/>
                  </a:solidFill>
                  <a:latin typeface="Arial"/>
                  <a:cs typeface="Arial"/>
                </a:rPr>
                <a:t>peut</a:t>
              </a:r>
              <a:r>
                <a:rPr lang="en-US" sz="1600" kern="0" dirty="0">
                  <a:solidFill>
                    <a:srgbClr val="565656"/>
                  </a:solidFill>
                  <a:latin typeface="Arial"/>
                  <a:cs typeface="Arial"/>
                </a:rPr>
                <a:t> pas </a:t>
              </a:r>
              <a:r>
                <a:rPr lang="en-US" sz="1600" kern="0" dirty="0" err="1">
                  <a:solidFill>
                    <a:srgbClr val="565656"/>
                  </a:solidFill>
                  <a:latin typeface="Arial"/>
                  <a:cs typeface="Arial"/>
                </a:rPr>
                <a:t>être</a:t>
              </a:r>
              <a:r>
                <a:rPr lang="en-US" sz="1600" kern="0" dirty="0">
                  <a:solidFill>
                    <a:srgbClr val="565656"/>
                  </a:solidFill>
                  <a:latin typeface="Arial"/>
                  <a:cs typeface="Arial"/>
                </a:rPr>
                <a:t> </a:t>
              </a:r>
              <a:r>
                <a:rPr lang="en-US" sz="1600" kern="0" dirty="0" err="1">
                  <a:solidFill>
                    <a:srgbClr val="565656"/>
                  </a:solidFill>
                  <a:latin typeface="Arial"/>
                  <a:cs typeface="Arial"/>
                </a:rPr>
                <a:t>livrée</a:t>
              </a:r>
              <a:r>
                <a:rPr lang="en-US" sz="1600" kern="0" dirty="0">
                  <a:solidFill>
                    <a:srgbClr val="565656"/>
                  </a:solidFill>
                  <a:latin typeface="Arial"/>
                  <a:cs typeface="Arial"/>
                </a:rPr>
                <a:t> </a:t>
              </a:r>
              <a:r>
                <a:rPr lang="en-US" sz="1600" kern="0" dirty="0" err="1">
                  <a:solidFill>
                    <a:srgbClr val="565656"/>
                  </a:solidFill>
                  <a:latin typeface="Arial"/>
                  <a:cs typeface="Arial"/>
                </a:rPr>
                <a:t>avant</a:t>
              </a:r>
              <a:r>
                <a:rPr lang="en-US" sz="1600" kern="0" dirty="0">
                  <a:solidFill>
                    <a:srgbClr val="565656"/>
                  </a:solidFill>
                  <a:latin typeface="Arial"/>
                  <a:cs typeface="Arial"/>
                </a:rPr>
                <a:t> que </a:t>
              </a:r>
              <a:r>
                <a:rPr lang="en-US" sz="1600" kern="0" dirty="0" err="1">
                  <a:solidFill>
                    <a:srgbClr val="565656"/>
                  </a:solidFill>
                  <a:latin typeface="Arial"/>
                  <a:cs typeface="Arial"/>
                </a:rPr>
                <a:t>plusieurs</a:t>
              </a:r>
              <a:r>
                <a:rPr lang="en-US" sz="1600" kern="0" dirty="0">
                  <a:solidFill>
                    <a:srgbClr val="565656"/>
                  </a:solidFill>
                  <a:latin typeface="Arial"/>
                  <a:cs typeface="Arial"/>
                </a:rPr>
                <a:t> </a:t>
              </a:r>
              <a:r>
                <a:rPr lang="en-US" sz="1600" kern="0" dirty="0" err="1">
                  <a:solidFill>
                    <a:srgbClr val="565656"/>
                  </a:solidFill>
                  <a:latin typeface="Arial"/>
                  <a:cs typeface="Arial"/>
                </a:rPr>
                <a:t>équipes</a:t>
              </a:r>
              <a:r>
                <a:rPr lang="en-US" sz="1600" kern="0" dirty="0">
                  <a:solidFill>
                    <a:srgbClr val="565656"/>
                  </a:solidFill>
                  <a:latin typeface="Arial"/>
                  <a:cs typeface="Arial"/>
                </a:rPr>
                <a:t> </a:t>
              </a:r>
              <a:r>
                <a:rPr lang="en-US" sz="1600" kern="0" dirty="0" err="1">
                  <a:solidFill>
                    <a:srgbClr val="565656"/>
                  </a:solidFill>
                  <a:latin typeface="Arial"/>
                  <a:cs typeface="Arial"/>
                </a:rPr>
                <a:t>aient</a:t>
              </a:r>
              <a:r>
                <a:rPr lang="en-US" sz="1600" kern="0" dirty="0">
                  <a:solidFill>
                    <a:srgbClr val="565656"/>
                  </a:solidFill>
                  <a:latin typeface="Arial"/>
                  <a:cs typeface="Arial"/>
                </a:rPr>
                <a:t> </a:t>
              </a:r>
              <a:r>
                <a:rPr lang="en-US" sz="1600" kern="0" dirty="0" err="1">
                  <a:solidFill>
                    <a:srgbClr val="565656"/>
                  </a:solidFill>
                  <a:latin typeface="Arial"/>
                  <a:cs typeface="Arial"/>
                </a:rPr>
                <a:t>complété</a:t>
              </a:r>
              <a:r>
                <a:rPr lang="en-US" sz="1600" kern="0" dirty="0">
                  <a:solidFill>
                    <a:srgbClr val="565656"/>
                  </a:solidFill>
                  <a:latin typeface="Arial"/>
                  <a:cs typeface="Arial"/>
                </a:rPr>
                <a:t> </a:t>
              </a:r>
              <a:r>
                <a:rPr lang="en-US" sz="1600" kern="0" dirty="0" err="1">
                  <a:solidFill>
                    <a:srgbClr val="565656"/>
                  </a:solidFill>
                  <a:latin typeface="Arial"/>
                  <a:cs typeface="Arial"/>
                </a:rPr>
                <a:t>leurs</a:t>
              </a:r>
              <a:r>
                <a:rPr lang="en-US" sz="1600" kern="0" dirty="0">
                  <a:solidFill>
                    <a:srgbClr val="565656"/>
                  </a:solidFill>
                  <a:latin typeface="Arial"/>
                  <a:cs typeface="Arial"/>
                </a:rPr>
                <a:t> </a:t>
              </a:r>
              <a:r>
                <a:rPr lang="en-US" sz="1600" kern="0" dirty="0" err="1">
                  <a:solidFill>
                    <a:srgbClr val="565656"/>
                  </a:solidFill>
                  <a:latin typeface="Arial"/>
                  <a:cs typeface="Arial"/>
                </a:rPr>
                <a:t>dépendances</a:t>
              </a:r>
              <a:r>
                <a:rPr lang="en-US" sz="1600" kern="0" dirty="0">
                  <a:solidFill>
                    <a:srgbClr val="565656"/>
                  </a:solidFill>
                  <a:latin typeface="Arial"/>
                  <a:cs typeface="Arial"/>
                </a:rPr>
                <a:t>.</a:t>
              </a:r>
            </a:p>
          </p:txBody>
        </p:sp>
        <p:cxnSp>
          <p:nvCxnSpPr>
            <p:cNvPr id="105" name="Curved Connector 128">
              <a:extLst>
                <a:ext uri="{FF2B5EF4-FFF2-40B4-BE49-F238E27FC236}">
                  <a16:creationId xmlns:a16="http://schemas.microsoft.com/office/drawing/2014/main" id="{0E77E8EC-DB41-4425-9A92-B576FD5F5820}"/>
                </a:ext>
              </a:extLst>
            </p:cNvPr>
            <p:cNvCxnSpPr>
              <a:stCxn id="50" idx="1"/>
              <a:endCxn id="55" idx="0"/>
            </p:cNvCxnSpPr>
            <p:nvPr/>
          </p:nvCxnSpPr>
          <p:spPr bwMode="auto">
            <a:xfrm rot="10800000" flipV="1">
              <a:off x="5531394" y="1187062"/>
              <a:ext cx="560212" cy="331280"/>
            </a:xfrm>
            <a:prstGeom prst="curvedConnector2">
              <a:avLst/>
            </a:prstGeom>
            <a:solidFill>
              <a:schemeClr val="accent1"/>
            </a:solidFill>
            <a:ln w="9525" cap="flat" cmpd="sng" algn="ctr">
              <a:solidFill>
                <a:srgbClr val="FF0000"/>
              </a:solidFill>
              <a:prstDash val="solid"/>
              <a:round/>
              <a:headEnd type="none" w="med" len="med"/>
              <a:tailEnd type="none" w="med" len="med"/>
            </a:ln>
            <a:effectLst>
              <a:outerShdw blurRad="50800" dist="38100" dir="2700000" algn="tl" rotWithShape="0">
                <a:prstClr val="black">
                  <a:alpha val="40000"/>
                </a:prstClr>
              </a:outerShdw>
            </a:effectLst>
          </p:spPr>
        </p:cxnSp>
      </p:grpSp>
    </p:spTree>
    <p:extLst>
      <p:ext uri="{BB962C8B-B14F-4D97-AF65-F5344CB8AC3E}">
        <p14:creationId xmlns:p14="http://schemas.microsoft.com/office/powerpoint/2010/main" val="14579807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39</a:t>
            </a:fld>
            <a:endParaRPr lang="fr-FR" dirty="0"/>
          </a:p>
        </p:txBody>
      </p:sp>
      <p:sp>
        <p:nvSpPr>
          <p:cNvPr id="5" name="Espace réservé du texte 4"/>
          <p:cNvSpPr>
            <a:spLocks noGrp="1"/>
          </p:cNvSpPr>
          <p:nvPr>
            <p:ph type="body" idx="1"/>
          </p:nvPr>
        </p:nvSpPr>
        <p:spPr/>
        <p:txBody>
          <a:bodyPr/>
          <a:lstStyle/>
          <a:p>
            <a:r>
              <a:rPr lang="fr-FR" dirty="0"/>
              <a:t>PI Planning – Jour 1 – Scrum of Scrum</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graphicFrame>
        <p:nvGraphicFramePr>
          <p:cNvPr id="106" name="Espace réservé du tableau 53">
            <a:extLst>
              <a:ext uri="{FF2B5EF4-FFF2-40B4-BE49-F238E27FC236}">
                <a16:creationId xmlns:a16="http://schemas.microsoft.com/office/drawing/2014/main" id="{1A554CEF-790D-49BC-9D48-CB8225F333BC}"/>
              </a:ext>
            </a:extLst>
          </p:cNvPr>
          <p:cNvGraphicFramePr>
            <a:graphicFrameLocks/>
          </p:cNvGraphicFramePr>
          <p:nvPr>
            <p:extLst>
              <p:ext uri="{D42A27DB-BD31-4B8C-83A1-F6EECF244321}">
                <p14:modId xmlns:p14="http://schemas.microsoft.com/office/powerpoint/2010/main" val="1290240523"/>
              </p:ext>
            </p:extLst>
          </p:nvPr>
        </p:nvGraphicFramePr>
        <p:xfrm>
          <a:off x="719137" y="1714859"/>
          <a:ext cx="11068961" cy="3198222"/>
        </p:xfrm>
        <a:graphic>
          <a:graphicData uri="http://schemas.openxmlformats.org/drawingml/2006/table">
            <a:tbl>
              <a:tblPr firstRow="1" bandRow="1"/>
              <a:tblGrid>
                <a:gridCol w="8808321">
                  <a:extLst>
                    <a:ext uri="{9D8B030D-6E8A-4147-A177-3AD203B41FA5}">
                      <a16:colId xmlns:a16="http://schemas.microsoft.com/office/drawing/2014/main" val="2896522115"/>
                    </a:ext>
                  </a:extLst>
                </a:gridCol>
                <a:gridCol w="784614">
                  <a:extLst>
                    <a:ext uri="{9D8B030D-6E8A-4147-A177-3AD203B41FA5}">
                      <a16:colId xmlns:a16="http://schemas.microsoft.com/office/drawing/2014/main" val="4080820217"/>
                    </a:ext>
                  </a:extLst>
                </a:gridCol>
                <a:gridCol w="725621">
                  <a:extLst>
                    <a:ext uri="{9D8B030D-6E8A-4147-A177-3AD203B41FA5}">
                      <a16:colId xmlns:a16="http://schemas.microsoft.com/office/drawing/2014/main" val="648308134"/>
                    </a:ext>
                  </a:extLst>
                </a:gridCol>
                <a:gridCol w="750405">
                  <a:extLst>
                    <a:ext uri="{9D8B030D-6E8A-4147-A177-3AD203B41FA5}">
                      <a16:colId xmlns:a16="http://schemas.microsoft.com/office/drawing/2014/main" val="290807953"/>
                    </a:ext>
                  </a:extLst>
                </a:gridCol>
              </a:tblGrid>
              <a:tr h="323638">
                <a:tc>
                  <a:txBody>
                    <a:bodyPr/>
                    <a:lstStyle>
                      <a:lvl1pPr marL="0" algn="l" defTabSz="914400" rtl="0" eaLnBrk="1" latinLnBrk="0" hangingPunct="1">
                        <a:defRPr sz="1800" b="1" kern="1200">
                          <a:solidFill>
                            <a:schemeClr val="lt1"/>
                          </a:solidFill>
                          <a:latin typeface="Tahoma"/>
                        </a:defRPr>
                      </a:lvl1pPr>
                      <a:lvl2pPr marL="457200" algn="l" defTabSz="914400" rtl="0" eaLnBrk="1" latinLnBrk="0" hangingPunct="1">
                        <a:defRPr sz="1800" b="1" kern="1200">
                          <a:solidFill>
                            <a:schemeClr val="lt1"/>
                          </a:solidFill>
                          <a:latin typeface="Tahoma"/>
                        </a:defRPr>
                      </a:lvl2pPr>
                      <a:lvl3pPr marL="914400" algn="l" defTabSz="914400" rtl="0" eaLnBrk="1" latinLnBrk="0" hangingPunct="1">
                        <a:defRPr sz="1800" b="1" kern="1200">
                          <a:solidFill>
                            <a:schemeClr val="lt1"/>
                          </a:solidFill>
                          <a:latin typeface="Tahoma"/>
                        </a:defRPr>
                      </a:lvl3pPr>
                      <a:lvl4pPr marL="1371600" algn="l" defTabSz="914400" rtl="0" eaLnBrk="1" latinLnBrk="0" hangingPunct="1">
                        <a:defRPr sz="1800" b="1" kern="1200">
                          <a:solidFill>
                            <a:schemeClr val="lt1"/>
                          </a:solidFill>
                          <a:latin typeface="Tahoma"/>
                        </a:defRPr>
                      </a:lvl4pPr>
                      <a:lvl5pPr marL="1828800" algn="l" defTabSz="914400" rtl="0" eaLnBrk="1" latinLnBrk="0" hangingPunct="1">
                        <a:defRPr sz="1800" b="1" kern="1200">
                          <a:solidFill>
                            <a:schemeClr val="lt1"/>
                          </a:solidFill>
                          <a:latin typeface="Tahoma"/>
                        </a:defRPr>
                      </a:lvl5pPr>
                      <a:lvl6pPr marL="2286000" algn="l" defTabSz="914400" rtl="0" eaLnBrk="1" latinLnBrk="0" hangingPunct="1">
                        <a:defRPr sz="1800" b="1" kern="1200">
                          <a:solidFill>
                            <a:schemeClr val="lt1"/>
                          </a:solidFill>
                          <a:latin typeface="Tahoma"/>
                        </a:defRPr>
                      </a:lvl6pPr>
                      <a:lvl7pPr marL="2743200" algn="l" defTabSz="914400" rtl="0" eaLnBrk="1" latinLnBrk="0" hangingPunct="1">
                        <a:defRPr sz="1800" b="1" kern="1200">
                          <a:solidFill>
                            <a:schemeClr val="lt1"/>
                          </a:solidFill>
                          <a:latin typeface="Tahoma"/>
                        </a:defRPr>
                      </a:lvl7pPr>
                      <a:lvl8pPr marL="3200400" algn="l" defTabSz="914400" rtl="0" eaLnBrk="1" latinLnBrk="0" hangingPunct="1">
                        <a:defRPr sz="1800" b="1" kern="1200">
                          <a:solidFill>
                            <a:schemeClr val="lt1"/>
                          </a:solidFill>
                          <a:latin typeface="Tahoma"/>
                        </a:defRPr>
                      </a:lvl8pPr>
                      <a:lvl9pPr marL="3657600" algn="l" defTabSz="914400" rtl="0" eaLnBrk="1" latinLnBrk="0" hangingPunct="1">
                        <a:defRPr sz="1800" b="1" kern="1200">
                          <a:solidFill>
                            <a:schemeClr val="lt1"/>
                          </a:solidFill>
                          <a:latin typeface="Tahoma"/>
                        </a:defRPr>
                      </a:lvl9pPr>
                    </a:lstStyle>
                    <a:p>
                      <a:pPr algn="ctr"/>
                      <a:r>
                        <a:rPr lang="fr-FR" sz="1100" dirty="0">
                          <a:solidFill>
                            <a:schemeClr val="bg1"/>
                          </a:solidFill>
                        </a:rPr>
                        <a:t>Scrum of </a:t>
                      </a:r>
                      <a:r>
                        <a:rPr lang="fr-FR" sz="1100" dirty="0" err="1">
                          <a:solidFill>
                            <a:schemeClr val="bg1"/>
                          </a:solidFill>
                        </a:rPr>
                        <a:t>Scrums</a:t>
                      </a:r>
                      <a:r>
                        <a:rPr lang="fr-FR" sz="1100" dirty="0">
                          <a:solidFill>
                            <a:schemeClr val="bg1"/>
                          </a:solidFill>
                        </a:rPr>
                        <a:t> Sync - Questions</a:t>
                      </a:r>
                    </a:p>
                  </a:txBody>
                  <a:tcPr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b="1" kern="1200">
                          <a:solidFill>
                            <a:schemeClr val="lt1"/>
                          </a:solidFill>
                          <a:latin typeface="Tahoma"/>
                        </a:defRPr>
                      </a:lvl1pPr>
                      <a:lvl2pPr marL="457200" algn="l" defTabSz="914400" rtl="0" eaLnBrk="1" latinLnBrk="0" hangingPunct="1">
                        <a:defRPr sz="1800" b="1" kern="1200">
                          <a:solidFill>
                            <a:schemeClr val="lt1"/>
                          </a:solidFill>
                          <a:latin typeface="Tahoma"/>
                        </a:defRPr>
                      </a:lvl2pPr>
                      <a:lvl3pPr marL="914400" algn="l" defTabSz="914400" rtl="0" eaLnBrk="1" latinLnBrk="0" hangingPunct="1">
                        <a:defRPr sz="1800" b="1" kern="1200">
                          <a:solidFill>
                            <a:schemeClr val="lt1"/>
                          </a:solidFill>
                          <a:latin typeface="Tahoma"/>
                        </a:defRPr>
                      </a:lvl3pPr>
                      <a:lvl4pPr marL="1371600" algn="l" defTabSz="914400" rtl="0" eaLnBrk="1" latinLnBrk="0" hangingPunct="1">
                        <a:defRPr sz="1800" b="1" kern="1200">
                          <a:solidFill>
                            <a:schemeClr val="lt1"/>
                          </a:solidFill>
                          <a:latin typeface="Tahoma"/>
                        </a:defRPr>
                      </a:lvl4pPr>
                      <a:lvl5pPr marL="1828800" algn="l" defTabSz="914400" rtl="0" eaLnBrk="1" latinLnBrk="0" hangingPunct="1">
                        <a:defRPr sz="1800" b="1" kern="1200">
                          <a:solidFill>
                            <a:schemeClr val="lt1"/>
                          </a:solidFill>
                          <a:latin typeface="Tahoma"/>
                        </a:defRPr>
                      </a:lvl5pPr>
                      <a:lvl6pPr marL="2286000" algn="l" defTabSz="914400" rtl="0" eaLnBrk="1" latinLnBrk="0" hangingPunct="1">
                        <a:defRPr sz="1800" b="1" kern="1200">
                          <a:solidFill>
                            <a:schemeClr val="lt1"/>
                          </a:solidFill>
                          <a:latin typeface="Tahoma"/>
                        </a:defRPr>
                      </a:lvl6pPr>
                      <a:lvl7pPr marL="2743200" algn="l" defTabSz="914400" rtl="0" eaLnBrk="1" latinLnBrk="0" hangingPunct="1">
                        <a:defRPr sz="1800" b="1" kern="1200">
                          <a:solidFill>
                            <a:schemeClr val="lt1"/>
                          </a:solidFill>
                          <a:latin typeface="Tahoma"/>
                        </a:defRPr>
                      </a:lvl7pPr>
                      <a:lvl8pPr marL="3200400" algn="l" defTabSz="914400" rtl="0" eaLnBrk="1" latinLnBrk="0" hangingPunct="1">
                        <a:defRPr sz="1800" b="1" kern="1200">
                          <a:solidFill>
                            <a:schemeClr val="lt1"/>
                          </a:solidFill>
                          <a:latin typeface="Tahoma"/>
                        </a:defRPr>
                      </a:lvl8pPr>
                      <a:lvl9pPr marL="3657600" algn="l" defTabSz="914400" rtl="0" eaLnBrk="1" latinLnBrk="0" hangingPunct="1">
                        <a:defRPr sz="1800" b="1" kern="1200">
                          <a:solidFill>
                            <a:schemeClr val="lt1"/>
                          </a:solidFill>
                          <a:latin typeface="Tahoma"/>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dirty="0">
                          <a:solidFill>
                            <a:schemeClr val="bg1"/>
                          </a:solidFill>
                        </a:rPr>
                        <a:t>Team 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b="1" kern="1200">
                          <a:solidFill>
                            <a:schemeClr val="lt1"/>
                          </a:solidFill>
                          <a:latin typeface="Tahoma"/>
                        </a:defRPr>
                      </a:lvl1pPr>
                      <a:lvl2pPr marL="457200" algn="l" defTabSz="914400" rtl="0" eaLnBrk="1" latinLnBrk="0" hangingPunct="1">
                        <a:defRPr sz="1800" b="1" kern="1200">
                          <a:solidFill>
                            <a:schemeClr val="lt1"/>
                          </a:solidFill>
                          <a:latin typeface="Tahoma"/>
                        </a:defRPr>
                      </a:lvl2pPr>
                      <a:lvl3pPr marL="914400" algn="l" defTabSz="914400" rtl="0" eaLnBrk="1" latinLnBrk="0" hangingPunct="1">
                        <a:defRPr sz="1800" b="1" kern="1200">
                          <a:solidFill>
                            <a:schemeClr val="lt1"/>
                          </a:solidFill>
                          <a:latin typeface="Tahoma"/>
                        </a:defRPr>
                      </a:lvl3pPr>
                      <a:lvl4pPr marL="1371600" algn="l" defTabSz="914400" rtl="0" eaLnBrk="1" latinLnBrk="0" hangingPunct="1">
                        <a:defRPr sz="1800" b="1" kern="1200">
                          <a:solidFill>
                            <a:schemeClr val="lt1"/>
                          </a:solidFill>
                          <a:latin typeface="Tahoma"/>
                        </a:defRPr>
                      </a:lvl4pPr>
                      <a:lvl5pPr marL="1828800" algn="l" defTabSz="914400" rtl="0" eaLnBrk="1" latinLnBrk="0" hangingPunct="1">
                        <a:defRPr sz="1800" b="1" kern="1200">
                          <a:solidFill>
                            <a:schemeClr val="lt1"/>
                          </a:solidFill>
                          <a:latin typeface="Tahoma"/>
                        </a:defRPr>
                      </a:lvl5pPr>
                      <a:lvl6pPr marL="2286000" algn="l" defTabSz="914400" rtl="0" eaLnBrk="1" latinLnBrk="0" hangingPunct="1">
                        <a:defRPr sz="1800" b="1" kern="1200">
                          <a:solidFill>
                            <a:schemeClr val="lt1"/>
                          </a:solidFill>
                          <a:latin typeface="Tahoma"/>
                        </a:defRPr>
                      </a:lvl6pPr>
                      <a:lvl7pPr marL="2743200" algn="l" defTabSz="914400" rtl="0" eaLnBrk="1" latinLnBrk="0" hangingPunct="1">
                        <a:defRPr sz="1800" b="1" kern="1200">
                          <a:solidFill>
                            <a:schemeClr val="lt1"/>
                          </a:solidFill>
                          <a:latin typeface="Tahoma"/>
                        </a:defRPr>
                      </a:lvl7pPr>
                      <a:lvl8pPr marL="3200400" algn="l" defTabSz="914400" rtl="0" eaLnBrk="1" latinLnBrk="0" hangingPunct="1">
                        <a:defRPr sz="1800" b="1" kern="1200">
                          <a:solidFill>
                            <a:schemeClr val="lt1"/>
                          </a:solidFill>
                          <a:latin typeface="Tahoma"/>
                        </a:defRPr>
                      </a:lvl8pPr>
                      <a:lvl9pPr marL="3657600" algn="l" defTabSz="914400" rtl="0" eaLnBrk="1" latinLnBrk="0" hangingPunct="1">
                        <a:defRPr sz="1800" b="1" kern="1200">
                          <a:solidFill>
                            <a:schemeClr val="lt1"/>
                          </a:solidFill>
                          <a:latin typeface="Tahoma"/>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dirty="0">
                          <a:solidFill>
                            <a:schemeClr val="bg1"/>
                          </a:solidFill>
                        </a:rPr>
                        <a:t>Team 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b="1" kern="1200">
                          <a:solidFill>
                            <a:schemeClr val="lt1"/>
                          </a:solidFill>
                          <a:latin typeface="Tahoma"/>
                        </a:defRPr>
                      </a:lvl1pPr>
                      <a:lvl2pPr marL="457200" algn="l" defTabSz="914400" rtl="0" eaLnBrk="1" latinLnBrk="0" hangingPunct="1">
                        <a:defRPr sz="1800" b="1" kern="1200">
                          <a:solidFill>
                            <a:schemeClr val="lt1"/>
                          </a:solidFill>
                          <a:latin typeface="Tahoma"/>
                        </a:defRPr>
                      </a:lvl2pPr>
                      <a:lvl3pPr marL="914400" algn="l" defTabSz="914400" rtl="0" eaLnBrk="1" latinLnBrk="0" hangingPunct="1">
                        <a:defRPr sz="1800" b="1" kern="1200">
                          <a:solidFill>
                            <a:schemeClr val="lt1"/>
                          </a:solidFill>
                          <a:latin typeface="Tahoma"/>
                        </a:defRPr>
                      </a:lvl3pPr>
                      <a:lvl4pPr marL="1371600" algn="l" defTabSz="914400" rtl="0" eaLnBrk="1" latinLnBrk="0" hangingPunct="1">
                        <a:defRPr sz="1800" b="1" kern="1200">
                          <a:solidFill>
                            <a:schemeClr val="lt1"/>
                          </a:solidFill>
                          <a:latin typeface="Tahoma"/>
                        </a:defRPr>
                      </a:lvl4pPr>
                      <a:lvl5pPr marL="1828800" algn="l" defTabSz="914400" rtl="0" eaLnBrk="1" latinLnBrk="0" hangingPunct="1">
                        <a:defRPr sz="1800" b="1" kern="1200">
                          <a:solidFill>
                            <a:schemeClr val="lt1"/>
                          </a:solidFill>
                          <a:latin typeface="Tahoma"/>
                        </a:defRPr>
                      </a:lvl5pPr>
                      <a:lvl6pPr marL="2286000" algn="l" defTabSz="914400" rtl="0" eaLnBrk="1" latinLnBrk="0" hangingPunct="1">
                        <a:defRPr sz="1800" b="1" kern="1200">
                          <a:solidFill>
                            <a:schemeClr val="lt1"/>
                          </a:solidFill>
                          <a:latin typeface="Tahoma"/>
                        </a:defRPr>
                      </a:lvl6pPr>
                      <a:lvl7pPr marL="2743200" algn="l" defTabSz="914400" rtl="0" eaLnBrk="1" latinLnBrk="0" hangingPunct="1">
                        <a:defRPr sz="1800" b="1" kern="1200">
                          <a:solidFill>
                            <a:schemeClr val="lt1"/>
                          </a:solidFill>
                          <a:latin typeface="Tahoma"/>
                        </a:defRPr>
                      </a:lvl7pPr>
                      <a:lvl8pPr marL="3200400" algn="l" defTabSz="914400" rtl="0" eaLnBrk="1" latinLnBrk="0" hangingPunct="1">
                        <a:defRPr sz="1800" b="1" kern="1200">
                          <a:solidFill>
                            <a:schemeClr val="lt1"/>
                          </a:solidFill>
                          <a:latin typeface="Tahoma"/>
                        </a:defRPr>
                      </a:lvl8pPr>
                      <a:lvl9pPr marL="3657600" algn="l" defTabSz="914400" rtl="0" eaLnBrk="1" latinLnBrk="0" hangingPunct="1">
                        <a:defRPr sz="1800" b="1" kern="1200">
                          <a:solidFill>
                            <a:schemeClr val="lt1"/>
                          </a:solidFill>
                          <a:latin typeface="Tahoma"/>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dirty="0">
                          <a:solidFill>
                            <a:schemeClr val="bg1"/>
                          </a:solidFill>
                        </a:rPr>
                        <a:t>Team 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523860533"/>
                  </a:ext>
                </a:extLst>
              </a:tr>
              <a:tr h="323638">
                <a:tc>
                  <a:txBody>
                    <a:bodyPr/>
                    <a:lstStyle/>
                    <a:p>
                      <a:pPr algn="l">
                        <a:lnSpc>
                          <a:spcPct val="107000"/>
                        </a:lnSpc>
                        <a:spcAft>
                          <a:spcPts val="800"/>
                        </a:spcAft>
                      </a:pPr>
                      <a:r>
                        <a:rPr lang="en-US" sz="1600" dirty="0" err="1">
                          <a:effectLst/>
                        </a:rPr>
                        <a:t>Avez-vous</a:t>
                      </a:r>
                      <a:r>
                        <a:rPr lang="en-US" sz="1600" dirty="0">
                          <a:effectLst/>
                        </a:rPr>
                        <a:t> </a:t>
                      </a:r>
                      <a:r>
                        <a:rPr lang="en-US" sz="1600" dirty="0" err="1">
                          <a:effectLst/>
                        </a:rPr>
                        <a:t>identifié</a:t>
                      </a:r>
                      <a:r>
                        <a:rPr lang="en-US" sz="1600" dirty="0">
                          <a:effectLst/>
                        </a:rPr>
                        <a:t> la </a:t>
                      </a:r>
                      <a:r>
                        <a:rPr lang="en-US" sz="1600" dirty="0" err="1">
                          <a:effectLst/>
                        </a:rPr>
                        <a:t>vélocité</a:t>
                      </a:r>
                      <a:r>
                        <a:rPr lang="en-US" sz="1600" dirty="0">
                          <a:effectLst/>
                        </a:rPr>
                        <a:t> pour </a:t>
                      </a:r>
                      <a:r>
                        <a:rPr lang="en-US" sz="1600" dirty="0" err="1">
                          <a:effectLst/>
                        </a:rPr>
                        <a:t>chaque</a:t>
                      </a:r>
                      <a:r>
                        <a:rPr lang="en-US" sz="1600" dirty="0">
                          <a:effectLst/>
                        </a:rPr>
                        <a:t> iteration du PI ?</a:t>
                      </a:r>
                    </a:p>
                  </a:txBody>
                  <a:tcPr marT="34290" marB="34290" anchor="ctr">
                    <a:lnL w="12700" cmpd="sng">
                      <a:noFill/>
                    </a:lnL>
                    <a:lnR w="1270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EDEDED"/>
                    </a:solidFill>
                  </a:tcPr>
                </a:tc>
                <a:tc>
                  <a:txBody>
                    <a:bodyPr/>
                    <a:lstStyle/>
                    <a:p>
                      <a:pPr algn="ctr">
                        <a:lnSpc>
                          <a:spcPct val="107000"/>
                        </a:lnSpc>
                        <a:spcAft>
                          <a:spcPts val="800"/>
                        </a:spcAft>
                      </a:pPr>
                      <a:r>
                        <a:rPr lang="en-US" sz="1800" dirty="0">
                          <a:effectLst/>
                        </a:rPr>
                        <a:t>O</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EDEDED"/>
                    </a:solidFill>
                  </a:tcPr>
                </a:tc>
                <a:tc>
                  <a:txBody>
                    <a:bodyPr/>
                    <a:lstStyle/>
                    <a:p>
                      <a:pPr algn="ctr">
                        <a:lnSpc>
                          <a:spcPct val="107000"/>
                        </a:lnSpc>
                        <a:spcAft>
                          <a:spcPts val="800"/>
                        </a:spcAft>
                      </a:pPr>
                      <a:r>
                        <a:rPr lang="en-US" sz="1800" dirty="0">
                          <a:effectLst/>
                        </a:rPr>
                        <a:t>O</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EDEDED"/>
                    </a:solidFill>
                  </a:tcPr>
                </a:tc>
                <a:tc>
                  <a:txBody>
                    <a:bodyPr/>
                    <a:lstStyle/>
                    <a:p>
                      <a:pPr algn="ctr">
                        <a:lnSpc>
                          <a:spcPct val="107000"/>
                        </a:lnSpc>
                        <a:spcAft>
                          <a:spcPts val="800"/>
                        </a:spcAft>
                      </a:pPr>
                      <a:r>
                        <a:rPr lang="en-US" sz="1800" dirty="0">
                          <a:effectLst/>
                        </a:rPr>
                        <a:t>O</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2146918527"/>
                  </a:ext>
                </a:extLst>
              </a:tr>
              <a:tr h="323638">
                <a:tc>
                  <a:txBody>
                    <a:bodyPr/>
                    <a:lstStyle/>
                    <a:p>
                      <a:pPr algn="l">
                        <a:lnSpc>
                          <a:spcPct val="107000"/>
                        </a:lnSpc>
                        <a:spcAft>
                          <a:spcPts val="800"/>
                        </a:spcAft>
                      </a:pPr>
                      <a:r>
                        <a:rPr lang="en-US" sz="1600" dirty="0" err="1">
                          <a:effectLst/>
                        </a:rPr>
                        <a:t>Avez-vous</a:t>
                      </a:r>
                      <a:r>
                        <a:rPr lang="en-US" sz="1600" dirty="0">
                          <a:effectLst/>
                        </a:rPr>
                        <a:t> </a:t>
                      </a:r>
                      <a:r>
                        <a:rPr lang="en-US" sz="1600" dirty="0" err="1">
                          <a:effectLst/>
                        </a:rPr>
                        <a:t>identifié</a:t>
                      </a:r>
                      <a:r>
                        <a:rPr lang="en-US" sz="1600" dirty="0">
                          <a:effectLst/>
                        </a:rPr>
                        <a:t> la </a:t>
                      </a:r>
                      <a:r>
                        <a:rPr lang="en-US" sz="1600" dirty="0" err="1">
                          <a:effectLst/>
                        </a:rPr>
                        <a:t>plupart</a:t>
                      </a:r>
                      <a:r>
                        <a:rPr lang="en-US" sz="1600" baseline="0" dirty="0">
                          <a:effectLst/>
                        </a:rPr>
                        <a:t> des stories pour les 2 première iterations et commence </a:t>
                      </a:r>
                      <a:r>
                        <a:rPr lang="en-US" sz="1600" baseline="0" dirty="0" err="1">
                          <a:effectLst/>
                        </a:rPr>
                        <a:t>leur</a:t>
                      </a:r>
                      <a:r>
                        <a:rPr lang="en-US" sz="1600" baseline="0" dirty="0">
                          <a:effectLst/>
                        </a:rPr>
                        <a:t> estimation ?</a:t>
                      </a:r>
                      <a:endParaRPr lang="en-US" sz="1600" dirty="0">
                        <a:effectLst/>
                      </a:endParaRPr>
                    </a:p>
                  </a:txBody>
                  <a:tcPr marT="34290" marB="34290" anchor="ctr">
                    <a:lnL w="12700" cmpd="sng">
                      <a:noFill/>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ct val="107000"/>
                        </a:lnSpc>
                        <a:spcAft>
                          <a:spcPts val="800"/>
                        </a:spcAft>
                      </a:pPr>
                      <a:r>
                        <a:rPr lang="en-US" sz="1800" dirty="0">
                          <a:effectLst/>
                        </a:rPr>
                        <a:t>O</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ct val="107000"/>
                        </a:lnSpc>
                        <a:spcAft>
                          <a:spcPts val="800"/>
                        </a:spcAft>
                      </a:pPr>
                      <a:r>
                        <a:rPr lang="en-US" sz="1800" dirty="0">
                          <a:effectLst/>
                        </a:rPr>
                        <a:t>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ct val="107000"/>
                        </a:lnSpc>
                        <a:spcAft>
                          <a:spcPts val="800"/>
                        </a:spcAft>
                      </a:pPr>
                      <a:r>
                        <a:rPr lang="en-US" sz="1800" dirty="0">
                          <a:effectLst/>
                        </a:rPr>
                        <a:t>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34181164"/>
                  </a:ext>
                </a:extLst>
              </a:tr>
              <a:tr h="323638">
                <a:tc>
                  <a:txBody>
                    <a:bodyPr/>
                    <a:lstStyle/>
                    <a:p>
                      <a:pPr algn="l">
                        <a:lnSpc>
                          <a:spcPct val="107000"/>
                        </a:lnSpc>
                        <a:spcAft>
                          <a:spcPts val="800"/>
                        </a:spcAft>
                      </a:pPr>
                      <a:r>
                        <a:rPr lang="en-US" sz="1600" dirty="0" err="1">
                          <a:effectLst/>
                        </a:rPr>
                        <a:t>Avez-vous</a:t>
                      </a:r>
                      <a:r>
                        <a:rPr lang="en-US" sz="1600" dirty="0">
                          <a:effectLst/>
                        </a:rPr>
                        <a:t> commence à </a:t>
                      </a:r>
                      <a:r>
                        <a:rPr lang="en-US" sz="1600" dirty="0" err="1">
                          <a:effectLst/>
                        </a:rPr>
                        <a:t>résoudre</a:t>
                      </a:r>
                      <a:r>
                        <a:rPr lang="en-US" sz="1600" dirty="0">
                          <a:effectLst/>
                        </a:rPr>
                        <a:t> les </a:t>
                      </a:r>
                      <a:r>
                        <a:rPr lang="en-US" sz="1600" dirty="0" err="1">
                          <a:effectLst/>
                        </a:rPr>
                        <a:t>dépendances</a:t>
                      </a:r>
                      <a:r>
                        <a:rPr lang="en-US" sz="1600" dirty="0">
                          <a:effectLst/>
                        </a:rPr>
                        <a:t> avec </a:t>
                      </a:r>
                      <a:r>
                        <a:rPr lang="en-US" sz="1600" dirty="0" err="1">
                          <a:effectLst/>
                        </a:rPr>
                        <a:t>d’autres</a:t>
                      </a:r>
                      <a:r>
                        <a:rPr lang="en-US" sz="1600" dirty="0">
                          <a:effectLst/>
                        </a:rPr>
                        <a:t> </a:t>
                      </a:r>
                      <a:r>
                        <a:rPr lang="en-US" sz="1600" dirty="0" err="1">
                          <a:effectLst/>
                        </a:rPr>
                        <a:t>équipes</a:t>
                      </a:r>
                      <a:r>
                        <a:rPr lang="en-US" sz="1600" dirty="0">
                          <a:effectLst/>
                        </a:rPr>
                        <a:t> ?</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mpd="sng">
                      <a:noFill/>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DEDED"/>
                    </a:solidFill>
                  </a:tcPr>
                </a:tc>
                <a:tc>
                  <a:txBody>
                    <a:bodyPr/>
                    <a:lstStyle/>
                    <a:p>
                      <a:pPr algn="ctr">
                        <a:lnSpc>
                          <a:spcPct val="107000"/>
                        </a:lnSpc>
                        <a:spcAft>
                          <a:spcPts val="800"/>
                        </a:spcAft>
                      </a:pPr>
                      <a:r>
                        <a:rPr lang="en-US" sz="1800" dirty="0">
                          <a:effectLst/>
                        </a:rPr>
                        <a:t>O</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DEDED"/>
                    </a:solidFill>
                  </a:tcPr>
                </a:tc>
                <a:tc>
                  <a:txBody>
                    <a:bodyPr/>
                    <a:lstStyle/>
                    <a:p>
                      <a:pPr algn="ctr">
                        <a:lnSpc>
                          <a:spcPct val="107000"/>
                        </a:lnSpc>
                        <a:spcAft>
                          <a:spcPts val="800"/>
                        </a:spcAft>
                      </a:pPr>
                      <a:r>
                        <a:rPr lang="en-US" sz="1800" dirty="0">
                          <a:effectLst/>
                        </a:rPr>
                        <a:t>O</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DEDED"/>
                    </a:solidFill>
                  </a:tcPr>
                </a:tc>
                <a:tc>
                  <a:txBody>
                    <a:bodyPr/>
                    <a:lstStyle/>
                    <a:p>
                      <a:pPr algn="ctr">
                        <a:lnSpc>
                          <a:spcPct val="107000"/>
                        </a:lnSpc>
                        <a:spcAft>
                          <a:spcPts val="800"/>
                        </a:spcAft>
                      </a:pPr>
                      <a:r>
                        <a:rPr lang="en-US" sz="1800" dirty="0">
                          <a:effectLst/>
                        </a:rPr>
                        <a:t>O</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2417414571"/>
                  </a:ext>
                </a:extLst>
              </a:tr>
              <a:tr h="323638">
                <a:tc>
                  <a:txBody>
                    <a:bodyPr/>
                    <a:lstStyle/>
                    <a:p>
                      <a:pPr algn="l">
                        <a:lnSpc>
                          <a:spcPct val="107000"/>
                        </a:lnSpc>
                        <a:spcAft>
                          <a:spcPts val="800"/>
                        </a:spcAft>
                      </a:pPr>
                      <a:r>
                        <a:rPr lang="en-US" sz="1600" dirty="0" err="1">
                          <a:effectLst/>
                        </a:rPr>
                        <a:t>Discutez-vous</a:t>
                      </a:r>
                      <a:r>
                        <a:rPr lang="en-US" sz="1600" dirty="0">
                          <a:effectLst/>
                        </a:rPr>
                        <a:t> des </a:t>
                      </a:r>
                      <a:r>
                        <a:rPr lang="en-US" sz="1600" dirty="0" err="1">
                          <a:effectLst/>
                        </a:rPr>
                        <a:t>compromis</a:t>
                      </a:r>
                      <a:r>
                        <a:rPr lang="en-US" sz="1600" baseline="0" dirty="0">
                          <a:effectLst/>
                        </a:rPr>
                        <a:t> et/</a:t>
                      </a:r>
                      <a:r>
                        <a:rPr lang="en-US" sz="1600" baseline="0" dirty="0" err="1">
                          <a:effectLst/>
                        </a:rPr>
                        <a:t>ou</a:t>
                      </a:r>
                      <a:r>
                        <a:rPr lang="en-US" sz="1600" baseline="0" dirty="0">
                          <a:effectLst/>
                        </a:rPr>
                        <a:t> </a:t>
                      </a:r>
                      <a:r>
                        <a:rPr lang="en-US" sz="1600" baseline="0" dirty="0" err="1">
                          <a:effectLst/>
                        </a:rPr>
                        <a:t>conflits</a:t>
                      </a:r>
                      <a:r>
                        <a:rPr lang="en-US" sz="1600" baseline="0" dirty="0">
                          <a:effectLst/>
                        </a:rPr>
                        <a:t> de </a:t>
                      </a:r>
                      <a:r>
                        <a:rPr lang="en-US" sz="1600" baseline="0" dirty="0" err="1">
                          <a:effectLst/>
                        </a:rPr>
                        <a:t>priorités</a:t>
                      </a:r>
                      <a:r>
                        <a:rPr lang="en-US" sz="1600" baseline="0" dirty="0">
                          <a:effectLst/>
                        </a:rPr>
                        <a:t> avec les Business Owners (Métier) ?</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mpd="sng">
                      <a:noFill/>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ct val="107000"/>
                        </a:lnSpc>
                        <a:spcAft>
                          <a:spcPts val="800"/>
                        </a:spcAft>
                      </a:pPr>
                      <a:r>
                        <a:rPr lang="en-US" sz="1800" dirty="0">
                          <a:effectLst/>
                        </a:rPr>
                        <a:t>O</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ct val="107000"/>
                        </a:lnSpc>
                        <a:spcAft>
                          <a:spcPts val="800"/>
                        </a:spcAft>
                      </a:pPr>
                      <a:r>
                        <a:rPr lang="en-US" sz="1800" dirty="0">
                          <a:effectLst/>
                        </a:rPr>
                        <a:t>O</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ct val="107000"/>
                        </a:lnSpc>
                        <a:spcAft>
                          <a:spcPts val="800"/>
                        </a:spcAft>
                      </a:pPr>
                      <a:r>
                        <a:rPr lang="en-US" sz="1800" dirty="0">
                          <a:effectLst/>
                        </a:rPr>
                        <a:t>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20259122"/>
                  </a:ext>
                </a:extLst>
              </a:tr>
              <a:tr h="323638">
                <a:tc>
                  <a:txBody>
                    <a:bodyPr/>
                    <a:lstStyle/>
                    <a:p>
                      <a:pPr algn="l">
                        <a:lnSpc>
                          <a:spcPct val="107000"/>
                        </a:lnSpc>
                        <a:spcAft>
                          <a:spcPts val="800"/>
                        </a:spcAft>
                      </a:pPr>
                      <a:r>
                        <a:rPr lang="en-US" sz="1600" dirty="0" err="1">
                          <a:effectLst/>
                        </a:rPr>
                        <a:t>Avez-vous</a:t>
                      </a:r>
                      <a:r>
                        <a:rPr lang="en-US" sz="1600" dirty="0">
                          <a:effectLst/>
                        </a:rPr>
                        <a:t> déjà </a:t>
                      </a:r>
                      <a:r>
                        <a:rPr lang="en-US" sz="1600" dirty="0" err="1">
                          <a:effectLst/>
                        </a:rPr>
                        <a:t>identifié</a:t>
                      </a:r>
                      <a:r>
                        <a:rPr lang="en-US" sz="1600" dirty="0">
                          <a:effectLst/>
                        </a:rPr>
                        <a:t> des </a:t>
                      </a:r>
                      <a:r>
                        <a:rPr lang="en-US" sz="1600" dirty="0" err="1">
                          <a:effectLst/>
                        </a:rPr>
                        <a:t>risques</a:t>
                      </a:r>
                      <a:r>
                        <a:rPr lang="en-US" sz="1600" dirty="0">
                          <a:effectLst/>
                        </a:rPr>
                        <a:t> au </a:t>
                      </a:r>
                      <a:r>
                        <a:rPr lang="en-US" sz="1600" dirty="0" err="1">
                          <a:effectLst/>
                        </a:rPr>
                        <a:t>niveau</a:t>
                      </a:r>
                      <a:r>
                        <a:rPr lang="en-US" sz="1600" dirty="0">
                          <a:effectLst/>
                        </a:rPr>
                        <a:t> du </a:t>
                      </a:r>
                      <a:r>
                        <a:rPr lang="en-US" sz="1600" dirty="0" err="1">
                          <a:effectLst/>
                        </a:rPr>
                        <a:t>programme</a:t>
                      </a:r>
                      <a:r>
                        <a:rPr lang="en-US" sz="1600" dirty="0">
                          <a:effectLst/>
                        </a:rPr>
                        <a:t> ?</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mpd="sng">
                      <a:noFill/>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7000"/>
                        </a:lnSpc>
                        <a:spcAft>
                          <a:spcPts val="800"/>
                        </a:spcAft>
                      </a:pPr>
                      <a:r>
                        <a:rPr lang="en-US" sz="1800" dirty="0">
                          <a:effectLst/>
                        </a:rPr>
                        <a:t>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7000"/>
                        </a:lnSpc>
                        <a:spcAft>
                          <a:spcPts val="800"/>
                        </a:spcAft>
                      </a:pPr>
                      <a:r>
                        <a:rPr lang="en-US" sz="1800" dirty="0">
                          <a:effectLst/>
                        </a:rPr>
                        <a:t>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7000"/>
                        </a:lnSpc>
                        <a:spcAft>
                          <a:spcPts val="800"/>
                        </a:spcAft>
                      </a:pPr>
                      <a:r>
                        <a:rPr lang="en-US" sz="1800" dirty="0">
                          <a:effectLst/>
                        </a:rPr>
                        <a:t>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77765289"/>
                  </a:ext>
                </a:extLst>
              </a:tr>
              <a:tr h="323638">
                <a:tc>
                  <a:txBody>
                    <a:bodyPr/>
                    <a:lstStyle/>
                    <a:p>
                      <a:pPr algn="l">
                        <a:lnSpc>
                          <a:spcPct val="107000"/>
                        </a:lnSpc>
                        <a:spcAft>
                          <a:spcPts val="800"/>
                        </a:spcAft>
                      </a:pPr>
                      <a:r>
                        <a:rPr lang="en-US" sz="1600" dirty="0" err="1">
                          <a:effectLst/>
                        </a:rPr>
                        <a:t>Serez-vous</a:t>
                      </a:r>
                      <a:r>
                        <a:rPr lang="en-US" sz="1600" dirty="0">
                          <a:effectLst/>
                        </a:rPr>
                        <a:t> </a:t>
                      </a:r>
                      <a:r>
                        <a:rPr lang="en-US" sz="1600" dirty="0" err="1">
                          <a:effectLst/>
                        </a:rPr>
                        <a:t>prêts</a:t>
                      </a:r>
                      <a:r>
                        <a:rPr lang="en-US" sz="1600" dirty="0">
                          <a:effectLst/>
                        </a:rPr>
                        <a:t> à </a:t>
                      </a:r>
                      <a:r>
                        <a:rPr lang="en-US" sz="1600" dirty="0" err="1">
                          <a:effectLst/>
                        </a:rPr>
                        <a:t>écrire</a:t>
                      </a:r>
                      <a:r>
                        <a:rPr lang="en-US" sz="1600" dirty="0">
                          <a:effectLst/>
                        </a:rPr>
                        <a:t> </a:t>
                      </a:r>
                      <a:r>
                        <a:rPr lang="en-US" sz="1600" dirty="0" err="1">
                          <a:effectLst/>
                        </a:rPr>
                        <a:t>vos</a:t>
                      </a:r>
                      <a:r>
                        <a:rPr lang="en-US" sz="1600" dirty="0">
                          <a:effectLst/>
                        </a:rPr>
                        <a:t> PI objectives</a:t>
                      </a:r>
                      <a:r>
                        <a:rPr lang="en-US" sz="1600" baseline="0" dirty="0">
                          <a:effectLst/>
                        </a:rPr>
                        <a:t> </a:t>
                      </a:r>
                      <a:r>
                        <a:rPr lang="en-US" sz="1600" baseline="0" dirty="0" err="1">
                          <a:effectLst/>
                        </a:rPr>
                        <a:t>dans</a:t>
                      </a:r>
                      <a:r>
                        <a:rPr lang="en-US" sz="1600" baseline="0" dirty="0">
                          <a:effectLst/>
                        </a:rPr>
                        <a:t> les 15 </a:t>
                      </a:r>
                      <a:r>
                        <a:rPr lang="en-US" sz="1600" baseline="0" dirty="0" err="1">
                          <a:effectLst/>
                        </a:rPr>
                        <a:t>prochaines</a:t>
                      </a:r>
                      <a:r>
                        <a:rPr lang="en-US" sz="1600" baseline="0" dirty="0">
                          <a:effectLst/>
                        </a:rPr>
                        <a:t> minutes ?</a:t>
                      </a:r>
                      <a:endParaRPr lang="en-US" sz="1600" dirty="0">
                        <a:effectLst/>
                      </a:endParaRPr>
                    </a:p>
                  </a:txBody>
                  <a:tcPr marT="34290" marB="34290" anchor="ctr">
                    <a:lnL w="12700" cmpd="sng">
                      <a:noFill/>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ct val="107000"/>
                        </a:lnSpc>
                        <a:spcAft>
                          <a:spcPts val="800"/>
                        </a:spcAft>
                      </a:pPr>
                      <a:r>
                        <a:rPr lang="en-US" sz="1800" dirty="0">
                          <a:effectLst/>
                        </a:rPr>
                        <a:t>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ct val="107000"/>
                        </a:lnSpc>
                        <a:spcAft>
                          <a:spcPts val="800"/>
                        </a:spcAft>
                      </a:pPr>
                      <a:r>
                        <a:rPr lang="en-US" sz="1800" dirty="0">
                          <a:effectLst/>
                        </a:rPr>
                        <a:t>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ct val="107000"/>
                        </a:lnSpc>
                        <a:spcAft>
                          <a:spcPts val="800"/>
                        </a:spcAft>
                      </a:pPr>
                      <a:r>
                        <a:rPr lang="en-US" sz="1800" dirty="0">
                          <a:effectLst/>
                        </a:rPr>
                        <a:t>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2256805"/>
                  </a:ext>
                </a:extLst>
              </a:tr>
              <a:tr h="323638">
                <a:tc>
                  <a:txBody>
                    <a:bodyPr/>
                    <a:lstStyle/>
                    <a:p>
                      <a:pPr algn="l">
                        <a:lnSpc>
                          <a:spcPct val="107000"/>
                        </a:lnSpc>
                        <a:spcAft>
                          <a:spcPts val="800"/>
                        </a:spcAft>
                      </a:pPr>
                      <a:r>
                        <a:rPr lang="en-US" sz="1600" dirty="0">
                          <a:effectLst/>
                        </a:rPr>
                        <a:t>Est-</a:t>
                      </a:r>
                      <a:r>
                        <a:rPr lang="en-US" sz="1600" dirty="0" err="1">
                          <a:effectLst/>
                        </a:rPr>
                        <a:t>ce</a:t>
                      </a:r>
                      <a:r>
                        <a:rPr lang="en-US" sz="1600" dirty="0">
                          <a:effectLst/>
                        </a:rPr>
                        <a:t> </a:t>
                      </a:r>
                      <a:r>
                        <a:rPr lang="en-US" sz="1600" dirty="0" err="1">
                          <a:effectLst/>
                        </a:rPr>
                        <a:t>qu’il</a:t>
                      </a:r>
                      <a:r>
                        <a:rPr lang="en-US" sz="1600" dirty="0">
                          <a:effectLst/>
                        </a:rPr>
                        <a:t> y a </a:t>
                      </a:r>
                      <a:r>
                        <a:rPr lang="en-US" sz="1600" dirty="0" err="1">
                          <a:effectLst/>
                        </a:rPr>
                        <a:t>quelque</a:t>
                      </a:r>
                      <a:r>
                        <a:rPr lang="en-US" sz="1600" dirty="0">
                          <a:effectLst/>
                        </a:rPr>
                        <a:t> chose que</a:t>
                      </a:r>
                      <a:r>
                        <a:rPr lang="en-US" sz="1600" baseline="0" dirty="0">
                          <a:effectLst/>
                        </a:rPr>
                        <a:t> </a:t>
                      </a:r>
                      <a:r>
                        <a:rPr lang="en-US" sz="1600" baseline="0" dirty="0" err="1">
                          <a:effectLst/>
                        </a:rPr>
                        <a:t>vous</a:t>
                      </a:r>
                      <a:r>
                        <a:rPr lang="en-US" sz="1600" baseline="0" dirty="0">
                          <a:effectLst/>
                        </a:rPr>
                        <a:t> </a:t>
                      </a:r>
                      <a:r>
                        <a:rPr lang="en-US" sz="1600" baseline="0" dirty="0" err="1">
                          <a:effectLst/>
                        </a:rPr>
                        <a:t>souhaitez</a:t>
                      </a:r>
                      <a:r>
                        <a:rPr lang="en-US" sz="1600" baseline="0" dirty="0">
                          <a:effectLst/>
                        </a:rPr>
                        <a:t> </a:t>
                      </a:r>
                      <a:r>
                        <a:rPr lang="en-US" sz="1600" baseline="0" dirty="0" err="1">
                          <a:effectLst/>
                        </a:rPr>
                        <a:t>discuter</a:t>
                      </a:r>
                      <a:r>
                        <a:rPr lang="en-US" sz="1600" baseline="0" dirty="0">
                          <a:effectLst/>
                        </a:rPr>
                        <a:t> avec les Scrum Masters ? Si </a:t>
                      </a:r>
                      <a:r>
                        <a:rPr lang="en-US" sz="1600" baseline="0" dirty="0" err="1">
                          <a:effectLst/>
                        </a:rPr>
                        <a:t>oui</a:t>
                      </a:r>
                      <a:r>
                        <a:rPr lang="en-US" sz="1600" baseline="0" dirty="0">
                          <a:effectLst/>
                        </a:rPr>
                        <a:t>, </a:t>
                      </a:r>
                      <a:r>
                        <a:rPr lang="en-US" sz="1600" baseline="0" dirty="0" err="1">
                          <a:effectLst/>
                        </a:rPr>
                        <a:t>restez</a:t>
                      </a:r>
                      <a:r>
                        <a:rPr lang="en-US" sz="1600" baseline="0" dirty="0">
                          <a:effectLst/>
                        </a:rPr>
                        <a:t> pour un “Meet After” !</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mpd="sng">
                      <a:noFill/>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7000"/>
                        </a:lnSpc>
                        <a:spcAft>
                          <a:spcPts val="800"/>
                        </a:spcAft>
                      </a:pPr>
                      <a:r>
                        <a:rPr lang="en-US" sz="1800" dirty="0">
                          <a:effectLst/>
                        </a:rPr>
                        <a:t>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7000"/>
                        </a:lnSpc>
                        <a:spcAft>
                          <a:spcPts val="800"/>
                        </a:spcAft>
                      </a:pPr>
                      <a:r>
                        <a:rPr lang="en-US" sz="1800" dirty="0">
                          <a:effectLst/>
                        </a:rPr>
                        <a:t>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07000"/>
                        </a:lnSpc>
                        <a:spcAft>
                          <a:spcPts val="800"/>
                        </a:spcAft>
                      </a:pPr>
                      <a:r>
                        <a:rPr lang="en-US" sz="1800" dirty="0">
                          <a:effectLst/>
                        </a:rPr>
                        <a:t>O</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99436596"/>
                  </a:ext>
                </a:extLst>
              </a:tr>
            </a:tbl>
          </a:graphicData>
        </a:graphic>
      </p:graphicFrame>
    </p:spTree>
    <p:extLst>
      <p:ext uri="{BB962C8B-B14F-4D97-AF65-F5344CB8AC3E}">
        <p14:creationId xmlns:p14="http://schemas.microsoft.com/office/powerpoint/2010/main" val="2568459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3"/>
          </p:nvPr>
        </p:nvSpPr>
        <p:spPr/>
        <p:txBody>
          <a:bodyPr/>
          <a:lstStyle/>
          <a:p>
            <a:r>
              <a:rPr lang="fr-FR" dirty="0"/>
              <a:t>Présentation de votre intervenant</a:t>
            </a:r>
          </a:p>
          <a:p>
            <a:pPr lvl="3"/>
            <a:endParaRPr lang="fr-FR" dirty="0"/>
          </a:p>
          <a:p>
            <a:endParaRPr lang="fr-FR" dirty="0"/>
          </a:p>
          <a:p>
            <a:endParaRPr lang="fr-FR" dirty="0"/>
          </a:p>
          <a:p>
            <a:r>
              <a:rPr lang="fr-FR" dirty="0"/>
              <a:t>Réalisation de quizz via Klaxoon pendant la formation</a:t>
            </a:r>
          </a:p>
          <a:p>
            <a:pPr lvl="1"/>
            <a:r>
              <a:rPr lang="fr-FR" dirty="0"/>
              <a:t>URL d’accès : https://app.klaxoon.com</a:t>
            </a:r>
          </a:p>
          <a:p>
            <a:pPr lvl="1"/>
            <a:r>
              <a:rPr lang="fr-FR" dirty="0"/>
              <a:t>Code d’accès : </a:t>
            </a:r>
            <a:r>
              <a:rPr lang="fr-FR" b="0" i="0" cap="all" dirty="0">
                <a:solidFill>
                  <a:srgbClr val="000000"/>
                </a:solidFill>
                <a:effectLst/>
                <a:latin typeface="Helvetica Neue"/>
              </a:rPr>
              <a:t>ZF3UKFC</a:t>
            </a:r>
            <a:endParaRPr lang="fr-FR" dirty="0"/>
          </a:p>
          <a:p>
            <a:pPr lvl="1"/>
            <a:r>
              <a:rPr lang="fr-FR" dirty="0"/>
              <a:t>QR Code :</a:t>
            </a:r>
          </a:p>
          <a:p>
            <a:pPr marL="355600" lvl="1" indent="0">
              <a:buNone/>
            </a:pPr>
            <a:endParaRPr lang="fr-FR" dirty="0"/>
          </a:p>
          <a:p>
            <a:pPr lvl="3"/>
            <a:endParaRPr lang="fr-FR" dirty="0"/>
          </a:p>
          <a:p>
            <a:pPr lvl="3"/>
            <a:endParaRPr lang="fr-FR" dirty="0"/>
          </a:p>
        </p:txBody>
      </p:sp>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4</a:t>
            </a:fld>
            <a:endParaRPr lang="fr-FR" dirty="0"/>
          </a:p>
        </p:txBody>
      </p:sp>
      <p:sp>
        <p:nvSpPr>
          <p:cNvPr id="5" name="Espace réservé du texte 4"/>
          <p:cNvSpPr>
            <a:spLocks noGrp="1"/>
          </p:cNvSpPr>
          <p:nvPr>
            <p:ph type="body" idx="1"/>
          </p:nvPr>
        </p:nvSpPr>
        <p:spPr/>
        <p:txBody>
          <a:bodyPr/>
          <a:lstStyle/>
          <a:p>
            <a:r>
              <a:rPr lang="fr-FR" dirty="0"/>
              <a:t>Présentation et besoins matériels</a:t>
            </a:r>
          </a:p>
        </p:txBody>
      </p:sp>
      <p:sp>
        <p:nvSpPr>
          <p:cNvPr id="6" name="Titre 5"/>
          <p:cNvSpPr>
            <a:spLocks noGrp="1"/>
          </p:cNvSpPr>
          <p:nvPr>
            <p:ph type="title"/>
          </p:nvPr>
        </p:nvSpPr>
        <p:spPr/>
        <p:txBody>
          <a:bodyPr/>
          <a:lstStyle/>
          <a:p>
            <a:r>
              <a:rPr lang="fr-FR" dirty="0"/>
              <a:t>Introduction</a:t>
            </a:r>
          </a:p>
        </p:txBody>
      </p:sp>
      <p:grpSp>
        <p:nvGrpSpPr>
          <p:cNvPr id="7" name="Group 8">
            <a:extLst>
              <a:ext uri="{FF2B5EF4-FFF2-40B4-BE49-F238E27FC236}">
                <a16:creationId xmlns:a16="http://schemas.microsoft.com/office/drawing/2014/main" id="{3E23DBA5-1688-487D-B7F6-64CB73551F6A}"/>
              </a:ext>
            </a:extLst>
          </p:cNvPr>
          <p:cNvGrpSpPr>
            <a:grpSpLocks/>
          </p:cNvGrpSpPr>
          <p:nvPr/>
        </p:nvGrpSpPr>
        <p:grpSpPr bwMode="auto">
          <a:xfrm>
            <a:off x="9419590" y="2106612"/>
            <a:ext cx="2051050" cy="4027488"/>
            <a:chOff x="3917" y="928"/>
            <a:chExt cx="1617" cy="2803"/>
          </a:xfrm>
        </p:grpSpPr>
        <p:pic>
          <p:nvPicPr>
            <p:cNvPr id="8" name="Picture 9">
              <a:extLst>
                <a:ext uri="{FF2B5EF4-FFF2-40B4-BE49-F238E27FC236}">
                  <a16:creationId xmlns:a16="http://schemas.microsoft.com/office/drawing/2014/main" id="{0F6D1CAB-998E-4770-A878-A1A499762CCE}"/>
                </a:ext>
              </a:extLst>
            </p:cNvPr>
            <p:cNvPicPr>
              <a:picLocks noChangeAspect="1" noChangeArrowheads="1"/>
            </p:cNvPicPr>
            <p:nvPr/>
          </p:nvPicPr>
          <p:blipFill>
            <a:blip r:embed="rId2" cstate="print">
              <a:lum bright="18000"/>
            </a:blip>
            <a:srcRect/>
            <a:stretch>
              <a:fillRect/>
            </a:stretch>
          </p:blipFill>
          <p:spPr bwMode="gray">
            <a:xfrm>
              <a:off x="3917" y="3326"/>
              <a:ext cx="1617" cy="405"/>
            </a:xfrm>
            <a:prstGeom prst="rect">
              <a:avLst/>
            </a:prstGeom>
            <a:noFill/>
            <a:ln w="9525">
              <a:miter lim="800000"/>
              <a:headEnd/>
              <a:tailEnd/>
            </a:ln>
            <a:effectLst/>
          </p:spPr>
        </p:pic>
        <p:grpSp>
          <p:nvGrpSpPr>
            <p:cNvPr id="9" name="Group 10">
              <a:extLst>
                <a:ext uri="{FF2B5EF4-FFF2-40B4-BE49-F238E27FC236}">
                  <a16:creationId xmlns:a16="http://schemas.microsoft.com/office/drawing/2014/main" id="{FEECC82D-66AD-454C-B0C2-C0FBC4802448}"/>
                </a:ext>
              </a:extLst>
            </p:cNvPr>
            <p:cNvGrpSpPr>
              <a:grpSpLocks/>
            </p:cNvGrpSpPr>
            <p:nvPr/>
          </p:nvGrpSpPr>
          <p:grpSpPr bwMode="auto">
            <a:xfrm>
              <a:off x="4225" y="928"/>
              <a:ext cx="1223" cy="2669"/>
              <a:chOff x="4178" y="1060"/>
              <a:chExt cx="1121" cy="2446"/>
            </a:xfrm>
          </p:grpSpPr>
          <p:sp>
            <p:nvSpPr>
              <p:cNvPr id="10" name="Freeform 11">
                <a:extLst>
                  <a:ext uri="{FF2B5EF4-FFF2-40B4-BE49-F238E27FC236}">
                    <a16:creationId xmlns:a16="http://schemas.microsoft.com/office/drawing/2014/main" id="{DF0BA53B-F34F-4F06-A61B-63F4E3C1B43E}"/>
                  </a:ext>
                </a:extLst>
              </p:cNvPr>
              <p:cNvSpPr>
                <a:spLocks/>
              </p:cNvSpPr>
              <p:nvPr/>
            </p:nvSpPr>
            <p:spPr bwMode="gray">
              <a:xfrm>
                <a:off x="4796" y="3327"/>
                <a:ext cx="262" cy="176"/>
              </a:xfrm>
              <a:custGeom>
                <a:avLst/>
                <a:gdLst/>
                <a:ahLst/>
                <a:cxnLst>
                  <a:cxn ang="0">
                    <a:pos x="81" y="2"/>
                  </a:cxn>
                  <a:cxn ang="0">
                    <a:pos x="82" y="2"/>
                  </a:cxn>
                  <a:cxn ang="0">
                    <a:pos x="164" y="8"/>
                  </a:cxn>
                  <a:cxn ang="0">
                    <a:pos x="164" y="11"/>
                  </a:cxn>
                  <a:cxn ang="0">
                    <a:pos x="158" y="28"/>
                  </a:cxn>
                  <a:cxn ang="0">
                    <a:pos x="148" y="41"/>
                  </a:cxn>
                  <a:cxn ang="0">
                    <a:pos x="137" y="54"/>
                  </a:cxn>
                  <a:cxn ang="0">
                    <a:pos x="125" y="75"/>
                  </a:cxn>
                  <a:cxn ang="0">
                    <a:pos x="100" y="102"/>
                  </a:cxn>
                  <a:cxn ang="0">
                    <a:pos x="9" y="104"/>
                  </a:cxn>
                  <a:cxn ang="0">
                    <a:pos x="3" y="82"/>
                  </a:cxn>
                  <a:cxn ang="0">
                    <a:pos x="26" y="66"/>
                  </a:cxn>
                  <a:cxn ang="0">
                    <a:pos x="23" y="58"/>
                  </a:cxn>
                  <a:cxn ang="0">
                    <a:pos x="40" y="41"/>
                  </a:cxn>
                  <a:cxn ang="0">
                    <a:pos x="49" y="30"/>
                  </a:cxn>
                  <a:cxn ang="0">
                    <a:pos x="54" y="7"/>
                  </a:cxn>
                  <a:cxn ang="0">
                    <a:pos x="81" y="2"/>
                  </a:cxn>
                </a:cxnLst>
                <a:rect l="0" t="0" r="r" b="b"/>
                <a:pathLst>
                  <a:path w="164" h="110">
                    <a:moveTo>
                      <a:pt x="81" y="2"/>
                    </a:moveTo>
                    <a:cubicBezTo>
                      <a:pt x="82" y="2"/>
                      <a:pt x="82" y="2"/>
                      <a:pt x="82" y="2"/>
                    </a:cubicBezTo>
                    <a:cubicBezTo>
                      <a:pt x="108" y="5"/>
                      <a:pt x="143" y="0"/>
                      <a:pt x="164" y="8"/>
                    </a:cubicBezTo>
                    <a:cubicBezTo>
                      <a:pt x="164" y="9"/>
                      <a:pt x="164" y="10"/>
                      <a:pt x="164" y="11"/>
                    </a:cubicBezTo>
                    <a:cubicBezTo>
                      <a:pt x="161" y="16"/>
                      <a:pt x="161" y="22"/>
                      <a:pt x="158" y="28"/>
                    </a:cubicBezTo>
                    <a:cubicBezTo>
                      <a:pt x="156" y="32"/>
                      <a:pt x="152" y="37"/>
                      <a:pt x="148" y="41"/>
                    </a:cubicBezTo>
                    <a:cubicBezTo>
                      <a:pt x="145" y="45"/>
                      <a:pt x="140" y="49"/>
                      <a:pt x="137" y="54"/>
                    </a:cubicBezTo>
                    <a:cubicBezTo>
                      <a:pt x="133" y="60"/>
                      <a:pt x="130" y="68"/>
                      <a:pt x="125" y="75"/>
                    </a:cubicBezTo>
                    <a:cubicBezTo>
                      <a:pt x="118" y="87"/>
                      <a:pt x="113" y="97"/>
                      <a:pt x="100" y="102"/>
                    </a:cubicBezTo>
                    <a:cubicBezTo>
                      <a:pt x="76" y="110"/>
                      <a:pt x="39" y="108"/>
                      <a:pt x="9" y="104"/>
                    </a:cubicBezTo>
                    <a:cubicBezTo>
                      <a:pt x="6" y="97"/>
                      <a:pt x="0" y="90"/>
                      <a:pt x="3" y="82"/>
                    </a:cubicBezTo>
                    <a:cubicBezTo>
                      <a:pt x="5" y="74"/>
                      <a:pt x="19" y="71"/>
                      <a:pt x="26" y="66"/>
                    </a:cubicBezTo>
                    <a:cubicBezTo>
                      <a:pt x="28" y="63"/>
                      <a:pt x="21" y="64"/>
                      <a:pt x="23" y="58"/>
                    </a:cubicBezTo>
                    <a:cubicBezTo>
                      <a:pt x="32" y="56"/>
                      <a:pt x="35" y="49"/>
                      <a:pt x="40" y="41"/>
                    </a:cubicBezTo>
                    <a:cubicBezTo>
                      <a:pt x="43" y="37"/>
                      <a:pt x="47" y="33"/>
                      <a:pt x="49" y="30"/>
                    </a:cubicBezTo>
                    <a:cubicBezTo>
                      <a:pt x="52" y="23"/>
                      <a:pt x="51" y="14"/>
                      <a:pt x="54" y="7"/>
                    </a:cubicBezTo>
                    <a:cubicBezTo>
                      <a:pt x="64" y="6"/>
                      <a:pt x="73" y="4"/>
                      <a:pt x="81" y="2"/>
                    </a:cubicBezTo>
                    <a:close/>
                  </a:path>
                </a:pathLst>
              </a:custGeom>
              <a:solidFill>
                <a:srgbClr val="333333"/>
              </a:solidFill>
              <a:ln w="9525">
                <a:noFill/>
                <a:round/>
                <a:headEnd/>
                <a:tailEnd/>
              </a:ln>
            </p:spPr>
            <p:txBody>
              <a:bodyPr/>
              <a:lstStyle/>
              <a:p>
                <a:endParaRPr lang="fr-FR" dirty="0"/>
              </a:p>
            </p:txBody>
          </p:sp>
          <p:sp>
            <p:nvSpPr>
              <p:cNvPr id="11" name="Freeform 12">
                <a:extLst>
                  <a:ext uri="{FF2B5EF4-FFF2-40B4-BE49-F238E27FC236}">
                    <a16:creationId xmlns:a16="http://schemas.microsoft.com/office/drawing/2014/main" id="{DA9A1DDE-3173-43F7-8312-57CA9C0739DB}"/>
                  </a:ext>
                </a:extLst>
              </p:cNvPr>
              <p:cNvSpPr>
                <a:spLocks/>
              </p:cNvSpPr>
              <p:nvPr/>
            </p:nvSpPr>
            <p:spPr bwMode="gray">
              <a:xfrm>
                <a:off x="4178" y="3351"/>
                <a:ext cx="323" cy="155"/>
              </a:xfrm>
              <a:custGeom>
                <a:avLst/>
                <a:gdLst/>
                <a:ahLst/>
                <a:cxnLst>
                  <a:cxn ang="0">
                    <a:pos x="57" y="95"/>
                  </a:cxn>
                  <a:cxn ang="0">
                    <a:pos x="26" y="90"/>
                  </a:cxn>
                  <a:cxn ang="0">
                    <a:pos x="2" y="67"/>
                  </a:cxn>
                  <a:cxn ang="0">
                    <a:pos x="3" y="65"/>
                  </a:cxn>
                  <a:cxn ang="0">
                    <a:pos x="4" y="65"/>
                  </a:cxn>
                  <a:cxn ang="0">
                    <a:pos x="6" y="57"/>
                  </a:cxn>
                  <a:cxn ang="0">
                    <a:pos x="57" y="45"/>
                  </a:cxn>
                  <a:cxn ang="0">
                    <a:pos x="60" y="38"/>
                  </a:cxn>
                  <a:cxn ang="0">
                    <a:pos x="73" y="28"/>
                  </a:cxn>
                  <a:cxn ang="0">
                    <a:pos x="88" y="26"/>
                  </a:cxn>
                  <a:cxn ang="0">
                    <a:pos x="124" y="0"/>
                  </a:cxn>
                  <a:cxn ang="0">
                    <a:pos x="159" y="28"/>
                  </a:cxn>
                  <a:cxn ang="0">
                    <a:pos x="179" y="49"/>
                  </a:cxn>
                  <a:cxn ang="0">
                    <a:pos x="200" y="85"/>
                  </a:cxn>
                  <a:cxn ang="0">
                    <a:pos x="191" y="93"/>
                  </a:cxn>
                  <a:cxn ang="0">
                    <a:pos x="107" y="91"/>
                  </a:cxn>
                  <a:cxn ang="0">
                    <a:pos x="93" y="96"/>
                  </a:cxn>
                  <a:cxn ang="0">
                    <a:pos x="57" y="95"/>
                  </a:cxn>
                </a:cxnLst>
                <a:rect l="0" t="0" r="r" b="b"/>
                <a:pathLst>
                  <a:path w="202" h="97">
                    <a:moveTo>
                      <a:pt x="57" y="95"/>
                    </a:moveTo>
                    <a:cubicBezTo>
                      <a:pt x="46" y="94"/>
                      <a:pt x="36" y="92"/>
                      <a:pt x="26" y="90"/>
                    </a:cubicBezTo>
                    <a:cubicBezTo>
                      <a:pt x="13" y="86"/>
                      <a:pt x="0" y="82"/>
                      <a:pt x="2" y="67"/>
                    </a:cubicBezTo>
                    <a:cubicBezTo>
                      <a:pt x="2" y="66"/>
                      <a:pt x="3" y="65"/>
                      <a:pt x="3" y="65"/>
                    </a:cubicBezTo>
                    <a:cubicBezTo>
                      <a:pt x="3" y="65"/>
                      <a:pt x="3" y="65"/>
                      <a:pt x="4" y="65"/>
                    </a:cubicBezTo>
                    <a:cubicBezTo>
                      <a:pt x="4" y="61"/>
                      <a:pt x="5" y="59"/>
                      <a:pt x="6" y="57"/>
                    </a:cubicBezTo>
                    <a:cubicBezTo>
                      <a:pt x="20" y="49"/>
                      <a:pt x="40" y="49"/>
                      <a:pt x="57" y="45"/>
                    </a:cubicBezTo>
                    <a:cubicBezTo>
                      <a:pt x="60" y="42"/>
                      <a:pt x="58" y="40"/>
                      <a:pt x="60" y="38"/>
                    </a:cubicBezTo>
                    <a:cubicBezTo>
                      <a:pt x="63" y="34"/>
                      <a:pt x="71" y="34"/>
                      <a:pt x="73" y="28"/>
                    </a:cubicBezTo>
                    <a:cubicBezTo>
                      <a:pt x="78" y="28"/>
                      <a:pt x="82" y="25"/>
                      <a:pt x="88" y="26"/>
                    </a:cubicBezTo>
                    <a:cubicBezTo>
                      <a:pt x="95" y="11"/>
                      <a:pt x="111" y="7"/>
                      <a:pt x="124" y="0"/>
                    </a:cubicBezTo>
                    <a:cubicBezTo>
                      <a:pt x="134" y="10"/>
                      <a:pt x="148" y="17"/>
                      <a:pt x="159" y="28"/>
                    </a:cubicBezTo>
                    <a:cubicBezTo>
                      <a:pt x="166" y="34"/>
                      <a:pt x="172" y="42"/>
                      <a:pt x="179" y="49"/>
                    </a:cubicBezTo>
                    <a:cubicBezTo>
                      <a:pt x="189" y="61"/>
                      <a:pt x="202" y="68"/>
                      <a:pt x="200" y="85"/>
                    </a:cubicBezTo>
                    <a:cubicBezTo>
                      <a:pt x="196" y="87"/>
                      <a:pt x="195" y="92"/>
                      <a:pt x="191" y="93"/>
                    </a:cubicBezTo>
                    <a:cubicBezTo>
                      <a:pt x="160" y="95"/>
                      <a:pt x="132" y="85"/>
                      <a:pt x="107" y="91"/>
                    </a:cubicBezTo>
                    <a:cubicBezTo>
                      <a:pt x="102" y="92"/>
                      <a:pt x="98" y="95"/>
                      <a:pt x="93" y="96"/>
                    </a:cubicBezTo>
                    <a:cubicBezTo>
                      <a:pt x="80" y="97"/>
                      <a:pt x="69" y="93"/>
                      <a:pt x="57" y="95"/>
                    </a:cubicBezTo>
                    <a:close/>
                  </a:path>
                </a:pathLst>
              </a:custGeom>
              <a:solidFill>
                <a:srgbClr val="333333"/>
              </a:solidFill>
              <a:ln w="9525">
                <a:noFill/>
                <a:round/>
                <a:headEnd/>
                <a:tailEnd/>
              </a:ln>
            </p:spPr>
            <p:txBody>
              <a:bodyPr/>
              <a:lstStyle/>
              <a:p>
                <a:endParaRPr lang="fr-FR" dirty="0"/>
              </a:p>
            </p:txBody>
          </p:sp>
          <p:sp>
            <p:nvSpPr>
              <p:cNvPr id="12" name="Freeform 13">
                <a:extLst>
                  <a:ext uri="{FF2B5EF4-FFF2-40B4-BE49-F238E27FC236}">
                    <a16:creationId xmlns:a16="http://schemas.microsoft.com/office/drawing/2014/main" id="{C61EC6F2-E015-411E-8BC8-1975DD2BF21E}"/>
                  </a:ext>
                </a:extLst>
              </p:cNvPr>
              <p:cNvSpPr>
                <a:spLocks/>
              </p:cNvSpPr>
              <p:nvPr/>
            </p:nvSpPr>
            <p:spPr bwMode="gray">
              <a:xfrm>
                <a:off x="4336" y="2135"/>
                <a:ext cx="727" cy="1355"/>
              </a:xfrm>
              <a:custGeom>
                <a:avLst/>
                <a:gdLst/>
                <a:ahLst/>
                <a:cxnLst>
                  <a:cxn ang="0">
                    <a:pos x="446" y="722"/>
                  </a:cxn>
                  <a:cxn ang="0">
                    <a:pos x="442" y="703"/>
                  </a:cxn>
                  <a:cxn ang="0">
                    <a:pos x="423" y="659"/>
                  </a:cxn>
                  <a:cxn ang="0">
                    <a:pos x="402" y="554"/>
                  </a:cxn>
                  <a:cxn ang="0">
                    <a:pos x="375" y="457"/>
                  </a:cxn>
                  <a:cxn ang="0">
                    <a:pos x="355" y="371"/>
                  </a:cxn>
                  <a:cxn ang="0">
                    <a:pos x="319" y="176"/>
                  </a:cxn>
                  <a:cxn ang="0">
                    <a:pos x="210" y="31"/>
                  </a:cxn>
                  <a:cxn ang="0">
                    <a:pos x="174" y="29"/>
                  </a:cxn>
                  <a:cxn ang="0">
                    <a:pos x="113" y="30"/>
                  </a:cxn>
                  <a:cxn ang="0">
                    <a:pos x="38" y="5"/>
                  </a:cxn>
                  <a:cxn ang="0">
                    <a:pos x="14" y="86"/>
                  </a:cxn>
                  <a:cxn ang="0">
                    <a:pos x="17" y="112"/>
                  </a:cxn>
                  <a:cxn ang="0">
                    <a:pos x="23" y="138"/>
                  </a:cxn>
                  <a:cxn ang="0">
                    <a:pos x="28" y="188"/>
                  </a:cxn>
                  <a:cxn ang="0">
                    <a:pos x="28" y="235"/>
                  </a:cxn>
                  <a:cxn ang="0">
                    <a:pos x="29" y="271"/>
                  </a:cxn>
                  <a:cxn ang="0">
                    <a:pos x="21" y="421"/>
                  </a:cxn>
                  <a:cxn ang="0">
                    <a:pos x="29" y="481"/>
                  </a:cxn>
                  <a:cxn ang="0">
                    <a:pos x="13" y="516"/>
                  </a:cxn>
                  <a:cxn ang="0">
                    <a:pos x="15" y="585"/>
                  </a:cxn>
                  <a:cxn ang="0">
                    <a:pos x="7" y="728"/>
                  </a:cxn>
                  <a:cxn ang="0">
                    <a:pos x="27" y="775"/>
                  </a:cxn>
                  <a:cxn ang="0">
                    <a:pos x="57" y="822"/>
                  </a:cxn>
                  <a:cxn ang="0">
                    <a:pos x="110" y="836"/>
                  </a:cxn>
                  <a:cxn ang="0">
                    <a:pos x="117" y="803"/>
                  </a:cxn>
                  <a:cxn ang="0">
                    <a:pos x="121" y="751"/>
                  </a:cxn>
                  <a:cxn ang="0">
                    <a:pos x="124" y="690"/>
                  </a:cxn>
                  <a:cxn ang="0">
                    <a:pos x="128" y="633"/>
                  </a:cxn>
                  <a:cxn ang="0">
                    <a:pos x="135" y="569"/>
                  </a:cxn>
                  <a:cxn ang="0">
                    <a:pos x="136" y="525"/>
                  </a:cxn>
                  <a:cxn ang="0">
                    <a:pos x="135" y="498"/>
                  </a:cxn>
                  <a:cxn ang="0">
                    <a:pos x="146" y="441"/>
                  </a:cxn>
                  <a:cxn ang="0">
                    <a:pos x="171" y="283"/>
                  </a:cxn>
                  <a:cxn ang="0">
                    <a:pos x="224" y="397"/>
                  </a:cxn>
                  <a:cxn ang="0">
                    <a:pos x="268" y="514"/>
                  </a:cxn>
                  <a:cxn ang="0">
                    <a:pos x="296" y="655"/>
                  </a:cxn>
                  <a:cxn ang="0">
                    <a:pos x="316" y="699"/>
                  </a:cxn>
                  <a:cxn ang="0">
                    <a:pos x="341" y="732"/>
                  </a:cxn>
                  <a:cxn ang="0">
                    <a:pos x="445" y="764"/>
                  </a:cxn>
                  <a:cxn ang="0">
                    <a:pos x="453" y="736"/>
                  </a:cxn>
                </a:cxnLst>
                <a:rect l="0" t="0" r="r" b="b"/>
                <a:pathLst>
                  <a:path w="455" h="849">
                    <a:moveTo>
                      <a:pt x="453" y="736"/>
                    </a:moveTo>
                    <a:cubicBezTo>
                      <a:pt x="452" y="731"/>
                      <a:pt x="447" y="727"/>
                      <a:pt x="446" y="722"/>
                    </a:cubicBezTo>
                    <a:cubicBezTo>
                      <a:pt x="445" y="718"/>
                      <a:pt x="446" y="714"/>
                      <a:pt x="445" y="711"/>
                    </a:cubicBezTo>
                    <a:cubicBezTo>
                      <a:pt x="445" y="708"/>
                      <a:pt x="443" y="706"/>
                      <a:pt x="442" y="703"/>
                    </a:cubicBezTo>
                    <a:cubicBezTo>
                      <a:pt x="440" y="696"/>
                      <a:pt x="440" y="690"/>
                      <a:pt x="438" y="683"/>
                    </a:cubicBezTo>
                    <a:cubicBezTo>
                      <a:pt x="435" y="674"/>
                      <a:pt x="426" y="668"/>
                      <a:pt x="423" y="659"/>
                    </a:cubicBezTo>
                    <a:cubicBezTo>
                      <a:pt x="421" y="654"/>
                      <a:pt x="421" y="647"/>
                      <a:pt x="420" y="641"/>
                    </a:cubicBezTo>
                    <a:cubicBezTo>
                      <a:pt x="415" y="610"/>
                      <a:pt x="410" y="581"/>
                      <a:pt x="402" y="554"/>
                    </a:cubicBezTo>
                    <a:cubicBezTo>
                      <a:pt x="397" y="537"/>
                      <a:pt x="394" y="519"/>
                      <a:pt x="387" y="507"/>
                    </a:cubicBezTo>
                    <a:cubicBezTo>
                      <a:pt x="387" y="486"/>
                      <a:pt x="376" y="477"/>
                      <a:pt x="375" y="457"/>
                    </a:cubicBezTo>
                    <a:cubicBezTo>
                      <a:pt x="371" y="450"/>
                      <a:pt x="368" y="444"/>
                      <a:pt x="366" y="437"/>
                    </a:cubicBezTo>
                    <a:cubicBezTo>
                      <a:pt x="361" y="416"/>
                      <a:pt x="359" y="394"/>
                      <a:pt x="355" y="371"/>
                    </a:cubicBezTo>
                    <a:cubicBezTo>
                      <a:pt x="345" y="317"/>
                      <a:pt x="335" y="263"/>
                      <a:pt x="325" y="209"/>
                    </a:cubicBezTo>
                    <a:cubicBezTo>
                      <a:pt x="323" y="198"/>
                      <a:pt x="323" y="185"/>
                      <a:pt x="319" y="176"/>
                    </a:cubicBezTo>
                    <a:cubicBezTo>
                      <a:pt x="317" y="169"/>
                      <a:pt x="311" y="164"/>
                      <a:pt x="306" y="157"/>
                    </a:cubicBezTo>
                    <a:cubicBezTo>
                      <a:pt x="273" y="115"/>
                      <a:pt x="240" y="72"/>
                      <a:pt x="210" y="31"/>
                    </a:cubicBezTo>
                    <a:cubicBezTo>
                      <a:pt x="204" y="32"/>
                      <a:pt x="200" y="28"/>
                      <a:pt x="195" y="28"/>
                    </a:cubicBezTo>
                    <a:cubicBezTo>
                      <a:pt x="188" y="27"/>
                      <a:pt x="181" y="29"/>
                      <a:pt x="174" y="29"/>
                    </a:cubicBezTo>
                    <a:cubicBezTo>
                      <a:pt x="168" y="29"/>
                      <a:pt x="161" y="28"/>
                      <a:pt x="154" y="28"/>
                    </a:cubicBezTo>
                    <a:cubicBezTo>
                      <a:pt x="140" y="28"/>
                      <a:pt x="126" y="30"/>
                      <a:pt x="113" y="30"/>
                    </a:cubicBezTo>
                    <a:cubicBezTo>
                      <a:pt x="87" y="30"/>
                      <a:pt x="73" y="23"/>
                      <a:pt x="57" y="12"/>
                    </a:cubicBezTo>
                    <a:cubicBezTo>
                      <a:pt x="52" y="9"/>
                      <a:pt x="44" y="0"/>
                      <a:pt x="38" y="5"/>
                    </a:cubicBezTo>
                    <a:cubicBezTo>
                      <a:pt x="35" y="7"/>
                      <a:pt x="36" y="8"/>
                      <a:pt x="35" y="12"/>
                    </a:cubicBezTo>
                    <a:cubicBezTo>
                      <a:pt x="32" y="37"/>
                      <a:pt x="20" y="64"/>
                      <a:pt x="14" y="86"/>
                    </a:cubicBezTo>
                    <a:cubicBezTo>
                      <a:pt x="14" y="89"/>
                      <a:pt x="14" y="89"/>
                      <a:pt x="14" y="89"/>
                    </a:cubicBezTo>
                    <a:cubicBezTo>
                      <a:pt x="21" y="96"/>
                      <a:pt x="18" y="103"/>
                      <a:pt x="17" y="112"/>
                    </a:cubicBezTo>
                    <a:cubicBezTo>
                      <a:pt x="17" y="117"/>
                      <a:pt x="22" y="116"/>
                      <a:pt x="21" y="122"/>
                    </a:cubicBezTo>
                    <a:cubicBezTo>
                      <a:pt x="21" y="127"/>
                      <a:pt x="23" y="132"/>
                      <a:pt x="23" y="138"/>
                    </a:cubicBezTo>
                    <a:cubicBezTo>
                      <a:pt x="24" y="145"/>
                      <a:pt x="21" y="154"/>
                      <a:pt x="21" y="161"/>
                    </a:cubicBezTo>
                    <a:cubicBezTo>
                      <a:pt x="22" y="170"/>
                      <a:pt x="28" y="178"/>
                      <a:pt x="28" y="188"/>
                    </a:cubicBezTo>
                    <a:cubicBezTo>
                      <a:pt x="29" y="199"/>
                      <a:pt x="25" y="210"/>
                      <a:pt x="25" y="221"/>
                    </a:cubicBezTo>
                    <a:cubicBezTo>
                      <a:pt x="25" y="226"/>
                      <a:pt x="27" y="230"/>
                      <a:pt x="28" y="235"/>
                    </a:cubicBezTo>
                    <a:cubicBezTo>
                      <a:pt x="29" y="240"/>
                      <a:pt x="31" y="245"/>
                      <a:pt x="31" y="249"/>
                    </a:cubicBezTo>
                    <a:cubicBezTo>
                      <a:pt x="31" y="256"/>
                      <a:pt x="30" y="264"/>
                      <a:pt x="29" y="271"/>
                    </a:cubicBezTo>
                    <a:cubicBezTo>
                      <a:pt x="27" y="308"/>
                      <a:pt x="24" y="343"/>
                      <a:pt x="22" y="378"/>
                    </a:cubicBezTo>
                    <a:cubicBezTo>
                      <a:pt x="22" y="393"/>
                      <a:pt x="20" y="408"/>
                      <a:pt x="21" y="421"/>
                    </a:cubicBezTo>
                    <a:cubicBezTo>
                      <a:pt x="21" y="433"/>
                      <a:pt x="27" y="445"/>
                      <a:pt x="28" y="455"/>
                    </a:cubicBezTo>
                    <a:cubicBezTo>
                      <a:pt x="29" y="464"/>
                      <a:pt x="25" y="472"/>
                      <a:pt x="29" y="481"/>
                    </a:cubicBezTo>
                    <a:cubicBezTo>
                      <a:pt x="26" y="487"/>
                      <a:pt x="16" y="492"/>
                      <a:pt x="14" y="499"/>
                    </a:cubicBezTo>
                    <a:cubicBezTo>
                      <a:pt x="13" y="502"/>
                      <a:pt x="13" y="509"/>
                      <a:pt x="13" y="516"/>
                    </a:cubicBezTo>
                    <a:cubicBezTo>
                      <a:pt x="12" y="522"/>
                      <a:pt x="11" y="529"/>
                      <a:pt x="10" y="534"/>
                    </a:cubicBezTo>
                    <a:cubicBezTo>
                      <a:pt x="10" y="549"/>
                      <a:pt x="15" y="566"/>
                      <a:pt x="15" y="585"/>
                    </a:cubicBezTo>
                    <a:cubicBezTo>
                      <a:pt x="15" y="598"/>
                      <a:pt x="14" y="612"/>
                      <a:pt x="13" y="625"/>
                    </a:cubicBezTo>
                    <a:cubicBezTo>
                      <a:pt x="12" y="660"/>
                      <a:pt x="10" y="693"/>
                      <a:pt x="7" y="728"/>
                    </a:cubicBezTo>
                    <a:cubicBezTo>
                      <a:pt x="6" y="735"/>
                      <a:pt x="5" y="744"/>
                      <a:pt x="5" y="749"/>
                    </a:cubicBezTo>
                    <a:cubicBezTo>
                      <a:pt x="4" y="777"/>
                      <a:pt x="0" y="772"/>
                      <a:pt x="27" y="775"/>
                    </a:cubicBezTo>
                    <a:cubicBezTo>
                      <a:pt x="35" y="776"/>
                      <a:pt x="37" y="793"/>
                      <a:pt x="42" y="800"/>
                    </a:cubicBezTo>
                    <a:cubicBezTo>
                      <a:pt x="47" y="808"/>
                      <a:pt x="53" y="815"/>
                      <a:pt x="57" y="822"/>
                    </a:cubicBezTo>
                    <a:cubicBezTo>
                      <a:pt x="71" y="832"/>
                      <a:pt x="83" y="843"/>
                      <a:pt x="103" y="849"/>
                    </a:cubicBezTo>
                    <a:cubicBezTo>
                      <a:pt x="108" y="847"/>
                      <a:pt x="108" y="841"/>
                      <a:pt x="110" y="836"/>
                    </a:cubicBezTo>
                    <a:cubicBezTo>
                      <a:pt x="112" y="832"/>
                      <a:pt x="119" y="823"/>
                      <a:pt x="119" y="818"/>
                    </a:cubicBezTo>
                    <a:cubicBezTo>
                      <a:pt x="120" y="813"/>
                      <a:pt x="116" y="811"/>
                      <a:pt x="117" y="803"/>
                    </a:cubicBezTo>
                    <a:cubicBezTo>
                      <a:pt x="118" y="798"/>
                      <a:pt x="118" y="787"/>
                      <a:pt x="118" y="781"/>
                    </a:cubicBezTo>
                    <a:cubicBezTo>
                      <a:pt x="118" y="767"/>
                      <a:pt x="122" y="762"/>
                      <a:pt x="121" y="751"/>
                    </a:cubicBezTo>
                    <a:cubicBezTo>
                      <a:pt x="120" y="745"/>
                      <a:pt x="117" y="737"/>
                      <a:pt x="117" y="730"/>
                    </a:cubicBezTo>
                    <a:cubicBezTo>
                      <a:pt x="118" y="717"/>
                      <a:pt x="122" y="703"/>
                      <a:pt x="124" y="690"/>
                    </a:cubicBezTo>
                    <a:cubicBezTo>
                      <a:pt x="125" y="675"/>
                      <a:pt x="129" y="661"/>
                      <a:pt x="130" y="649"/>
                    </a:cubicBezTo>
                    <a:cubicBezTo>
                      <a:pt x="130" y="643"/>
                      <a:pt x="128" y="638"/>
                      <a:pt x="128" y="633"/>
                    </a:cubicBezTo>
                    <a:cubicBezTo>
                      <a:pt x="128" y="626"/>
                      <a:pt x="131" y="618"/>
                      <a:pt x="132" y="611"/>
                    </a:cubicBezTo>
                    <a:cubicBezTo>
                      <a:pt x="133" y="595"/>
                      <a:pt x="135" y="581"/>
                      <a:pt x="135" y="569"/>
                    </a:cubicBezTo>
                    <a:cubicBezTo>
                      <a:pt x="135" y="562"/>
                      <a:pt x="133" y="556"/>
                      <a:pt x="136" y="549"/>
                    </a:cubicBezTo>
                    <a:cubicBezTo>
                      <a:pt x="133" y="542"/>
                      <a:pt x="135" y="535"/>
                      <a:pt x="136" y="525"/>
                    </a:cubicBezTo>
                    <a:cubicBezTo>
                      <a:pt x="136" y="523"/>
                      <a:pt x="135" y="521"/>
                      <a:pt x="135" y="519"/>
                    </a:cubicBezTo>
                    <a:cubicBezTo>
                      <a:pt x="136" y="510"/>
                      <a:pt x="139" y="505"/>
                      <a:pt x="135" y="498"/>
                    </a:cubicBezTo>
                    <a:cubicBezTo>
                      <a:pt x="142" y="492"/>
                      <a:pt x="136" y="482"/>
                      <a:pt x="137" y="474"/>
                    </a:cubicBezTo>
                    <a:cubicBezTo>
                      <a:pt x="138" y="463"/>
                      <a:pt x="143" y="452"/>
                      <a:pt x="146" y="441"/>
                    </a:cubicBezTo>
                    <a:cubicBezTo>
                      <a:pt x="150" y="423"/>
                      <a:pt x="150" y="403"/>
                      <a:pt x="152" y="384"/>
                    </a:cubicBezTo>
                    <a:cubicBezTo>
                      <a:pt x="154" y="364"/>
                      <a:pt x="167" y="301"/>
                      <a:pt x="171" y="283"/>
                    </a:cubicBezTo>
                    <a:cubicBezTo>
                      <a:pt x="176" y="299"/>
                      <a:pt x="202" y="337"/>
                      <a:pt x="207" y="352"/>
                    </a:cubicBezTo>
                    <a:cubicBezTo>
                      <a:pt x="212" y="367"/>
                      <a:pt x="219" y="382"/>
                      <a:pt x="224" y="397"/>
                    </a:cubicBezTo>
                    <a:cubicBezTo>
                      <a:pt x="230" y="413"/>
                      <a:pt x="235" y="428"/>
                      <a:pt x="241" y="443"/>
                    </a:cubicBezTo>
                    <a:cubicBezTo>
                      <a:pt x="249" y="468"/>
                      <a:pt x="256" y="494"/>
                      <a:pt x="268" y="514"/>
                    </a:cubicBezTo>
                    <a:cubicBezTo>
                      <a:pt x="271" y="549"/>
                      <a:pt x="283" y="586"/>
                      <a:pt x="290" y="619"/>
                    </a:cubicBezTo>
                    <a:cubicBezTo>
                      <a:pt x="292" y="631"/>
                      <a:pt x="293" y="644"/>
                      <a:pt x="296" y="655"/>
                    </a:cubicBezTo>
                    <a:cubicBezTo>
                      <a:pt x="299" y="664"/>
                      <a:pt x="306" y="674"/>
                      <a:pt x="310" y="684"/>
                    </a:cubicBezTo>
                    <a:cubicBezTo>
                      <a:pt x="312" y="689"/>
                      <a:pt x="314" y="694"/>
                      <a:pt x="316" y="699"/>
                    </a:cubicBezTo>
                    <a:cubicBezTo>
                      <a:pt x="321" y="709"/>
                      <a:pt x="323" y="716"/>
                      <a:pt x="331" y="720"/>
                    </a:cubicBezTo>
                    <a:cubicBezTo>
                      <a:pt x="336" y="723"/>
                      <a:pt x="336" y="731"/>
                      <a:pt x="341" y="732"/>
                    </a:cubicBezTo>
                    <a:cubicBezTo>
                      <a:pt x="340" y="739"/>
                      <a:pt x="341" y="749"/>
                      <a:pt x="340" y="757"/>
                    </a:cubicBezTo>
                    <a:cubicBezTo>
                      <a:pt x="374" y="750"/>
                      <a:pt x="410" y="763"/>
                      <a:pt x="445" y="764"/>
                    </a:cubicBezTo>
                    <a:cubicBezTo>
                      <a:pt x="449" y="762"/>
                      <a:pt x="451" y="758"/>
                      <a:pt x="455" y="755"/>
                    </a:cubicBezTo>
                    <a:cubicBezTo>
                      <a:pt x="453" y="749"/>
                      <a:pt x="454" y="742"/>
                      <a:pt x="453" y="736"/>
                    </a:cubicBezTo>
                    <a:close/>
                  </a:path>
                </a:pathLst>
              </a:custGeom>
              <a:solidFill>
                <a:srgbClr val="5C5C5C"/>
              </a:solidFill>
              <a:ln w="9525">
                <a:noFill/>
                <a:round/>
                <a:headEnd/>
                <a:tailEnd/>
              </a:ln>
            </p:spPr>
            <p:txBody>
              <a:bodyPr/>
              <a:lstStyle/>
              <a:p>
                <a:endParaRPr lang="fr-FR" dirty="0"/>
              </a:p>
            </p:txBody>
          </p:sp>
          <p:sp>
            <p:nvSpPr>
              <p:cNvPr id="13" name="Freeform 14">
                <a:extLst>
                  <a:ext uri="{FF2B5EF4-FFF2-40B4-BE49-F238E27FC236}">
                    <a16:creationId xmlns:a16="http://schemas.microsoft.com/office/drawing/2014/main" id="{4D0CF050-D4B3-4473-8909-1B321C95C555}"/>
                  </a:ext>
                </a:extLst>
              </p:cNvPr>
              <p:cNvSpPr>
                <a:spLocks noEditPoints="1"/>
              </p:cNvSpPr>
              <p:nvPr/>
            </p:nvSpPr>
            <p:spPr bwMode="gray">
              <a:xfrm>
                <a:off x="4796" y="2270"/>
                <a:ext cx="503" cy="561"/>
              </a:xfrm>
              <a:custGeom>
                <a:avLst/>
                <a:gdLst/>
                <a:ahLst/>
                <a:cxnLst>
                  <a:cxn ang="0">
                    <a:pos x="315" y="240"/>
                  </a:cxn>
                  <a:cxn ang="0">
                    <a:pos x="315" y="256"/>
                  </a:cxn>
                  <a:cxn ang="0">
                    <a:pos x="275" y="291"/>
                  </a:cxn>
                  <a:cxn ang="0">
                    <a:pos x="246" y="305"/>
                  </a:cxn>
                  <a:cxn ang="0">
                    <a:pos x="178" y="324"/>
                  </a:cxn>
                  <a:cxn ang="0">
                    <a:pos x="145" y="333"/>
                  </a:cxn>
                  <a:cxn ang="0">
                    <a:pos x="110" y="343"/>
                  </a:cxn>
                  <a:cxn ang="0">
                    <a:pos x="94" y="341"/>
                  </a:cxn>
                  <a:cxn ang="0">
                    <a:pos x="61" y="348"/>
                  </a:cxn>
                  <a:cxn ang="0">
                    <a:pos x="46" y="337"/>
                  </a:cxn>
                  <a:cxn ang="0">
                    <a:pos x="25" y="331"/>
                  </a:cxn>
                  <a:cxn ang="0">
                    <a:pos x="16" y="293"/>
                  </a:cxn>
                  <a:cxn ang="0">
                    <a:pos x="10" y="205"/>
                  </a:cxn>
                  <a:cxn ang="0">
                    <a:pos x="7" y="161"/>
                  </a:cxn>
                  <a:cxn ang="0">
                    <a:pos x="2" y="149"/>
                  </a:cxn>
                  <a:cxn ang="0">
                    <a:pos x="5" y="142"/>
                  </a:cxn>
                  <a:cxn ang="0">
                    <a:pos x="23" y="99"/>
                  </a:cxn>
                  <a:cxn ang="0">
                    <a:pos x="41" y="94"/>
                  </a:cxn>
                  <a:cxn ang="0">
                    <a:pos x="58" y="86"/>
                  </a:cxn>
                  <a:cxn ang="0">
                    <a:pos x="75" y="76"/>
                  </a:cxn>
                  <a:cxn ang="0">
                    <a:pos x="91" y="71"/>
                  </a:cxn>
                  <a:cxn ang="0">
                    <a:pos x="125" y="27"/>
                  </a:cxn>
                  <a:cxn ang="0">
                    <a:pos x="145" y="14"/>
                  </a:cxn>
                  <a:cxn ang="0">
                    <a:pos x="165" y="1"/>
                  </a:cxn>
                  <a:cxn ang="0">
                    <a:pos x="194" y="5"/>
                  </a:cxn>
                  <a:cxn ang="0">
                    <a:pos x="210" y="38"/>
                  </a:cxn>
                  <a:cxn ang="0">
                    <a:pos x="248" y="35"/>
                  </a:cxn>
                  <a:cxn ang="0">
                    <a:pos x="268" y="42"/>
                  </a:cxn>
                  <a:cxn ang="0">
                    <a:pos x="285" y="45"/>
                  </a:cxn>
                  <a:cxn ang="0">
                    <a:pos x="289" y="41"/>
                  </a:cxn>
                  <a:cxn ang="0">
                    <a:pos x="299" y="62"/>
                  </a:cxn>
                  <a:cxn ang="0">
                    <a:pos x="298" y="67"/>
                  </a:cxn>
                  <a:cxn ang="0">
                    <a:pos x="300" y="70"/>
                  </a:cxn>
                  <a:cxn ang="0">
                    <a:pos x="304" y="104"/>
                  </a:cxn>
                  <a:cxn ang="0">
                    <a:pos x="315" y="240"/>
                  </a:cxn>
                  <a:cxn ang="0">
                    <a:pos x="168" y="28"/>
                  </a:cxn>
                  <a:cxn ang="0">
                    <a:pos x="157" y="34"/>
                  </a:cxn>
                  <a:cxn ang="0">
                    <a:pos x="123" y="66"/>
                  </a:cxn>
                  <a:cxn ang="0">
                    <a:pos x="196" y="44"/>
                  </a:cxn>
                  <a:cxn ang="0">
                    <a:pos x="187" y="23"/>
                  </a:cxn>
                  <a:cxn ang="0">
                    <a:pos x="168" y="28"/>
                  </a:cxn>
                  <a:cxn ang="0">
                    <a:pos x="192" y="32"/>
                  </a:cxn>
                  <a:cxn ang="0">
                    <a:pos x="206" y="36"/>
                  </a:cxn>
                  <a:cxn ang="0">
                    <a:pos x="204" y="26"/>
                  </a:cxn>
                  <a:cxn ang="0">
                    <a:pos x="192" y="23"/>
                  </a:cxn>
                  <a:cxn ang="0">
                    <a:pos x="192" y="32"/>
                  </a:cxn>
                </a:cxnLst>
                <a:rect l="0" t="0" r="r" b="b"/>
                <a:pathLst>
                  <a:path w="315" h="351">
                    <a:moveTo>
                      <a:pt x="315" y="240"/>
                    </a:moveTo>
                    <a:cubicBezTo>
                      <a:pt x="315" y="245"/>
                      <a:pt x="315" y="251"/>
                      <a:pt x="315" y="256"/>
                    </a:cubicBezTo>
                    <a:cubicBezTo>
                      <a:pt x="312" y="275"/>
                      <a:pt x="293" y="282"/>
                      <a:pt x="275" y="291"/>
                    </a:cubicBezTo>
                    <a:cubicBezTo>
                      <a:pt x="265" y="296"/>
                      <a:pt x="255" y="302"/>
                      <a:pt x="246" y="305"/>
                    </a:cubicBezTo>
                    <a:cubicBezTo>
                      <a:pt x="227" y="311"/>
                      <a:pt x="201" y="317"/>
                      <a:pt x="178" y="324"/>
                    </a:cubicBezTo>
                    <a:cubicBezTo>
                      <a:pt x="167" y="327"/>
                      <a:pt x="156" y="330"/>
                      <a:pt x="145" y="333"/>
                    </a:cubicBezTo>
                    <a:cubicBezTo>
                      <a:pt x="132" y="337"/>
                      <a:pt x="120" y="343"/>
                      <a:pt x="110" y="343"/>
                    </a:cubicBezTo>
                    <a:cubicBezTo>
                      <a:pt x="103" y="343"/>
                      <a:pt x="97" y="341"/>
                      <a:pt x="94" y="341"/>
                    </a:cubicBezTo>
                    <a:cubicBezTo>
                      <a:pt x="83" y="342"/>
                      <a:pt x="74" y="351"/>
                      <a:pt x="61" y="348"/>
                    </a:cubicBezTo>
                    <a:cubicBezTo>
                      <a:pt x="56" y="347"/>
                      <a:pt x="52" y="340"/>
                      <a:pt x="46" y="337"/>
                    </a:cubicBezTo>
                    <a:cubicBezTo>
                      <a:pt x="37" y="334"/>
                      <a:pt x="28" y="334"/>
                      <a:pt x="25" y="331"/>
                    </a:cubicBezTo>
                    <a:cubicBezTo>
                      <a:pt x="19" y="325"/>
                      <a:pt x="17" y="307"/>
                      <a:pt x="16" y="293"/>
                    </a:cubicBezTo>
                    <a:cubicBezTo>
                      <a:pt x="14" y="258"/>
                      <a:pt x="12" y="235"/>
                      <a:pt x="10" y="205"/>
                    </a:cubicBezTo>
                    <a:cubicBezTo>
                      <a:pt x="9" y="191"/>
                      <a:pt x="11" y="172"/>
                      <a:pt x="7" y="161"/>
                    </a:cubicBezTo>
                    <a:cubicBezTo>
                      <a:pt x="6" y="156"/>
                      <a:pt x="2" y="156"/>
                      <a:pt x="2" y="149"/>
                    </a:cubicBezTo>
                    <a:cubicBezTo>
                      <a:pt x="0" y="144"/>
                      <a:pt x="5" y="146"/>
                      <a:pt x="5" y="142"/>
                    </a:cubicBezTo>
                    <a:cubicBezTo>
                      <a:pt x="5" y="123"/>
                      <a:pt x="8" y="106"/>
                      <a:pt x="23" y="99"/>
                    </a:cubicBezTo>
                    <a:cubicBezTo>
                      <a:pt x="28" y="97"/>
                      <a:pt x="35" y="97"/>
                      <a:pt x="41" y="94"/>
                    </a:cubicBezTo>
                    <a:cubicBezTo>
                      <a:pt x="46" y="92"/>
                      <a:pt x="52" y="89"/>
                      <a:pt x="58" y="86"/>
                    </a:cubicBezTo>
                    <a:cubicBezTo>
                      <a:pt x="64" y="83"/>
                      <a:pt x="69" y="78"/>
                      <a:pt x="75" y="76"/>
                    </a:cubicBezTo>
                    <a:cubicBezTo>
                      <a:pt x="80" y="74"/>
                      <a:pt x="86" y="74"/>
                      <a:pt x="91" y="71"/>
                    </a:cubicBezTo>
                    <a:cubicBezTo>
                      <a:pt x="110" y="62"/>
                      <a:pt x="114" y="43"/>
                      <a:pt x="125" y="27"/>
                    </a:cubicBezTo>
                    <a:cubicBezTo>
                      <a:pt x="132" y="24"/>
                      <a:pt x="138" y="19"/>
                      <a:pt x="145" y="14"/>
                    </a:cubicBezTo>
                    <a:cubicBezTo>
                      <a:pt x="151" y="9"/>
                      <a:pt x="158" y="2"/>
                      <a:pt x="165" y="1"/>
                    </a:cubicBezTo>
                    <a:cubicBezTo>
                      <a:pt x="174" y="0"/>
                      <a:pt x="182" y="6"/>
                      <a:pt x="194" y="5"/>
                    </a:cubicBezTo>
                    <a:cubicBezTo>
                      <a:pt x="202" y="13"/>
                      <a:pt x="210" y="21"/>
                      <a:pt x="210" y="38"/>
                    </a:cubicBezTo>
                    <a:cubicBezTo>
                      <a:pt x="224" y="38"/>
                      <a:pt x="236" y="34"/>
                      <a:pt x="248" y="35"/>
                    </a:cubicBezTo>
                    <a:cubicBezTo>
                      <a:pt x="255" y="36"/>
                      <a:pt x="261" y="40"/>
                      <a:pt x="268" y="42"/>
                    </a:cubicBezTo>
                    <a:cubicBezTo>
                      <a:pt x="274" y="43"/>
                      <a:pt x="280" y="43"/>
                      <a:pt x="285" y="45"/>
                    </a:cubicBezTo>
                    <a:cubicBezTo>
                      <a:pt x="288" y="45"/>
                      <a:pt x="285" y="40"/>
                      <a:pt x="289" y="41"/>
                    </a:cubicBezTo>
                    <a:cubicBezTo>
                      <a:pt x="289" y="49"/>
                      <a:pt x="297" y="53"/>
                      <a:pt x="299" y="62"/>
                    </a:cubicBezTo>
                    <a:cubicBezTo>
                      <a:pt x="300" y="63"/>
                      <a:pt x="298" y="65"/>
                      <a:pt x="298" y="67"/>
                    </a:cubicBezTo>
                    <a:cubicBezTo>
                      <a:pt x="298" y="68"/>
                      <a:pt x="300" y="69"/>
                      <a:pt x="300" y="70"/>
                    </a:cubicBezTo>
                    <a:cubicBezTo>
                      <a:pt x="302" y="81"/>
                      <a:pt x="303" y="92"/>
                      <a:pt x="304" y="104"/>
                    </a:cubicBezTo>
                    <a:cubicBezTo>
                      <a:pt x="307" y="148"/>
                      <a:pt x="311" y="198"/>
                      <a:pt x="315" y="240"/>
                    </a:cubicBezTo>
                    <a:close/>
                    <a:moveTo>
                      <a:pt x="168" y="28"/>
                    </a:moveTo>
                    <a:cubicBezTo>
                      <a:pt x="164" y="30"/>
                      <a:pt x="160" y="33"/>
                      <a:pt x="157" y="34"/>
                    </a:cubicBezTo>
                    <a:cubicBezTo>
                      <a:pt x="140" y="44"/>
                      <a:pt x="132" y="51"/>
                      <a:pt x="123" y="66"/>
                    </a:cubicBezTo>
                    <a:cubicBezTo>
                      <a:pt x="147" y="58"/>
                      <a:pt x="173" y="52"/>
                      <a:pt x="196" y="44"/>
                    </a:cubicBezTo>
                    <a:cubicBezTo>
                      <a:pt x="186" y="42"/>
                      <a:pt x="190" y="32"/>
                      <a:pt x="187" y="23"/>
                    </a:cubicBezTo>
                    <a:cubicBezTo>
                      <a:pt x="178" y="22"/>
                      <a:pt x="175" y="24"/>
                      <a:pt x="168" y="28"/>
                    </a:cubicBezTo>
                    <a:close/>
                    <a:moveTo>
                      <a:pt x="192" y="32"/>
                    </a:moveTo>
                    <a:cubicBezTo>
                      <a:pt x="196" y="34"/>
                      <a:pt x="203" y="37"/>
                      <a:pt x="206" y="36"/>
                    </a:cubicBezTo>
                    <a:cubicBezTo>
                      <a:pt x="206" y="32"/>
                      <a:pt x="205" y="29"/>
                      <a:pt x="204" y="26"/>
                    </a:cubicBezTo>
                    <a:cubicBezTo>
                      <a:pt x="201" y="25"/>
                      <a:pt x="196" y="24"/>
                      <a:pt x="192" y="23"/>
                    </a:cubicBezTo>
                    <a:cubicBezTo>
                      <a:pt x="192" y="26"/>
                      <a:pt x="192" y="29"/>
                      <a:pt x="192" y="32"/>
                    </a:cubicBezTo>
                    <a:close/>
                  </a:path>
                </a:pathLst>
              </a:custGeom>
              <a:solidFill>
                <a:schemeClr val="bg1">
                  <a:lumMod val="85000"/>
                </a:schemeClr>
              </a:solidFill>
              <a:ln w="9525">
                <a:noFill/>
                <a:round/>
                <a:headEnd/>
                <a:tailEnd/>
              </a:ln>
            </p:spPr>
            <p:txBody>
              <a:bodyPr/>
              <a:lstStyle/>
              <a:p>
                <a:endParaRPr lang="fr-FR" dirty="0"/>
              </a:p>
            </p:txBody>
          </p:sp>
          <p:sp>
            <p:nvSpPr>
              <p:cNvPr id="14" name="Freeform 15">
                <a:extLst>
                  <a:ext uri="{FF2B5EF4-FFF2-40B4-BE49-F238E27FC236}">
                    <a16:creationId xmlns:a16="http://schemas.microsoft.com/office/drawing/2014/main" id="{B924A738-9FA7-46BC-85FE-4621B3FA749D}"/>
                  </a:ext>
                </a:extLst>
              </p:cNvPr>
              <p:cNvSpPr>
                <a:spLocks/>
              </p:cNvSpPr>
              <p:nvPr/>
            </p:nvSpPr>
            <p:spPr bwMode="gray">
              <a:xfrm>
                <a:off x="4396" y="2144"/>
                <a:ext cx="40" cy="56"/>
              </a:xfrm>
              <a:custGeom>
                <a:avLst/>
                <a:gdLst/>
                <a:ahLst/>
                <a:cxnLst>
                  <a:cxn ang="0">
                    <a:pos x="25" y="16"/>
                  </a:cxn>
                  <a:cxn ang="0">
                    <a:pos x="1" y="0"/>
                  </a:cxn>
                  <a:cxn ang="0">
                    <a:pos x="0" y="20"/>
                  </a:cxn>
                  <a:cxn ang="0">
                    <a:pos x="22" y="35"/>
                  </a:cxn>
                  <a:cxn ang="0">
                    <a:pos x="25" y="16"/>
                  </a:cxn>
                </a:cxnLst>
                <a:rect l="0" t="0" r="r" b="b"/>
                <a:pathLst>
                  <a:path w="25" h="35">
                    <a:moveTo>
                      <a:pt x="25" y="16"/>
                    </a:moveTo>
                    <a:cubicBezTo>
                      <a:pt x="11" y="8"/>
                      <a:pt x="1" y="0"/>
                      <a:pt x="1" y="0"/>
                    </a:cubicBezTo>
                    <a:cubicBezTo>
                      <a:pt x="0" y="20"/>
                      <a:pt x="0" y="20"/>
                      <a:pt x="0" y="20"/>
                    </a:cubicBezTo>
                    <a:cubicBezTo>
                      <a:pt x="0" y="20"/>
                      <a:pt x="9" y="27"/>
                      <a:pt x="22" y="35"/>
                    </a:cubicBezTo>
                    <a:cubicBezTo>
                      <a:pt x="22" y="31"/>
                      <a:pt x="21" y="23"/>
                      <a:pt x="25" y="16"/>
                    </a:cubicBezTo>
                    <a:close/>
                  </a:path>
                </a:pathLst>
              </a:custGeom>
              <a:solidFill>
                <a:srgbClr val="333333"/>
              </a:solidFill>
              <a:ln w="9525">
                <a:noFill/>
                <a:round/>
                <a:headEnd/>
                <a:tailEnd/>
              </a:ln>
            </p:spPr>
            <p:txBody>
              <a:bodyPr/>
              <a:lstStyle/>
              <a:p>
                <a:endParaRPr lang="fr-FR" dirty="0"/>
              </a:p>
            </p:txBody>
          </p:sp>
          <p:sp>
            <p:nvSpPr>
              <p:cNvPr id="15" name="Freeform 16">
                <a:extLst>
                  <a:ext uri="{FF2B5EF4-FFF2-40B4-BE49-F238E27FC236}">
                    <a16:creationId xmlns:a16="http://schemas.microsoft.com/office/drawing/2014/main" id="{BB43EE4A-50AE-4B50-8FA1-4A6E211BFBC8}"/>
                  </a:ext>
                </a:extLst>
              </p:cNvPr>
              <p:cNvSpPr>
                <a:spLocks/>
              </p:cNvSpPr>
              <p:nvPr/>
            </p:nvSpPr>
            <p:spPr bwMode="gray">
              <a:xfrm>
                <a:off x="4580" y="2183"/>
                <a:ext cx="73" cy="40"/>
              </a:xfrm>
              <a:custGeom>
                <a:avLst/>
                <a:gdLst/>
                <a:ahLst/>
                <a:cxnLst>
                  <a:cxn ang="0">
                    <a:pos x="45" y="19"/>
                  </a:cxn>
                  <a:cxn ang="0">
                    <a:pos x="39" y="0"/>
                  </a:cxn>
                  <a:cxn ang="0">
                    <a:pos x="8" y="3"/>
                  </a:cxn>
                  <a:cxn ang="0">
                    <a:pos x="0" y="3"/>
                  </a:cxn>
                  <a:cxn ang="0">
                    <a:pos x="5" y="25"/>
                  </a:cxn>
                  <a:cxn ang="0">
                    <a:pos x="13" y="24"/>
                  </a:cxn>
                  <a:cxn ang="0">
                    <a:pos x="45" y="19"/>
                  </a:cxn>
                </a:cxnLst>
                <a:rect l="0" t="0" r="r" b="b"/>
                <a:pathLst>
                  <a:path w="45" h="25">
                    <a:moveTo>
                      <a:pt x="45" y="19"/>
                    </a:moveTo>
                    <a:cubicBezTo>
                      <a:pt x="39" y="0"/>
                      <a:pt x="39" y="0"/>
                      <a:pt x="39" y="0"/>
                    </a:cubicBezTo>
                    <a:cubicBezTo>
                      <a:pt x="36" y="0"/>
                      <a:pt x="18" y="2"/>
                      <a:pt x="8" y="3"/>
                    </a:cubicBezTo>
                    <a:cubicBezTo>
                      <a:pt x="6" y="3"/>
                      <a:pt x="3" y="3"/>
                      <a:pt x="0" y="3"/>
                    </a:cubicBezTo>
                    <a:cubicBezTo>
                      <a:pt x="2" y="6"/>
                      <a:pt x="6" y="16"/>
                      <a:pt x="5" y="25"/>
                    </a:cubicBezTo>
                    <a:cubicBezTo>
                      <a:pt x="9" y="24"/>
                      <a:pt x="12" y="24"/>
                      <a:pt x="13" y="24"/>
                    </a:cubicBezTo>
                    <a:cubicBezTo>
                      <a:pt x="20" y="23"/>
                      <a:pt x="45" y="19"/>
                      <a:pt x="45" y="19"/>
                    </a:cubicBezTo>
                    <a:close/>
                  </a:path>
                </a:pathLst>
              </a:custGeom>
              <a:solidFill>
                <a:srgbClr val="333333"/>
              </a:solidFill>
              <a:ln w="9525">
                <a:noFill/>
                <a:round/>
                <a:headEnd/>
                <a:tailEnd/>
              </a:ln>
            </p:spPr>
            <p:txBody>
              <a:bodyPr/>
              <a:lstStyle/>
              <a:p>
                <a:endParaRPr lang="fr-FR" dirty="0"/>
              </a:p>
            </p:txBody>
          </p:sp>
          <p:sp>
            <p:nvSpPr>
              <p:cNvPr id="16" name="Freeform 17">
                <a:extLst>
                  <a:ext uri="{FF2B5EF4-FFF2-40B4-BE49-F238E27FC236}">
                    <a16:creationId xmlns:a16="http://schemas.microsoft.com/office/drawing/2014/main" id="{7DE52223-43E3-47CC-AAD7-1E96EACB40FC}"/>
                  </a:ext>
                </a:extLst>
              </p:cNvPr>
              <p:cNvSpPr>
                <a:spLocks/>
              </p:cNvSpPr>
              <p:nvPr/>
            </p:nvSpPr>
            <p:spPr bwMode="gray">
              <a:xfrm>
                <a:off x="4436" y="2173"/>
                <a:ext cx="146" cy="54"/>
              </a:xfrm>
              <a:custGeom>
                <a:avLst/>
                <a:gdLst/>
                <a:ahLst/>
                <a:cxnLst>
                  <a:cxn ang="0">
                    <a:pos x="92" y="31"/>
                  </a:cxn>
                  <a:cxn ang="0">
                    <a:pos x="87" y="9"/>
                  </a:cxn>
                  <a:cxn ang="0">
                    <a:pos x="54" y="10"/>
                  </a:cxn>
                  <a:cxn ang="0">
                    <a:pos x="54" y="9"/>
                  </a:cxn>
                  <a:cxn ang="0">
                    <a:pos x="28" y="7"/>
                  </a:cxn>
                  <a:cxn ang="0">
                    <a:pos x="28" y="8"/>
                  </a:cxn>
                  <a:cxn ang="0">
                    <a:pos x="4" y="0"/>
                  </a:cxn>
                  <a:cxn ang="0">
                    <a:pos x="0" y="18"/>
                  </a:cxn>
                  <a:cxn ang="0">
                    <a:pos x="23" y="27"/>
                  </a:cxn>
                  <a:cxn ang="0">
                    <a:pos x="24" y="29"/>
                  </a:cxn>
                  <a:cxn ang="0">
                    <a:pos x="53" y="33"/>
                  </a:cxn>
                  <a:cxn ang="0">
                    <a:pos x="53" y="32"/>
                  </a:cxn>
                  <a:cxn ang="0">
                    <a:pos x="92" y="31"/>
                  </a:cxn>
                </a:cxnLst>
                <a:rect l="0" t="0" r="r" b="b"/>
                <a:pathLst>
                  <a:path w="92" h="34">
                    <a:moveTo>
                      <a:pt x="92" y="31"/>
                    </a:moveTo>
                    <a:cubicBezTo>
                      <a:pt x="91" y="26"/>
                      <a:pt x="88" y="13"/>
                      <a:pt x="87" y="9"/>
                    </a:cubicBezTo>
                    <a:cubicBezTo>
                      <a:pt x="79" y="10"/>
                      <a:pt x="69" y="10"/>
                      <a:pt x="54" y="10"/>
                    </a:cubicBezTo>
                    <a:cubicBezTo>
                      <a:pt x="54" y="10"/>
                      <a:pt x="54" y="10"/>
                      <a:pt x="54" y="9"/>
                    </a:cubicBezTo>
                    <a:cubicBezTo>
                      <a:pt x="54" y="9"/>
                      <a:pt x="32" y="7"/>
                      <a:pt x="28" y="7"/>
                    </a:cubicBezTo>
                    <a:cubicBezTo>
                      <a:pt x="28" y="7"/>
                      <a:pt x="28" y="8"/>
                      <a:pt x="28" y="8"/>
                    </a:cubicBezTo>
                    <a:cubicBezTo>
                      <a:pt x="19" y="6"/>
                      <a:pt x="11" y="3"/>
                      <a:pt x="4" y="0"/>
                    </a:cubicBezTo>
                    <a:cubicBezTo>
                      <a:pt x="3" y="4"/>
                      <a:pt x="0" y="15"/>
                      <a:pt x="0" y="18"/>
                    </a:cubicBezTo>
                    <a:cubicBezTo>
                      <a:pt x="7" y="22"/>
                      <a:pt x="16" y="25"/>
                      <a:pt x="23" y="27"/>
                    </a:cubicBezTo>
                    <a:cubicBezTo>
                      <a:pt x="23" y="28"/>
                      <a:pt x="23" y="29"/>
                      <a:pt x="24" y="29"/>
                    </a:cubicBezTo>
                    <a:cubicBezTo>
                      <a:pt x="24" y="29"/>
                      <a:pt x="40" y="34"/>
                      <a:pt x="53" y="33"/>
                    </a:cubicBezTo>
                    <a:cubicBezTo>
                      <a:pt x="53" y="33"/>
                      <a:pt x="53" y="32"/>
                      <a:pt x="53" y="32"/>
                    </a:cubicBezTo>
                    <a:cubicBezTo>
                      <a:pt x="64" y="32"/>
                      <a:pt x="80" y="31"/>
                      <a:pt x="92" y="31"/>
                    </a:cubicBezTo>
                    <a:close/>
                  </a:path>
                </a:pathLst>
              </a:custGeom>
              <a:solidFill>
                <a:srgbClr val="333333"/>
              </a:solidFill>
              <a:ln w="9525">
                <a:noFill/>
                <a:round/>
                <a:headEnd/>
                <a:tailEnd/>
              </a:ln>
            </p:spPr>
            <p:txBody>
              <a:bodyPr/>
              <a:lstStyle/>
              <a:p>
                <a:endParaRPr lang="fr-FR" dirty="0"/>
              </a:p>
            </p:txBody>
          </p:sp>
          <p:sp>
            <p:nvSpPr>
              <p:cNvPr id="17" name="Freeform 18">
                <a:extLst>
                  <a:ext uri="{FF2B5EF4-FFF2-40B4-BE49-F238E27FC236}">
                    <a16:creationId xmlns:a16="http://schemas.microsoft.com/office/drawing/2014/main" id="{EA1DC718-214B-46F0-AED0-7677A82B2319}"/>
                  </a:ext>
                </a:extLst>
              </p:cNvPr>
              <p:cNvSpPr>
                <a:spLocks/>
              </p:cNvSpPr>
              <p:nvPr/>
            </p:nvSpPr>
            <p:spPr bwMode="gray">
              <a:xfrm>
                <a:off x="4304" y="2129"/>
                <a:ext cx="123" cy="148"/>
              </a:xfrm>
              <a:custGeom>
                <a:avLst/>
                <a:gdLst/>
                <a:ahLst/>
                <a:cxnLst>
                  <a:cxn ang="0">
                    <a:pos x="72" y="56"/>
                  </a:cxn>
                  <a:cxn ang="0">
                    <a:pos x="58" y="56"/>
                  </a:cxn>
                  <a:cxn ang="0">
                    <a:pos x="56" y="62"/>
                  </a:cxn>
                  <a:cxn ang="0">
                    <a:pos x="34" y="93"/>
                  </a:cxn>
                  <a:cxn ang="0">
                    <a:pos x="1" y="46"/>
                  </a:cxn>
                  <a:cxn ang="0">
                    <a:pos x="1" y="21"/>
                  </a:cxn>
                  <a:cxn ang="0">
                    <a:pos x="12" y="6"/>
                  </a:cxn>
                  <a:cxn ang="0">
                    <a:pos x="35" y="1"/>
                  </a:cxn>
                  <a:cxn ang="0">
                    <a:pos x="58" y="24"/>
                  </a:cxn>
                  <a:cxn ang="0">
                    <a:pos x="60" y="31"/>
                  </a:cxn>
                  <a:cxn ang="0">
                    <a:pos x="72" y="56"/>
                  </a:cxn>
                </a:cxnLst>
                <a:rect l="0" t="0" r="r" b="b"/>
                <a:pathLst>
                  <a:path w="77" h="93">
                    <a:moveTo>
                      <a:pt x="72" y="56"/>
                    </a:moveTo>
                    <a:cubicBezTo>
                      <a:pt x="67" y="57"/>
                      <a:pt x="63" y="60"/>
                      <a:pt x="58" y="56"/>
                    </a:cubicBezTo>
                    <a:cubicBezTo>
                      <a:pt x="55" y="56"/>
                      <a:pt x="59" y="60"/>
                      <a:pt x="56" y="62"/>
                    </a:cubicBezTo>
                    <a:cubicBezTo>
                      <a:pt x="48" y="72"/>
                      <a:pt x="43" y="85"/>
                      <a:pt x="34" y="93"/>
                    </a:cubicBezTo>
                    <a:cubicBezTo>
                      <a:pt x="24" y="78"/>
                      <a:pt x="9" y="64"/>
                      <a:pt x="1" y="46"/>
                    </a:cubicBezTo>
                    <a:cubicBezTo>
                      <a:pt x="3" y="37"/>
                      <a:pt x="0" y="28"/>
                      <a:pt x="1" y="21"/>
                    </a:cubicBezTo>
                    <a:cubicBezTo>
                      <a:pt x="3" y="14"/>
                      <a:pt x="9" y="10"/>
                      <a:pt x="12" y="6"/>
                    </a:cubicBezTo>
                    <a:cubicBezTo>
                      <a:pt x="21" y="6"/>
                      <a:pt x="28" y="0"/>
                      <a:pt x="35" y="1"/>
                    </a:cubicBezTo>
                    <a:cubicBezTo>
                      <a:pt x="44" y="3"/>
                      <a:pt x="51" y="19"/>
                      <a:pt x="58" y="24"/>
                    </a:cubicBezTo>
                    <a:cubicBezTo>
                      <a:pt x="58" y="27"/>
                      <a:pt x="59" y="29"/>
                      <a:pt x="60" y="31"/>
                    </a:cubicBezTo>
                    <a:cubicBezTo>
                      <a:pt x="66" y="38"/>
                      <a:pt x="77" y="41"/>
                      <a:pt x="72" y="56"/>
                    </a:cubicBezTo>
                    <a:close/>
                  </a:path>
                </a:pathLst>
              </a:custGeom>
              <a:solidFill>
                <a:srgbClr val="000000"/>
              </a:solidFill>
              <a:ln w="9525">
                <a:noFill/>
                <a:round/>
                <a:headEnd/>
                <a:tailEnd/>
              </a:ln>
            </p:spPr>
            <p:txBody>
              <a:bodyPr/>
              <a:lstStyle/>
              <a:p>
                <a:endParaRPr lang="fr-FR" dirty="0"/>
              </a:p>
            </p:txBody>
          </p:sp>
          <p:sp>
            <p:nvSpPr>
              <p:cNvPr id="18" name="Freeform 19">
                <a:extLst>
                  <a:ext uri="{FF2B5EF4-FFF2-40B4-BE49-F238E27FC236}">
                    <a16:creationId xmlns:a16="http://schemas.microsoft.com/office/drawing/2014/main" id="{7E1C3F64-8DD2-4469-9C9C-F1D1C30002B4}"/>
                  </a:ext>
                </a:extLst>
              </p:cNvPr>
              <p:cNvSpPr>
                <a:spLocks/>
              </p:cNvSpPr>
              <p:nvPr/>
            </p:nvSpPr>
            <p:spPr bwMode="gray">
              <a:xfrm>
                <a:off x="4940" y="2240"/>
                <a:ext cx="174" cy="124"/>
              </a:xfrm>
              <a:custGeom>
                <a:avLst/>
                <a:gdLst/>
                <a:ahLst/>
                <a:cxnLst>
                  <a:cxn ang="0">
                    <a:pos x="109" y="28"/>
                  </a:cxn>
                  <a:cxn ang="0">
                    <a:pos x="109" y="29"/>
                  </a:cxn>
                  <a:cxn ang="0">
                    <a:pos x="91" y="48"/>
                  </a:cxn>
                  <a:cxn ang="0">
                    <a:pos x="86" y="57"/>
                  </a:cxn>
                  <a:cxn ang="0">
                    <a:pos x="68" y="62"/>
                  </a:cxn>
                  <a:cxn ang="0">
                    <a:pos x="63" y="70"/>
                  </a:cxn>
                  <a:cxn ang="0">
                    <a:pos x="43" y="75"/>
                  </a:cxn>
                  <a:cxn ang="0">
                    <a:pos x="41" y="75"/>
                  </a:cxn>
                  <a:cxn ang="0">
                    <a:pos x="40" y="75"/>
                  </a:cxn>
                  <a:cxn ang="0">
                    <a:pos x="46" y="62"/>
                  </a:cxn>
                  <a:cxn ang="0">
                    <a:pos x="39" y="48"/>
                  </a:cxn>
                  <a:cxn ang="0">
                    <a:pos x="13" y="72"/>
                  </a:cxn>
                  <a:cxn ang="0">
                    <a:pos x="4" y="27"/>
                  </a:cxn>
                  <a:cxn ang="0">
                    <a:pos x="23" y="7"/>
                  </a:cxn>
                  <a:cxn ang="0">
                    <a:pos x="41" y="3"/>
                  </a:cxn>
                  <a:cxn ang="0">
                    <a:pos x="99" y="2"/>
                  </a:cxn>
                  <a:cxn ang="0">
                    <a:pos x="109" y="28"/>
                  </a:cxn>
                </a:cxnLst>
                <a:rect l="0" t="0" r="r" b="b"/>
                <a:pathLst>
                  <a:path w="109" h="78">
                    <a:moveTo>
                      <a:pt x="109" y="28"/>
                    </a:moveTo>
                    <a:cubicBezTo>
                      <a:pt x="109" y="28"/>
                      <a:pt x="109" y="29"/>
                      <a:pt x="109" y="29"/>
                    </a:cubicBezTo>
                    <a:cubicBezTo>
                      <a:pt x="108" y="40"/>
                      <a:pt x="100" y="45"/>
                      <a:pt x="91" y="48"/>
                    </a:cubicBezTo>
                    <a:cubicBezTo>
                      <a:pt x="89" y="50"/>
                      <a:pt x="89" y="55"/>
                      <a:pt x="86" y="57"/>
                    </a:cubicBezTo>
                    <a:cubicBezTo>
                      <a:pt x="79" y="57"/>
                      <a:pt x="73" y="59"/>
                      <a:pt x="68" y="62"/>
                    </a:cubicBezTo>
                    <a:cubicBezTo>
                      <a:pt x="65" y="63"/>
                      <a:pt x="66" y="69"/>
                      <a:pt x="63" y="70"/>
                    </a:cubicBezTo>
                    <a:cubicBezTo>
                      <a:pt x="57" y="76"/>
                      <a:pt x="48" y="70"/>
                      <a:pt x="43" y="75"/>
                    </a:cubicBezTo>
                    <a:cubicBezTo>
                      <a:pt x="42" y="75"/>
                      <a:pt x="42" y="75"/>
                      <a:pt x="41" y="75"/>
                    </a:cubicBezTo>
                    <a:cubicBezTo>
                      <a:pt x="41" y="75"/>
                      <a:pt x="40" y="75"/>
                      <a:pt x="40" y="75"/>
                    </a:cubicBezTo>
                    <a:cubicBezTo>
                      <a:pt x="42" y="70"/>
                      <a:pt x="44" y="64"/>
                      <a:pt x="46" y="62"/>
                    </a:cubicBezTo>
                    <a:cubicBezTo>
                      <a:pt x="49" y="55"/>
                      <a:pt x="45" y="49"/>
                      <a:pt x="39" y="48"/>
                    </a:cubicBezTo>
                    <a:cubicBezTo>
                      <a:pt x="28" y="49"/>
                      <a:pt x="29" y="78"/>
                      <a:pt x="13" y="72"/>
                    </a:cubicBezTo>
                    <a:cubicBezTo>
                      <a:pt x="0" y="65"/>
                      <a:pt x="3" y="46"/>
                      <a:pt x="4" y="27"/>
                    </a:cubicBezTo>
                    <a:cubicBezTo>
                      <a:pt x="10" y="20"/>
                      <a:pt x="13" y="11"/>
                      <a:pt x="23" y="7"/>
                    </a:cubicBezTo>
                    <a:cubicBezTo>
                      <a:pt x="27" y="5"/>
                      <a:pt x="35" y="4"/>
                      <a:pt x="41" y="3"/>
                    </a:cubicBezTo>
                    <a:cubicBezTo>
                      <a:pt x="60" y="0"/>
                      <a:pt x="79" y="0"/>
                      <a:pt x="99" y="2"/>
                    </a:cubicBezTo>
                    <a:cubicBezTo>
                      <a:pt x="104" y="9"/>
                      <a:pt x="106" y="20"/>
                      <a:pt x="109" y="28"/>
                    </a:cubicBezTo>
                    <a:close/>
                  </a:path>
                </a:pathLst>
              </a:custGeom>
              <a:solidFill>
                <a:srgbClr val="000000"/>
              </a:solidFill>
              <a:ln w="9525">
                <a:noFill/>
                <a:round/>
                <a:headEnd/>
                <a:tailEnd/>
              </a:ln>
            </p:spPr>
            <p:txBody>
              <a:bodyPr/>
              <a:lstStyle/>
              <a:p>
                <a:endParaRPr lang="fr-FR" dirty="0"/>
              </a:p>
            </p:txBody>
          </p:sp>
          <p:sp>
            <p:nvSpPr>
              <p:cNvPr id="19" name="Freeform 20">
                <a:extLst>
                  <a:ext uri="{FF2B5EF4-FFF2-40B4-BE49-F238E27FC236}">
                    <a16:creationId xmlns:a16="http://schemas.microsoft.com/office/drawing/2014/main" id="{7B06D2E7-76EE-4F2D-A2C7-D62E8B57151E}"/>
                  </a:ext>
                </a:extLst>
              </p:cNvPr>
              <p:cNvSpPr>
                <a:spLocks/>
              </p:cNvSpPr>
              <p:nvPr/>
            </p:nvSpPr>
            <p:spPr bwMode="gray">
              <a:xfrm>
                <a:off x="4368" y="1415"/>
                <a:ext cx="294" cy="771"/>
              </a:xfrm>
              <a:custGeom>
                <a:avLst/>
                <a:gdLst/>
                <a:ahLst/>
                <a:cxnLst>
                  <a:cxn ang="0">
                    <a:pos x="158" y="101"/>
                  </a:cxn>
                  <a:cxn ang="0">
                    <a:pos x="183" y="1"/>
                  </a:cxn>
                  <a:cxn ang="0">
                    <a:pos x="184" y="1"/>
                  </a:cxn>
                  <a:cxn ang="0">
                    <a:pos x="184" y="0"/>
                  </a:cxn>
                  <a:cxn ang="0">
                    <a:pos x="145" y="14"/>
                  </a:cxn>
                  <a:cxn ang="0">
                    <a:pos x="108" y="30"/>
                  </a:cxn>
                  <a:cxn ang="0">
                    <a:pos x="108" y="30"/>
                  </a:cxn>
                  <a:cxn ang="0">
                    <a:pos x="75" y="41"/>
                  </a:cxn>
                  <a:cxn ang="0">
                    <a:pos x="56" y="77"/>
                  </a:cxn>
                  <a:cxn ang="0">
                    <a:pos x="50" y="113"/>
                  </a:cxn>
                  <a:cxn ang="0">
                    <a:pos x="43" y="149"/>
                  </a:cxn>
                  <a:cxn ang="0">
                    <a:pos x="27" y="218"/>
                  </a:cxn>
                  <a:cxn ang="0">
                    <a:pos x="23" y="269"/>
                  </a:cxn>
                  <a:cxn ang="0">
                    <a:pos x="19" y="320"/>
                  </a:cxn>
                  <a:cxn ang="0">
                    <a:pos x="2" y="374"/>
                  </a:cxn>
                  <a:cxn ang="0">
                    <a:pos x="2" y="391"/>
                  </a:cxn>
                  <a:cxn ang="0">
                    <a:pos x="4" y="441"/>
                  </a:cxn>
                  <a:cxn ang="0">
                    <a:pos x="16" y="452"/>
                  </a:cxn>
                  <a:cxn ang="0">
                    <a:pos x="22" y="457"/>
                  </a:cxn>
                  <a:cxn ang="0">
                    <a:pos x="86" y="483"/>
                  </a:cxn>
                  <a:cxn ang="0">
                    <a:pos x="89" y="483"/>
                  </a:cxn>
                  <a:cxn ang="0">
                    <a:pos x="172" y="479"/>
                  </a:cxn>
                  <a:cxn ang="0">
                    <a:pos x="170" y="461"/>
                  </a:cxn>
                  <a:cxn ang="0">
                    <a:pos x="184" y="461"/>
                  </a:cxn>
                  <a:cxn ang="0">
                    <a:pos x="184" y="460"/>
                  </a:cxn>
                  <a:cxn ang="0">
                    <a:pos x="158" y="344"/>
                  </a:cxn>
                  <a:cxn ang="0">
                    <a:pos x="132" y="165"/>
                  </a:cxn>
                  <a:cxn ang="0">
                    <a:pos x="158" y="101"/>
                  </a:cxn>
                </a:cxnLst>
                <a:rect l="0" t="0" r="r" b="b"/>
                <a:pathLst>
                  <a:path w="184" h="483">
                    <a:moveTo>
                      <a:pt x="158" y="101"/>
                    </a:moveTo>
                    <a:cubicBezTo>
                      <a:pt x="170" y="70"/>
                      <a:pt x="181" y="40"/>
                      <a:pt x="183" y="1"/>
                    </a:cubicBezTo>
                    <a:cubicBezTo>
                      <a:pt x="184" y="1"/>
                      <a:pt x="184" y="1"/>
                      <a:pt x="184" y="1"/>
                    </a:cubicBezTo>
                    <a:cubicBezTo>
                      <a:pt x="184" y="0"/>
                      <a:pt x="184" y="0"/>
                      <a:pt x="184" y="0"/>
                    </a:cubicBezTo>
                    <a:cubicBezTo>
                      <a:pt x="170" y="4"/>
                      <a:pt x="157" y="9"/>
                      <a:pt x="145" y="14"/>
                    </a:cubicBezTo>
                    <a:cubicBezTo>
                      <a:pt x="108" y="30"/>
                      <a:pt x="108" y="30"/>
                      <a:pt x="108" y="30"/>
                    </a:cubicBezTo>
                    <a:cubicBezTo>
                      <a:pt x="108" y="30"/>
                      <a:pt x="108" y="30"/>
                      <a:pt x="108" y="30"/>
                    </a:cubicBezTo>
                    <a:cubicBezTo>
                      <a:pt x="96" y="34"/>
                      <a:pt x="87" y="39"/>
                      <a:pt x="75" y="41"/>
                    </a:cubicBezTo>
                    <a:cubicBezTo>
                      <a:pt x="71" y="53"/>
                      <a:pt x="61" y="64"/>
                      <a:pt x="56" y="77"/>
                    </a:cubicBezTo>
                    <a:cubicBezTo>
                      <a:pt x="53" y="88"/>
                      <a:pt x="52" y="101"/>
                      <a:pt x="50" y="113"/>
                    </a:cubicBezTo>
                    <a:cubicBezTo>
                      <a:pt x="47" y="124"/>
                      <a:pt x="45" y="137"/>
                      <a:pt x="43" y="149"/>
                    </a:cubicBezTo>
                    <a:cubicBezTo>
                      <a:pt x="39" y="172"/>
                      <a:pt x="30" y="195"/>
                      <a:pt x="27" y="218"/>
                    </a:cubicBezTo>
                    <a:cubicBezTo>
                      <a:pt x="24" y="234"/>
                      <a:pt x="24" y="252"/>
                      <a:pt x="23" y="269"/>
                    </a:cubicBezTo>
                    <a:cubicBezTo>
                      <a:pt x="21" y="286"/>
                      <a:pt x="21" y="304"/>
                      <a:pt x="19" y="320"/>
                    </a:cubicBezTo>
                    <a:cubicBezTo>
                      <a:pt x="17" y="338"/>
                      <a:pt x="5" y="360"/>
                      <a:pt x="2" y="374"/>
                    </a:cubicBezTo>
                    <a:cubicBezTo>
                      <a:pt x="2" y="391"/>
                      <a:pt x="2" y="391"/>
                      <a:pt x="2" y="391"/>
                    </a:cubicBezTo>
                    <a:cubicBezTo>
                      <a:pt x="5" y="408"/>
                      <a:pt x="0" y="426"/>
                      <a:pt x="4" y="441"/>
                    </a:cubicBezTo>
                    <a:cubicBezTo>
                      <a:pt x="6" y="451"/>
                      <a:pt x="14" y="444"/>
                      <a:pt x="16" y="452"/>
                    </a:cubicBezTo>
                    <a:cubicBezTo>
                      <a:pt x="16" y="452"/>
                      <a:pt x="22" y="457"/>
                      <a:pt x="22" y="457"/>
                    </a:cubicBezTo>
                    <a:cubicBezTo>
                      <a:pt x="41" y="468"/>
                      <a:pt x="57" y="482"/>
                      <a:pt x="86" y="483"/>
                    </a:cubicBezTo>
                    <a:cubicBezTo>
                      <a:pt x="89" y="483"/>
                      <a:pt x="89" y="483"/>
                      <a:pt x="89" y="483"/>
                    </a:cubicBezTo>
                    <a:cubicBezTo>
                      <a:pt x="114" y="477"/>
                      <a:pt x="146" y="483"/>
                      <a:pt x="172" y="479"/>
                    </a:cubicBezTo>
                    <a:cubicBezTo>
                      <a:pt x="172" y="472"/>
                      <a:pt x="171" y="466"/>
                      <a:pt x="170" y="461"/>
                    </a:cubicBezTo>
                    <a:cubicBezTo>
                      <a:pt x="176" y="460"/>
                      <a:pt x="178" y="462"/>
                      <a:pt x="184" y="461"/>
                    </a:cubicBezTo>
                    <a:cubicBezTo>
                      <a:pt x="184" y="460"/>
                      <a:pt x="184" y="460"/>
                      <a:pt x="184" y="460"/>
                    </a:cubicBezTo>
                    <a:cubicBezTo>
                      <a:pt x="175" y="421"/>
                      <a:pt x="167" y="383"/>
                      <a:pt x="158" y="344"/>
                    </a:cubicBezTo>
                    <a:cubicBezTo>
                      <a:pt x="146" y="289"/>
                      <a:pt x="131" y="234"/>
                      <a:pt x="132" y="165"/>
                    </a:cubicBezTo>
                    <a:cubicBezTo>
                      <a:pt x="142" y="144"/>
                      <a:pt x="150" y="122"/>
                      <a:pt x="158" y="101"/>
                    </a:cubicBezTo>
                    <a:close/>
                  </a:path>
                </a:pathLst>
              </a:custGeom>
              <a:solidFill>
                <a:srgbClr val="FFFFFF"/>
              </a:solidFill>
              <a:ln w="9525">
                <a:noFill/>
                <a:round/>
                <a:headEnd/>
                <a:tailEnd/>
              </a:ln>
            </p:spPr>
            <p:txBody>
              <a:bodyPr/>
              <a:lstStyle/>
              <a:p>
                <a:endParaRPr lang="fr-FR" dirty="0"/>
              </a:p>
            </p:txBody>
          </p:sp>
          <p:sp>
            <p:nvSpPr>
              <p:cNvPr id="20" name="Freeform 21">
                <a:extLst>
                  <a:ext uri="{FF2B5EF4-FFF2-40B4-BE49-F238E27FC236}">
                    <a16:creationId xmlns:a16="http://schemas.microsoft.com/office/drawing/2014/main" id="{35670C8E-CBD2-4D29-8B1D-9A0652830BD9}"/>
                  </a:ext>
                </a:extLst>
              </p:cNvPr>
              <p:cNvSpPr>
                <a:spLocks/>
              </p:cNvSpPr>
              <p:nvPr/>
            </p:nvSpPr>
            <p:spPr bwMode="gray">
              <a:xfrm>
                <a:off x="4427" y="1461"/>
                <a:ext cx="146" cy="624"/>
              </a:xfrm>
              <a:custGeom>
                <a:avLst/>
                <a:gdLst/>
                <a:ahLst/>
                <a:cxnLst>
                  <a:cxn ang="0">
                    <a:pos x="71" y="31"/>
                  </a:cxn>
                  <a:cxn ang="0">
                    <a:pos x="91" y="3"/>
                  </a:cxn>
                  <a:cxn ang="0">
                    <a:pos x="85" y="1"/>
                  </a:cxn>
                  <a:cxn ang="0">
                    <a:pos x="75" y="0"/>
                  </a:cxn>
                  <a:cxn ang="0">
                    <a:pos x="51" y="10"/>
                  </a:cxn>
                  <a:cxn ang="0">
                    <a:pos x="54" y="40"/>
                  </a:cxn>
                  <a:cxn ang="0">
                    <a:pos x="45" y="71"/>
                  </a:cxn>
                  <a:cxn ang="0">
                    <a:pos x="38" y="104"/>
                  </a:cxn>
                  <a:cxn ang="0">
                    <a:pos x="19" y="202"/>
                  </a:cxn>
                  <a:cxn ang="0">
                    <a:pos x="18" y="202"/>
                  </a:cxn>
                  <a:cxn ang="0">
                    <a:pos x="12" y="241"/>
                  </a:cxn>
                  <a:cxn ang="0">
                    <a:pos x="0" y="354"/>
                  </a:cxn>
                  <a:cxn ang="0">
                    <a:pos x="0" y="357"/>
                  </a:cxn>
                  <a:cxn ang="0">
                    <a:pos x="21" y="391"/>
                  </a:cxn>
                  <a:cxn ang="0">
                    <a:pos x="52" y="355"/>
                  </a:cxn>
                  <a:cxn ang="0">
                    <a:pos x="59" y="259"/>
                  </a:cxn>
                  <a:cxn ang="0">
                    <a:pos x="67" y="201"/>
                  </a:cxn>
                  <a:cxn ang="0">
                    <a:pos x="77" y="89"/>
                  </a:cxn>
                  <a:cxn ang="0">
                    <a:pos x="80" y="60"/>
                  </a:cxn>
                  <a:cxn ang="0">
                    <a:pos x="71" y="31"/>
                  </a:cxn>
                </a:cxnLst>
                <a:rect l="0" t="0" r="r" b="b"/>
                <a:pathLst>
                  <a:path w="91" h="391">
                    <a:moveTo>
                      <a:pt x="71" y="31"/>
                    </a:moveTo>
                    <a:cubicBezTo>
                      <a:pt x="73" y="22"/>
                      <a:pt x="91" y="12"/>
                      <a:pt x="91" y="3"/>
                    </a:cubicBezTo>
                    <a:cubicBezTo>
                      <a:pt x="87" y="6"/>
                      <a:pt x="88" y="3"/>
                      <a:pt x="85" y="1"/>
                    </a:cubicBezTo>
                    <a:cubicBezTo>
                      <a:pt x="80" y="2"/>
                      <a:pt x="77" y="1"/>
                      <a:pt x="75" y="0"/>
                    </a:cubicBezTo>
                    <a:cubicBezTo>
                      <a:pt x="71" y="2"/>
                      <a:pt x="57" y="4"/>
                      <a:pt x="51" y="10"/>
                    </a:cubicBezTo>
                    <a:cubicBezTo>
                      <a:pt x="54" y="20"/>
                      <a:pt x="50" y="33"/>
                      <a:pt x="54" y="40"/>
                    </a:cubicBezTo>
                    <a:cubicBezTo>
                      <a:pt x="45" y="47"/>
                      <a:pt x="47" y="58"/>
                      <a:pt x="45" y="71"/>
                    </a:cubicBezTo>
                    <a:cubicBezTo>
                      <a:pt x="44" y="82"/>
                      <a:pt x="40" y="93"/>
                      <a:pt x="38" y="104"/>
                    </a:cubicBezTo>
                    <a:cubicBezTo>
                      <a:pt x="30" y="135"/>
                      <a:pt x="23" y="167"/>
                      <a:pt x="19" y="202"/>
                    </a:cubicBezTo>
                    <a:cubicBezTo>
                      <a:pt x="19" y="202"/>
                      <a:pt x="18" y="202"/>
                      <a:pt x="18" y="202"/>
                    </a:cubicBezTo>
                    <a:cubicBezTo>
                      <a:pt x="18" y="207"/>
                      <a:pt x="12" y="241"/>
                      <a:pt x="12" y="241"/>
                    </a:cubicBezTo>
                    <a:cubicBezTo>
                      <a:pt x="7" y="278"/>
                      <a:pt x="4" y="316"/>
                      <a:pt x="0" y="354"/>
                    </a:cubicBezTo>
                    <a:cubicBezTo>
                      <a:pt x="0" y="357"/>
                      <a:pt x="0" y="357"/>
                      <a:pt x="0" y="357"/>
                    </a:cubicBezTo>
                    <a:cubicBezTo>
                      <a:pt x="8" y="368"/>
                      <a:pt x="14" y="380"/>
                      <a:pt x="21" y="391"/>
                    </a:cubicBezTo>
                    <a:cubicBezTo>
                      <a:pt x="32" y="379"/>
                      <a:pt x="42" y="367"/>
                      <a:pt x="52" y="355"/>
                    </a:cubicBezTo>
                    <a:cubicBezTo>
                      <a:pt x="56" y="324"/>
                      <a:pt x="56" y="292"/>
                      <a:pt x="59" y="259"/>
                    </a:cubicBezTo>
                    <a:cubicBezTo>
                      <a:pt x="61" y="240"/>
                      <a:pt x="65" y="221"/>
                      <a:pt x="67" y="201"/>
                    </a:cubicBezTo>
                    <a:cubicBezTo>
                      <a:pt x="69" y="164"/>
                      <a:pt x="74" y="124"/>
                      <a:pt x="77" y="89"/>
                    </a:cubicBezTo>
                    <a:cubicBezTo>
                      <a:pt x="78" y="78"/>
                      <a:pt x="81" y="67"/>
                      <a:pt x="80" y="60"/>
                    </a:cubicBezTo>
                    <a:cubicBezTo>
                      <a:pt x="79" y="51"/>
                      <a:pt x="70" y="40"/>
                      <a:pt x="71" y="31"/>
                    </a:cubicBezTo>
                    <a:close/>
                  </a:path>
                </a:pathLst>
              </a:custGeom>
              <a:solidFill>
                <a:srgbClr val="E51519"/>
              </a:solidFill>
              <a:ln w="9525">
                <a:noFill/>
                <a:round/>
                <a:headEnd/>
                <a:tailEnd/>
              </a:ln>
            </p:spPr>
            <p:txBody>
              <a:bodyPr/>
              <a:lstStyle/>
              <a:p>
                <a:endParaRPr lang="fr-FR" dirty="0"/>
              </a:p>
            </p:txBody>
          </p:sp>
          <p:sp>
            <p:nvSpPr>
              <p:cNvPr id="21" name="Freeform 22">
                <a:extLst>
                  <a:ext uri="{FF2B5EF4-FFF2-40B4-BE49-F238E27FC236}">
                    <a16:creationId xmlns:a16="http://schemas.microsoft.com/office/drawing/2014/main" id="{2EDF01A7-BEB5-49E2-8167-92F5FA82855B}"/>
                  </a:ext>
                </a:extLst>
              </p:cNvPr>
              <p:cNvSpPr>
                <a:spLocks/>
              </p:cNvSpPr>
              <p:nvPr/>
            </p:nvSpPr>
            <p:spPr bwMode="gray">
              <a:xfrm>
                <a:off x="4533" y="1338"/>
                <a:ext cx="128" cy="139"/>
              </a:xfrm>
              <a:custGeom>
                <a:avLst/>
                <a:gdLst/>
                <a:ahLst/>
                <a:cxnLst>
                  <a:cxn ang="0">
                    <a:pos x="61" y="0"/>
                  </a:cxn>
                  <a:cxn ang="0">
                    <a:pos x="38" y="32"/>
                  </a:cxn>
                  <a:cxn ang="0">
                    <a:pos x="0" y="80"/>
                  </a:cxn>
                  <a:cxn ang="0">
                    <a:pos x="17" y="80"/>
                  </a:cxn>
                  <a:cxn ang="0">
                    <a:pos x="31" y="86"/>
                  </a:cxn>
                  <a:cxn ang="0">
                    <a:pos x="53" y="86"/>
                  </a:cxn>
                  <a:cxn ang="0">
                    <a:pos x="80" y="18"/>
                  </a:cxn>
                  <a:cxn ang="0">
                    <a:pos x="61" y="0"/>
                  </a:cxn>
                </a:cxnLst>
                <a:rect l="0" t="0" r="r" b="b"/>
                <a:pathLst>
                  <a:path w="80" h="87">
                    <a:moveTo>
                      <a:pt x="61" y="0"/>
                    </a:moveTo>
                    <a:cubicBezTo>
                      <a:pt x="58" y="16"/>
                      <a:pt x="46" y="23"/>
                      <a:pt x="38" y="32"/>
                    </a:cubicBezTo>
                    <a:cubicBezTo>
                      <a:pt x="24" y="48"/>
                      <a:pt x="12" y="64"/>
                      <a:pt x="0" y="80"/>
                    </a:cubicBezTo>
                    <a:cubicBezTo>
                      <a:pt x="8" y="80"/>
                      <a:pt x="10" y="78"/>
                      <a:pt x="17" y="80"/>
                    </a:cubicBezTo>
                    <a:cubicBezTo>
                      <a:pt x="21" y="82"/>
                      <a:pt x="25" y="85"/>
                      <a:pt x="31" y="86"/>
                    </a:cubicBezTo>
                    <a:cubicBezTo>
                      <a:pt x="38" y="87"/>
                      <a:pt x="46" y="85"/>
                      <a:pt x="53" y="86"/>
                    </a:cubicBezTo>
                    <a:cubicBezTo>
                      <a:pt x="67" y="69"/>
                      <a:pt x="75" y="44"/>
                      <a:pt x="80" y="18"/>
                    </a:cubicBezTo>
                    <a:cubicBezTo>
                      <a:pt x="71" y="14"/>
                      <a:pt x="69" y="4"/>
                      <a:pt x="61" y="0"/>
                    </a:cubicBezTo>
                    <a:close/>
                  </a:path>
                </a:pathLst>
              </a:custGeom>
              <a:solidFill>
                <a:srgbClr val="EAEAEA"/>
              </a:solidFill>
              <a:ln w="9525">
                <a:noFill/>
                <a:round/>
                <a:headEnd/>
                <a:tailEnd/>
              </a:ln>
            </p:spPr>
            <p:txBody>
              <a:bodyPr/>
              <a:lstStyle/>
              <a:p>
                <a:endParaRPr lang="fr-FR" dirty="0"/>
              </a:p>
            </p:txBody>
          </p:sp>
          <p:sp>
            <p:nvSpPr>
              <p:cNvPr id="22" name="Freeform 23">
                <a:extLst>
                  <a:ext uri="{FF2B5EF4-FFF2-40B4-BE49-F238E27FC236}">
                    <a16:creationId xmlns:a16="http://schemas.microsoft.com/office/drawing/2014/main" id="{811D1DDA-8F2E-4C5D-AA64-483DB3F79D03}"/>
                  </a:ext>
                </a:extLst>
              </p:cNvPr>
              <p:cNvSpPr>
                <a:spLocks/>
              </p:cNvSpPr>
              <p:nvPr/>
            </p:nvSpPr>
            <p:spPr bwMode="gray">
              <a:xfrm>
                <a:off x="4485" y="1430"/>
                <a:ext cx="40" cy="96"/>
              </a:xfrm>
              <a:custGeom>
                <a:avLst/>
                <a:gdLst/>
                <a:ahLst/>
                <a:cxnLst>
                  <a:cxn ang="0">
                    <a:pos x="25" y="23"/>
                  </a:cxn>
                  <a:cxn ang="0">
                    <a:pos x="8" y="0"/>
                  </a:cxn>
                  <a:cxn ang="0">
                    <a:pos x="8" y="3"/>
                  </a:cxn>
                  <a:cxn ang="0">
                    <a:pos x="8" y="2"/>
                  </a:cxn>
                  <a:cxn ang="0">
                    <a:pos x="8" y="3"/>
                  </a:cxn>
                  <a:cxn ang="0">
                    <a:pos x="8" y="8"/>
                  </a:cxn>
                  <a:cxn ang="0">
                    <a:pos x="7" y="24"/>
                  </a:cxn>
                  <a:cxn ang="0">
                    <a:pos x="7" y="24"/>
                  </a:cxn>
                  <a:cxn ang="0">
                    <a:pos x="0" y="59"/>
                  </a:cxn>
                  <a:cxn ang="0">
                    <a:pos x="0" y="60"/>
                  </a:cxn>
                  <a:cxn ang="0">
                    <a:pos x="6" y="59"/>
                  </a:cxn>
                  <a:cxn ang="0">
                    <a:pos x="16" y="41"/>
                  </a:cxn>
                  <a:cxn ang="0">
                    <a:pos x="25" y="23"/>
                  </a:cxn>
                </a:cxnLst>
                <a:rect l="0" t="0" r="r" b="b"/>
                <a:pathLst>
                  <a:path w="25" h="60">
                    <a:moveTo>
                      <a:pt x="25" y="23"/>
                    </a:moveTo>
                    <a:cubicBezTo>
                      <a:pt x="20" y="16"/>
                      <a:pt x="11" y="11"/>
                      <a:pt x="8" y="0"/>
                    </a:cubicBezTo>
                    <a:cubicBezTo>
                      <a:pt x="8" y="1"/>
                      <a:pt x="8" y="2"/>
                      <a:pt x="8" y="3"/>
                    </a:cubicBezTo>
                    <a:cubicBezTo>
                      <a:pt x="8" y="2"/>
                      <a:pt x="8" y="2"/>
                      <a:pt x="8" y="2"/>
                    </a:cubicBezTo>
                    <a:cubicBezTo>
                      <a:pt x="8" y="2"/>
                      <a:pt x="8" y="3"/>
                      <a:pt x="8" y="3"/>
                    </a:cubicBezTo>
                    <a:cubicBezTo>
                      <a:pt x="8" y="5"/>
                      <a:pt x="8" y="6"/>
                      <a:pt x="8" y="8"/>
                    </a:cubicBezTo>
                    <a:cubicBezTo>
                      <a:pt x="8" y="12"/>
                      <a:pt x="8" y="19"/>
                      <a:pt x="7" y="24"/>
                    </a:cubicBezTo>
                    <a:cubicBezTo>
                      <a:pt x="7" y="24"/>
                      <a:pt x="7" y="24"/>
                      <a:pt x="7" y="24"/>
                    </a:cubicBezTo>
                    <a:cubicBezTo>
                      <a:pt x="6" y="37"/>
                      <a:pt x="4" y="49"/>
                      <a:pt x="0" y="59"/>
                    </a:cubicBezTo>
                    <a:cubicBezTo>
                      <a:pt x="0" y="60"/>
                      <a:pt x="0" y="60"/>
                      <a:pt x="0" y="60"/>
                    </a:cubicBezTo>
                    <a:cubicBezTo>
                      <a:pt x="3" y="60"/>
                      <a:pt x="3" y="58"/>
                      <a:pt x="6" y="59"/>
                    </a:cubicBezTo>
                    <a:cubicBezTo>
                      <a:pt x="9" y="53"/>
                      <a:pt x="12" y="47"/>
                      <a:pt x="16" y="41"/>
                    </a:cubicBezTo>
                    <a:cubicBezTo>
                      <a:pt x="15" y="31"/>
                      <a:pt x="19" y="25"/>
                      <a:pt x="25" y="23"/>
                    </a:cubicBezTo>
                    <a:close/>
                  </a:path>
                </a:pathLst>
              </a:custGeom>
              <a:solidFill>
                <a:srgbClr val="EAEAEA"/>
              </a:solidFill>
              <a:ln w="9525">
                <a:noFill/>
                <a:round/>
                <a:headEnd/>
                <a:tailEnd/>
              </a:ln>
            </p:spPr>
            <p:txBody>
              <a:bodyPr/>
              <a:lstStyle/>
              <a:p>
                <a:endParaRPr lang="fr-FR" dirty="0"/>
              </a:p>
            </p:txBody>
          </p:sp>
          <p:sp>
            <p:nvSpPr>
              <p:cNvPr id="23" name="Freeform 24">
                <a:extLst>
                  <a:ext uri="{FF2B5EF4-FFF2-40B4-BE49-F238E27FC236}">
                    <a16:creationId xmlns:a16="http://schemas.microsoft.com/office/drawing/2014/main" id="{1ADA65EC-A976-43FE-881C-68C7542D1FA7}"/>
                  </a:ext>
                </a:extLst>
              </p:cNvPr>
              <p:cNvSpPr>
                <a:spLocks/>
              </p:cNvSpPr>
              <p:nvPr/>
            </p:nvSpPr>
            <p:spPr bwMode="gray">
              <a:xfrm>
                <a:off x="4540" y="1357"/>
                <a:ext cx="572" cy="1086"/>
              </a:xfrm>
              <a:custGeom>
                <a:avLst/>
                <a:gdLst/>
                <a:ahLst/>
                <a:cxnLst>
                  <a:cxn ang="0">
                    <a:pos x="358" y="563"/>
                  </a:cxn>
                  <a:cxn ang="0">
                    <a:pos x="358" y="565"/>
                  </a:cxn>
                  <a:cxn ang="0">
                    <a:pos x="272" y="569"/>
                  </a:cxn>
                  <a:cxn ang="0">
                    <a:pos x="273" y="623"/>
                  </a:cxn>
                  <a:cxn ang="0">
                    <a:pos x="257" y="641"/>
                  </a:cxn>
                  <a:cxn ang="0">
                    <a:pos x="236" y="648"/>
                  </a:cxn>
                  <a:cxn ang="0">
                    <a:pos x="212" y="661"/>
                  </a:cxn>
                  <a:cxn ang="0">
                    <a:pos x="172" y="671"/>
                  </a:cxn>
                  <a:cxn ang="0">
                    <a:pos x="131" y="677"/>
                  </a:cxn>
                  <a:cxn ang="0">
                    <a:pos x="107" y="647"/>
                  </a:cxn>
                  <a:cxn ang="0">
                    <a:pos x="88" y="612"/>
                  </a:cxn>
                  <a:cxn ang="0">
                    <a:pos x="82" y="590"/>
                  </a:cxn>
                  <a:cxn ang="0">
                    <a:pos x="39" y="431"/>
                  </a:cxn>
                  <a:cxn ang="0">
                    <a:pos x="20" y="335"/>
                  </a:cxn>
                  <a:cxn ang="0">
                    <a:pos x="9" y="288"/>
                  </a:cxn>
                  <a:cxn ang="0">
                    <a:pos x="1" y="238"/>
                  </a:cxn>
                  <a:cxn ang="0">
                    <a:pos x="8" y="209"/>
                  </a:cxn>
                  <a:cxn ang="0">
                    <a:pos x="30" y="121"/>
                  </a:cxn>
                  <a:cxn ang="0">
                    <a:pos x="48" y="66"/>
                  </a:cxn>
                  <a:cxn ang="0">
                    <a:pos x="68" y="14"/>
                  </a:cxn>
                  <a:cxn ang="0">
                    <a:pos x="69" y="5"/>
                  </a:cxn>
                  <a:cxn ang="0">
                    <a:pos x="68" y="0"/>
                  </a:cxn>
                  <a:cxn ang="0">
                    <a:pos x="90" y="8"/>
                  </a:cxn>
                  <a:cxn ang="0">
                    <a:pos x="99" y="13"/>
                  </a:cxn>
                  <a:cxn ang="0">
                    <a:pos x="109" y="18"/>
                  </a:cxn>
                  <a:cxn ang="0">
                    <a:pos x="144" y="19"/>
                  </a:cxn>
                  <a:cxn ang="0">
                    <a:pos x="181" y="25"/>
                  </a:cxn>
                  <a:cxn ang="0">
                    <a:pos x="214" y="34"/>
                  </a:cxn>
                  <a:cxn ang="0">
                    <a:pos x="243" y="79"/>
                  </a:cxn>
                  <a:cxn ang="0">
                    <a:pos x="247" y="102"/>
                  </a:cxn>
                  <a:cxn ang="0">
                    <a:pos x="259" y="123"/>
                  </a:cxn>
                  <a:cxn ang="0">
                    <a:pos x="264" y="151"/>
                  </a:cxn>
                  <a:cxn ang="0">
                    <a:pos x="267" y="155"/>
                  </a:cxn>
                  <a:cxn ang="0">
                    <a:pos x="268" y="166"/>
                  </a:cxn>
                  <a:cxn ang="0">
                    <a:pos x="276" y="184"/>
                  </a:cxn>
                  <a:cxn ang="0">
                    <a:pos x="283" y="217"/>
                  </a:cxn>
                  <a:cxn ang="0">
                    <a:pos x="292" y="234"/>
                  </a:cxn>
                  <a:cxn ang="0">
                    <a:pos x="301" y="254"/>
                  </a:cxn>
                  <a:cxn ang="0">
                    <a:pos x="302" y="278"/>
                  </a:cxn>
                  <a:cxn ang="0">
                    <a:pos x="311" y="307"/>
                  </a:cxn>
                  <a:cxn ang="0">
                    <a:pos x="315" y="324"/>
                  </a:cxn>
                  <a:cxn ang="0">
                    <a:pos x="321" y="338"/>
                  </a:cxn>
                  <a:cxn ang="0">
                    <a:pos x="323" y="358"/>
                  </a:cxn>
                  <a:cxn ang="0">
                    <a:pos x="339" y="457"/>
                  </a:cxn>
                  <a:cxn ang="0">
                    <a:pos x="346" y="497"/>
                  </a:cxn>
                  <a:cxn ang="0">
                    <a:pos x="347" y="521"/>
                  </a:cxn>
                  <a:cxn ang="0">
                    <a:pos x="358" y="563"/>
                  </a:cxn>
                </a:cxnLst>
                <a:rect l="0" t="0" r="r" b="b"/>
                <a:pathLst>
                  <a:path w="358" h="680">
                    <a:moveTo>
                      <a:pt x="358" y="563"/>
                    </a:moveTo>
                    <a:cubicBezTo>
                      <a:pt x="358" y="563"/>
                      <a:pt x="358" y="564"/>
                      <a:pt x="358" y="565"/>
                    </a:cubicBezTo>
                    <a:cubicBezTo>
                      <a:pt x="332" y="568"/>
                      <a:pt x="301" y="568"/>
                      <a:pt x="272" y="569"/>
                    </a:cubicBezTo>
                    <a:cubicBezTo>
                      <a:pt x="261" y="581"/>
                      <a:pt x="266" y="610"/>
                      <a:pt x="273" y="623"/>
                    </a:cubicBezTo>
                    <a:cubicBezTo>
                      <a:pt x="268" y="629"/>
                      <a:pt x="263" y="637"/>
                      <a:pt x="257" y="641"/>
                    </a:cubicBezTo>
                    <a:cubicBezTo>
                      <a:pt x="252" y="645"/>
                      <a:pt x="243" y="645"/>
                      <a:pt x="236" y="648"/>
                    </a:cubicBezTo>
                    <a:cubicBezTo>
                      <a:pt x="229" y="651"/>
                      <a:pt x="222" y="657"/>
                      <a:pt x="212" y="661"/>
                    </a:cubicBezTo>
                    <a:cubicBezTo>
                      <a:pt x="202" y="665"/>
                      <a:pt x="187" y="668"/>
                      <a:pt x="172" y="671"/>
                    </a:cubicBezTo>
                    <a:cubicBezTo>
                      <a:pt x="157" y="675"/>
                      <a:pt x="141" y="680"/>
                      <a:pt x="131" y="677"/>
                    </a:cubicBezTo>
                    <a:cubicBezTo>
                      <a:pt x="121" y="674"/>
                      <a:pt x="113" y="659"/>
                      <a:pt x="107" y="647"/>
                    </a:cubicBezTo>
                    <a:cubicBezTo>
                      <a:pt x="100" y="634"/>
                      <a:pt x="92" y="623"/>
                      <a:pt x="88" y="612"/>
                    </a:cubicBezTo>
                    <a:cubicBezTo>
                      <a:pt x="85" y="605"/>
                      <a:pt x="84" y="597"/>
                      <a:pt x="82" y="590"/>
                    </a:cubicBezTo>
                    <a:cubicBezTo>
                      <a:pt x="66" y="537"/>
                      <a:pt x="53" y="487"/>
                      <a:pt x="39" y="431"/>
                    </a:cubicBezTo>
                    <a:cubicBezTo>
                      <a:pt x="31" y="402"/>
                      <a:pt x="26" y="369"/>
                      <a:pt x="20" y="335"/>
                    </a:cubicBezTo>
                    <a:cubicBezTo>
                      <a:pt x="17" y="322"/>
                      <a:pt x="12" y="305"/>
                      <a:pt x="9" y="288"/>
                    </a:cubicBezTo>
                    <a:cubicBezTo>
                      <a:pt x="6" y="270"/>
                      <a:pt x="0" y="251"/>
                      <a:pt x="1" y="238"/>
                    </a:cubicBezTo>
                    <a:cubicBezTo>
                      <a:pt x="2" y="229"/>
                      <a:pt x="6" y="219"/>
                      <a:pt x="8" y="209"/>
                    </a:cubicBezTo>
                    <a:cubicBezTo>
                      <a:pt x="15" y="180"/>
                      <a:pt x="22" y="148"/>
                      <a:pt x="30" y="121"/>
                    </a:cubicBezTo>
                    <a:cubicBezTo>
                      <a:pt x="36" y="103"/>
                      <a:pt x="43" y="84"/>
                      <a:pt x="48" y="66"/>
                    </a:cubicBezTo>
                    <a:cubicBezTo>
                      <a:pt x="54" y="47"/>
                      <a:pt x="64" y="31"/>
                      <a:pt x="68" y="14"/>
                    </a:cubicBezTo>
                    <a:cubicBezTo>
                      <a:pt x="69" y="11"/>
                      <a:pt x="70" y="10"/>
                      <a:pt x="69" y="5"/>
                    </a:cubicBezTo>
                    <a:cubicBezTo>
                      <a:pt x="69" y="1"/>
                      <a:pt x="67" y="0"/>
                      <a:pt x="68" y="0"/>
                    </a:cubicBezTo>
                    <a:cubicBezTo>
                      <a:pt x="77" y="1"/>
                      <a:pt x="83" y="5"/>
                      <a:pt x="90" y="8"/>
                    </a:cubicBezTo>
                    <a:cubicBezTo>
                      <a:pt x="92" y="9"/>
                      <a:pt x="96" y="11"/>
                      <a:pt x="99" y="13"/>
                    </a:cubicBezTo>
                    <a:cubicBezTo>
                      <a:pt x="103" y="15"/>
                      <a:pt x="105" y="17"/>
                      <a:pt x="109" y="18"/>
                    </a:cubicBezTo>
                    <a:cubicBezTo>
                      <a:pt x="120" y="22"/>
                      <a:pt x="133" y="19"/>
                      <a:pt x="144" y="19"/>
                    </a:cubicBezTo>
                    <a:cubicBezTo>
                      <a:pt x="155" y="20"/>
                      <a:pt x="169" y="23"/>
                      <a:pt x="181" y="25"/>
                    </a:cubicBezTo>
                    <a:cubicBezTo>
                      <a:pt x="192" y="27"/>
                      <a:pt x="206" y="29"/>
                      <a:pt x="214" y="34"/>
                    </a:cubicBezTo>
                    <a:cubicBezTo>
                      <a:pt x="228" y="41"/>
                      <a:pt x="239" y="63"/>
                      <a:pt x="243" y="79"/>
                    </a:cubicBezTo>
                    <a:cubicBezTo>
                      <a:pt x="245" y="86"/>
                      <a:pt x="245" y="95"/>
                      <a:pt x="247" y="102"/>
                    </a:cubicBezTo>
                    <a:cubicBezTo>
                      <a:pt x="250" y="109"/>
                      <a:pt x="256" y="116"/>
                      <a:pt x="259" y="123"/>
                    </a:cubicBezTo>
                    <a:cubicBezTo>
                      <a:pt x="262" y="132"/>
                      <a:pt x="262" y="141"/>
                      <a:pt x="264" y="151"/>
                    </a:cubicBezTo>
                    <a:cubicBezTo>
                      <a:pt x="265" y="152"/>
                      <a:pt x="267" y="153"/>
                      <a:pt x="267" y="155"/>
                    </a:cubicBezTo>
                    <a:cubicBezTo>
                      <a:pt x="268" y="158"/>
                      <a:pt x="267" y="163"/>
                      <a:pt x="268" y="166"/>
                    </a:cubicBezTo>
                    <a:cubicBezTo>
                      <a:pt x="270" y="172"/>
                      <a:pt x="274" y="177"/>
                      <a:pt x="276" y="184"/>
                    </a:cubicBezTo>
                    <a:cubicBezTo>
                      <a:pt x="279" y="195"/>
                      <a:pt x="282" y="206"/>
                      <a:pt x="283" y="217"/>
                    </a:cubicBezTo>
                    <a:cubicBezTo>
                      <a:pt x="287" y="222"/>
                      <a:pt x="289" y="228"/>
                      <a:pt x="292" y="234"/>
                    </a:cubicBezTo>
                    <a:cubicBezTo>
                      <a:pt x="295" y="241"/>
                      <a:pt x="299" y="247"/>
                      <a:pt x="301" y="254"/>
                    </a:cubicBezTo>
                    <a:cubicBezTo>
                      <a:pt x="302" y="261"/>
                      <a:pt x="300" y="268"/>
                      <a:pt x="302" y="278"/>
                    </a:cubicBezTo>
                    <a:cubicBezTo>
                      <a:pt x="303" y="287"/>
                      <a:pt x="308" y="297"/>
                      <a:pt x="311" y="307"/>
                    </a:cubicBezTo>
                    <a:cubicBezTo>
                      <a:pt x="313" y="313"/>
                      <a:pt x="314" y="318"/>
                      <a:pt x="315" y="324"/>
                    </a:cubicBezTo>
                    <a:cubicBezTo>
                      <a:pt x="317" y="329"/>
                      <a:pt x="320" y="333"/>
                      <a:pt x="321" y="338"/>
                    </a:cubicBezTo>
                    <a:cubicBezTo>
                      <a:pt x="322" y="344"/>
                      <a:pt x="322" y="351"/>
                      <a:pt x="323" y="358"/>
                    </a:cubicBezTo>
                    <a:cubicBezTo>
                      <a:pt x="328" y="390"/>
                      <a:pt x="335" y="425"/>
                      <a:pt x="339" y="457"/>
                    </a:cubicBezTo>
                    <a:cubicBezTo>
                      <a:pt x="341" y="471"/>
                      <a:pt x="344" y="484"/>
                      <a:pt x="346" y="497"/>
                    </a:cubicBezTo>
                    <a:cubicBezTo>
                      <a:pt x="347" y="505"/>
                      <a:pt x="346" y="513"/>
                      <a:pt x="347" y="521"/>
                    </a:cubicBezTo>
                    <a:cubicBezTo>
                      <a:pt x="348" y="535"/>
                      <a:pt x="353" y="550"/>
                      <a:pt x="358" y="563"/>
                    </a:cubicBezTo>
                    <a:close/>
                  </a:path>
                </a:pathLst>
              </a:custGeom>
              <a:solidFill>
                <a:srgbClr val="777777"/>
              </a:solidFill>
              <a:ln w="9525">
                <a:noFill/>
                <a:round/>
                <a:headEnd/>
                <a:tailEnd/>
              </a:ln>
            </p:spPr>
            <p:txBody>
              <a:bodyPr/>
              <a:lstStyle/>
              <a:p>
                <a:endParaRPr lang="fr-FR" dirty="0"/>
              </a:p>
            </p:txBody>
          </p:sp>
          <p:sp>
            <p:nvSpPr>
              <p:cNvPr id="24" name="Freeform 25">
                <a:extLst>
                  <a:ext uri="{FF2B5EF4-FFF2-40B4-BE49-F238E27FC236}">
                    <a16:creationId xmlns:a16="http://schemas.microsoft.com/office/drawing/2014/main" id="{096D25A3-D30F-4F4A-A6E4-922D5C8EB46F}"/>
                  </a:ext>
                </a:extLst>
              </p:cNvPr>
              <p:cNvSpPr>
                <a:spLocks/>
              </p:cNvSpPr>
              <p:nvPr/>
            </p:nvSpPr>
            <p:spPr bwMode="gray">
              <a:xfrm>
                <a:off x="4300" y="1458"/>
                <a:ext cx="205" cy="809"/>
              </a:xfrm>
              <a:custGeom>
                <a:avLst/>
                <a:gdLst/>
                <a:ahLst/>
                <a:cxnLst>
                  <a:cxn ang="0">
                    <a:pos x="0" y="458"/>
                  </a:cxn>
                  <a:cxn ang="0">
                    <a:pos x="0" y="457"/>
                  </a:cxn>
                  <a:cxn ang="0">
                    <a:pos x="17" y="395"/>
                  </a:cxn>
                  <a:cxn ang="0">
                    <a:pos x="27" y="379"/>
                  </a:cxn>
                  <a:cxn ang="0">
                    <a:pos x="45" y="336"/>
                  </a:cxn>
                  <a:cxn ang="0">
                    <a:pos x="51" y="282"/>
                  </a:cxn>
                  <a:cxn ang="0">
                    <a:pos x="57" y="227"/>
                  </a:cxn>
                  <a:cxn ang="0">
                    <a:pos x="62" y="140"/>
                  </a:cxn>
                  <a:cxn ang="0">
                    <a:pos x="59" y="120"/>
                  </a:cxn>
                  <a:cxn ang="0">
                    <a:pos x="65" y="72"/>
                  </a:cxn>
                  <a:cxn ang="0">
                    <a:pos x="86" y="42"/>
                  </a:cxn>
                  <a:cxn ang="0">
                    <a:pos x="114" y="19"/>
                  </a:cxn>
                  <a:cxn ang="0">
                    <a:pos x="123" y="0"/>
                  </a:cxn>
                  <a:cxn ang="0">
                    <a:pos x="129" y="18"/>
                  </a:cxn>
                  <a:cxn ang="0">
                    <a:pos x="95" y="140"/>
                  </a:cxn>
                  <a:cxn ang="0">
                    <a:pos x="63" y="343"/>
                  </a:cxn>
                  <a:cxn ang="0">
                    <a:pos x="55" y="412"/>
                  </a:cxn>
                  <a:cxn ang="0">
                    <a:pos x="63" y="430"/>
                  </a:cxn>
                  <a:cxn ang="0">
                    <a:pos x="63" y="451"/>
                  </a:cxn>
                  <a:cxn ang="0">
                    <a:pos x="43" y="432"/>
                  </a:cxn>
                  <a:cxn ang="0">
                    <a:pos x="13" y="436"/>
                  </a:cxn>
                  <a:cxn ang="0">
                    <a:pos x="5" y="449"/>
                  </a:cxn>
                  <a:cxn ang="0">
                    <a:pos x="33" y="507"/>
                  </a:cxn>
                  <a:cxn ang="0">
                    <a:pos x="4" y="480"/>
                  </a:cxn>
                  <a:cxn ang="0">
                    <a:pos x="0" y="458"/>
                  </a:cxn>
                </a:cxnLst>
                <a:rect l="0" t="0" r="r" b="b"/>
                <a:pathLst>
                  <a:path w="129" h="507">
                    <a:moveTo>
                      <a:pt x="0" y="458"/>
                    </a:moveTo>
                    <a:cubicBezTo>
                      <a:pt x="0" y="458"/>
                      <a:pt x="0" y="457"/>
                      <a:pt x="0" y="457"/>
                    </a:cubicBezTo>
                    <a:cubicBezTo>
                      <a:pt x="2" y="436"/>
                      <a:pt x="9" y="412"/>
                      <a:pt x="17" y="395"/>
                    </a:cubicBezTo>
                    <a:cubicBezTo>
                      <a:pt x="20" y="389"/>
                      <a:pt x="24" y="385"/>
                      <a:pt x="27" y="379"/>
                    </a:cubicBezTo>
                    <a:cubicBezTo>
                      <a:pt x="35" y="366"/>
                      <a:pt x="41" y="351"/>
                      <a:pt x="45" y="336"/>
                    </a:cubicBezTo>
                    <a:cubicBezTo>
                      <a:pt x="49" y="319"/>
                      <a:pt x="50" y="302"/>
                      <a:pt x="51" y="282"/>
                    </a:cubicBezTo>
                    <a:cubicBezTo>
                      <a:pt x="53" y="264"/>
                      <a:pt x="56" y="245"/>
                      <a:pt x="57" y="227"/>
                    </a:cubicBezTo>
                    <a:cubicBezTo>
                      <a:pt x="59" y="196"/>
                      <a:pt x="63" y="169"/>
                      <a:pt x="62" y="140"/>
                    </a:cubicBezTo>
                    <a:cubicBezTo>
                      <a:pt x="62" y="133"/>
                      <a:pt x="59" y="127"/>
                      <a:pt x="59" y="120"/>
                    </a:cubicBezTo>
                    <a:cubicBezTo>
                      <a:pt x="59" y="104"/>
                      <a:pt x="61" y="83"/>
                      <a:pt x="65" y="72"/>
                    </a:cubicBezTo>
                    <a:cubicBezTo>
                      <a:pt x="69" y="61"/>
                      <a:pt x="78" y="50"/>
                      <a:pt x="86" y="42"/>
                    </a:cubicBezTo>
                    <a:cubicBezTo>
                      <a:pt x="95" y="32"/>
                      <a:pt x="105" y="25"/>
                      <a:pt x="114" y="19"/>
                    </a:cubicBezTo>
                    <a:cubicBezTo>
                      <a:pt x="117" y="12"/>
                      <a:pt x="120" y="5"/>
                      <a:pt x="123" y="0"/>
                    </a:cubicBezTo>
                    <a:cubicBezTo>
                      <a:pt x="126" y="6"/>
                      <a:pt x="128" y="11"/>
                      <a:pt x="129" y="18"/>
                    </a:cubicBezTo>
                    <a:cubicBezTo>
                      <a:pt x="109" y="50"/>
                      <a:pt x="101" y="92"/>
                      <a:pt x="95" y="140"/>
                    </a:cubicBezTo>
                    <a:cubicBezTo>
                      <a:pt x="86" y="208"/>
                      <a:pt x="76" y="280"/>
                      <a:pt x="63" y="343"/>
                    </a:cubicBezTo>
                    <a:cubicBezTo>
                      <a:pt x="59" y="364"/>
                      <a:pt x="51" y="389"/>
                      <a:pt x="55" y="412"/>
                    </a:cubicBezTo>
                    <a:cubicBezTo>
                      <a:pt x="56" y="418"/>
                      <a:pt x="62" y="423"/>
                      <a:pt x="63" y="430"/>
                    </a:cubicBezTo>
                    <a:cubicBezTo>
                      <a:pt x="64" y="437"/>
                      <a:pt x="62" y="443"/>
                      <a:pt x="63" y="451"/>
                    </a:cubicBezTo>
                    <a:cubicBezTo>
                      <a:pt x="59" y="442"/>
                      <a:pt x="51" y="436"/>
                      <a:pt x="43" y="432"/>
                    </a:cubicBezTo>
                    <a:cubicBezTo>
                      <a:pt x="32" y="432"/>
                      <a:pt x="21" y="433"/>
                      <a:pt x="13" y="436"/>
                    </a:cubicBezTo>
                    <a:cubicBezTo>
                      <a:pt x="12" y="442"/>
                      <a:pt x="7" y="443"/>
                      <a:pt x="5" y="449"/>
                    </a:cubicBezTo>
                    <a:cubicBezTo>
                      <a:pt x="9" y="474"/>
                      <a:pt x="28" y="484"/>
                      <a:pt x="33" y="507"/>
                    </a:cubicBezTo>
                    <a:cubicBezTo>
                      <a:pt x="22" y="500"/>
                      <a:pt x="10" y="493"/>
                      <a:pt x="4" y="480"/>
                    </a:cubicBezTo>
                    <a:cubicBezTo>
                      <a:pt x="2" y="473"/>
                      <a:pt x="2" y="466"/>
                      <a:pt x="0" y="458"/>
                    </a:cubicBezTo>
                    <a:close/>
                  </a:path>
                </a:pathLst>
              </a:custGeom>
              <a:solidFill>
                <a:srgbClr val="777777"/>
              </a:solidFill>
              <a:ln w="9525">
                <a:noFill/>
                <a:round/>
                <a:headEnd/>
                <a:tailEnd/>
              </a:ln>
            </p:spPr>
            <p:txBody>
              <a:bodyPr/>
              <a:lstStyle/>
              <a:p>
                <a:endParaRPr lang="fr-FR" dirty="0"/>
              </a:p>
            </p:txBody>
          </p:sp>
          <p:sp>
            <p:nvSpPr>
              <p:cNvPr id="25" name="Freeform 26">
                <a:extLst>
                  <a:ext uri="{FF2B5EF4-FFF2-40B4-BE49-F238E27FC236}">
                    <a16:creationId xmlns:a16="http://schemas.microsoft.com/office/drawing/2014/main" id="{49C506E9-D4D6-4D80-9078-1092F8AE11D7}"/>
                  </a:ext>
                </a:extLst>
              </p:cNvPr>
              <p:cNvSpPr>
                <a:spLocks/>
              </p:cNvSpPr>
              <p:nvPr/>
            </p:nvSpPr>
            <p:spPr bwMode="gray">
              <a:xfrm>
                <a:off x="4396" y="1060"/>
                <a:ext cx="242" cy="414"/>
              </a:xfrm>
              <a:custGeom>
                <a:avLst/>
                <a:gdLst/>
                <a:ahLst/>
                <a:cxnLst>
                  <a:cxn ang="0">
                    <a:pos x="140" y="143"/>
                  </a:cxn>
                  <a:cxn ang="0">
                    <a:pos x="150" y="127"/>
                  </a:cxn>
                  <a:cxn ang="0">
                    <a:pos x="149" y="107"/>
                  </a:cxn>
                  <a:cxn ang="0">
                    <a:pos x="136" y="86"/>
                  </a:cxn>
                  <a:cxn ang="0">
                    <a:pos x="131" y="51"/>
                  </a:cxn>
                  <a:cxn ang="0">
                    <a:pos x="131" y="51"/>
                  </a:cxn>
                  <a:cxn ang="0">
                    <a:pos x="118" y="25"/>
                  </a:cxn>
                  <a:cxn ang="0">
                    <a:pos x="118" y="25"/>
                  </a:cxn>
                  <a:cxn ang="0">
                    <a:pos x="102" y="9"/>
                  </a:cxn>
                  <a:cxn ang="0">
                    <a:pos x="100" y="8"/>
                  </a:cxn>
                  <a:cxn ang="0">
                    <a:pos x="99" y="8"/>
                  </a:cxn>
                  <a:cxn ang="0">
                    <a:pos x="98" y="7"/>
                  </a:cxn>
                  <a:cxn ang="0">
                    <a:pos x="97" y="7"/>
                  </a:cxn>
                  <a:cxn ang="0">
                    <a:pos x="97" y="7"/>
                  </a:cxn>
                  <a:cxn ang="0">
                    <a:pos x="63" y="1"/>
                  </a:cxn>
                  <a:cxn ang="0">
                    <a:pos x="58" y="2"/>
                  </a:cxn>
                  <a:cxn ang="0">
                    <a:pos x="49" y="4"/>
                  </a:cxn>
                  <a:cxn ang="0">
                    <a:pos x="44" y="6"/>
                  </a:cxn>
                  <a:cxn ang="0">
                    <a:pos x="30" y="13"/>
                  </a:cxn>
                  <a:cxn ang="0">
                    <a:pos x="28" y="14"/>
                  </a:cxn>
                  <a:cxn ang="0">
                    <a:pos x="3" y="59"/>
                  </a:cxn>
                  <a:cxn ang="0">
                    <a:pos x="3" y="59"/>
                  </a:cxn>
                  <a:cxn ang="0">
                    <a:pos x="10" y="108"/>
                  </a:cxn>
                  <a:cxn ang="0">
                    <a:pos x="3" y="114"/>
                  </a:cxn>
                  <a:cxn ang="0">
                    <a:pos x="7" y="134"/>
                  </a:cxn>
                  <a:cxn ang="0">
                    <a:pos x="22" y="161"/>
                  </a:cxn>
                  <a:cxn ang="0">
                    <a:pos x="39" y="191"/>
                  </a:cxn>
                  <a:cxn ang="0">
                    <a:pos x="60" y="217"/>
                  </a:cxn>
                  <a:cxn ang="0">
                    <a:pos x="67" y="240"/>
                  </a:cxn>
                  <a:cxn ang="0">
                    <a:pos x="76" y="258"/>
                  </a:cxn>
                  <a:cxn ang="0">
                    <a:pos x="87" y="256"/>
                  </a:cxn>
                  <a:cxn ang="0">
                    <a:pos x="94" y="254"/>
                  </a:cxn>
                  <a:cxn ang="0">
                    <a:pos x="119" y="228"/>
                  </a:cxn>
                  <a:cxn ang="0">
                    <a:pos x="119" y="228"/>
                  </a:cxn>
                  <a:cxn ang="0">
                    <a:pos x="152" y="181"/>
                  </a:cxn>
                  <a:cxn ang="0">
                    <a:pos x="140" y="143"/>
                  </a:cxn>
                </a:cxnLst>
                <a:rect l="0" t="0" r="r" b="b"/>
                <a:pathLst>
                  <a:path w="152" h="259">
                    <a:moveTo>
                      <a:pt x="140" y="143"/>
                    </a:moveTo>
                    <a:cubicBezTo>
                      <a:pt x="141" y="139"/>
                      <a:pt x="148" y="135"/>
                      <a:pt x="150" y="127"/>
                    </a:cubicBezTo>
                    <a:cubicBezTo>
                      <a:pt x="151" y="121"/>
                      <a:pt x="149" y="114"/>
                      <a:pt x="149" y="107"/>
                    </a:cubicBezTo>
                    <a:cubicBezTo>
                      <a:pt x="148" y="93"/>
                      <a:pt x="148" y="85"/>
                      <a:pt x="136" y="86"/>
                    </a:cubicBezTo>
                    <a:cubicBezTo>
                      <a:pt x="135" y="74"/>
                      <a:pt x="134" y="61"/>
                      <a:pt x="131" y="51"/>
                    </a:cubicBezTo>
                    <a:cubicBezTo>
                      <a:pt x="131" y="51"/>
                      <a:pt x="131" y="51"/>
                      <a:pt x="131" y="51"/>
                    </a:cubicBezTo>
                    <a:cubicBezTo>
                      <a:pt x="128" y="41"/>
                      <a:pt x="124" y="33"/>
                      <a:pt x="118" y="25"/>
                    </a:cubicBezTo>
                    <a:cubicBezTo>
                      <a:pt x="118" y="25"/>
                      <a:pt x="118" y="25"/>
                      <a:pt x="118" y="25"/>
                    </a:cubicBezTo>
                    <a:cubicBezTo>
                      <a:pt x="114" y="19"/>
                      <a:pt x="108" y="14"/>
                      <a:pt x="102" y="9"/>
                    </a:cubicBezTo>
                    <a:cubicBezTo>
                      <a:pt x="101" y="9"/>
                      <a:pt x="100" y="9"/>
                      <a:pt x="100" y="8"/>
                    </a:cubicBezTo>
                    <a:cubicBezTo>
                      <a:pt x="100" y="8"/>
                      <a:pt x="99" y="8"/>
                      <a:pt x="99" y="8"/>
                    </a:cubicBezTo>
                    <a:cubicBezTo>
                      <a:pt x="99" y="8"/>
                      <a:pt x="99" y="8"/>
                      <a:pt x="98" y="7"/>
                    </a:cubicBezTo>
                    <a:cubicBezTo>
                      <a:pt x="98" y="7"/>
                      <a:pt x="97" y="7"/>
                      <a:pt x="97" y="7"/>
                    </a:cubicBezTo>
                    <a:cubicBezTo>
                      <a:pt x="97" y="7"/>
                      <a:pt x="97" y="7"/>
                      <a:pt x="97" y="7"/>
                    </a:cubicBezTo>
                    <a:cubicBezTo>
                      <a:pt x="88" y="2"/>
                      <a:pt x="77" y="0"/>
                      <a:pt x="63" y="1"/>
                    </a:cubicBezTo>
                    <a:cubicBezTo>
                      <a:pt x="62" y="2"/>
                      <a:pt x="60" y="2"/>
                      <a:pt x="58" y="2"/>
                    </a:cubicBezTo>
                    <a:cubicBezTo>
                      <a:pt x="55" y="3"/>
                      <a:pt x="52" y="3"/>
                      <a:pt x="49" y="4"/>
                    </a:cubicBezTo>
                    <a:cubicBezTo>
                      <a:pt x="47" y="5"/>
                      <a:pt x="46" y="5"/>
                      <a:pt x="44" y="6"/>
                    </a:cubicBezTo>
                    <a:cubicBezTo>
                      <a:pt x="37" y="8"/>
                      <a:pt x="32" y="11"/>
                      <a:pt x="30" y="13"/>
                    </a:cubicBezTo>
                    <a:cubicBezTo>
                      <a:pt x="29" y="13"/>
                      <a:pt x="29" y="14"/>
                      <a:pt x="28" y="14"/>
                    </a:cubicBezTo>
                    <a:cubicBezTo>
                      <a:pt x="9" y="29"/>
                      <a:pt x="3" y="59"/>
                      <a:pt x="3" y="59"/>
                    </a:cubicBezTo>
                    <a:cubicBezTo>
                      <a:pt x="3" y="59"/>
                      <a:pt x="3" y="59"/>
                      <a:pt x="3" y="59"/>
                    </a:cubicBezTo>
                    <a:cubicBezTo>
                      <a:pt x="0" y="78"/>
                      <a:pt x="6" y="92"/>
                      <a:pt x="10" y="108"/>
                    </a:cubicBezTo>
                    <a:cubicBezTo>
                      <a:pt x="11" y="114"/>
                      <a:pt x="3" y="110"/>
                      <a:pt x="3" y="114"/>
                    </a:cubicBezTo>
                    <a:cubicBezTo>
                      <a:pt x="4" y="120"/>
                      <a:pt x="6" y="126"/>
                      <a:pt x="7" y="134"/>
                    </a:cubicBezTo>
                    <a:cubicBezTo>
                      <a:pt x="9" y="149"/>
                      <a:pt x="7" y="162"/>
                      <a:pt x="22" y="161"/>
                    </a:cubicBezTo>
                    <a:cubicBezTo>
                      <a:pt x="26" y="172"/>
                      <a:pt x="31" y="182"/>
                      <a:pt x="39" y="191"/>
                    </a:cubicBezTo>
                    <a:cubicBezTo>
                      <a:pt x="46" y="200"/>
                      <a:pt x="56" y="208"/>
                      <a:pt x="60" y="217"/>
                    </a:cubicBezTo>
                    <a:cubicBezTo>
                      <a:pt x="63" y="224"/>
                      <a:pt x="64" y="233"/>
                      <a:pt x="67" y="240"/>
                    </a:cubicBezTo>
                    <a:cubicBezTo>
                      <a:pt x="70" y="248"/>
                      <a:pt x="76" y="252"/>
                      <a:pt x="76" y="258"/>
                    </a:cubicBezTo>
                    <a:cubicBezTo>
                      <a:pt x="81" y="259"/>
                      <a:pt x="83" y="257"/>
                      <a:pt x="87" y="256"/>
                    </a:cubicBezTo>
                    <a:cubicBezTo>
                      <a:pt x="89" y="256"/>
                      <a:pt x="96" y="255"/>
                      <a:pt x="94" y="254"/>
                    </a:cubicBezTo>
                    <a:cubicBezTo>
                      <a:pt x="101" y="251"/>
                      <a:pt x="112" y="244"/>
                      <a:pt x="119" y="228"/>
                    </a:cubicBezTo>
                    <a:cubicBezTo>
                      <a:pt x="119" y="228"/>
                      <a:pt x="119" y="228"/>
                      <a:pt x="119" y="228"/>
                    </a:cubicBezTo>
                    <a:cubicBezTo>
                      <a:pt x="132" y="214"/>
                      <a:pt x="141" y="197"/>
                      <a:pt x="152" y="181"/>
                    </a:cubicBezTo>
                    <a:cubicBezTo>
                      <a:pt x="143" y="173"/>
                      <a:pt x="143" y="157"/>
                      <a:pt x="140" y="143"/>
                    </a:cubicBezTo>
                    <a:close/>
                  </a:path>
                </a:pathLst>
              </a:custGeom>
              <a:solidFill>
                <a:srgbClr val="000000"/>
              </a:solidFill>
              <a:ln w="9525">
                <a:noFill/>
                <a:round/>
                <a:headEnd/>
                <a:tailEnd/>
              </a:ln>
            </p:spPr>
            <p:txBody>
              <a:bodyPr/>
              <a:lstStyle/>
              <a:p>
                <a:endParaRPr lang="fr-FR" dirty="0"/>
              </a:p>
            </p:txBody>
          </p:sp>
        </p:grpSp>
      </p:grpSp>
      <p:sp>
        <p:nvSpPr>
          <p:cNvPr id="26" name="Bulle narrative : ronde 25">
            <a:extLst>
              <a:ext uri="{FF2B5EF4-FFF2-40B4-BE49-F238E27FC236}">
                <a16:creationId xmlns:a16="http://schemas.microsoft.com/office/drawing/2014/main" id="{FFE88C93-E553-4D41-84C0-0E5443CD4115}"/>
              </a:ext>
            </a:extLst>
          </p:cNvPr>
          <p:cNvSpPr/>
          <p:nvPr/>
        </p:nvSpPr>
        <p:spPr>
          <a:xfrm flipH="1">
            <a:off x="8206540" y="403946"/>
            <a:ext cx="2500456" cy="1381581"/>
          </a:xfrm>
          <a:prstGeom prst="wedgeEllipseCallou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dirty="0">
                <a:solidFill>
                  <a:schemeClr val="tx1">
                    <a:lumMod val="50000"/>
                  </a:schemeClr>
                </a:solidFill>
              </a:rPr>
              <a:t>Qui suis-je ?</a:t>
            </a:r>
          </a:p>
          <a:p>
            <a:pPr algn="ctr"/>
            <a:r>
              <a:rPr lang="fr-FR" dirty="0">
                <a:solidFill>
                  <a:schemeClr val="tx1">
                    <a:lumMod val="50000"/>
                  </a:schemeClr>
                </a:solidFill>
              </a:rPr>
              <a:t>D’où viens-je ?</a:t>
            </a:r>
          </a:p>
          <a:p>
            <a:pPr algn="ctr"/>
            <a:r>
              <a:rPr lang="fr-FR" dirty="0">
                <a:solidFill>
                  <a:schemeClr val="tx1">
                    <a:lumMod val="50000"/>
                  </a:schemeClr>
                </a:solidFill>
              </a:rPr>
              <a:t>Pourquoi-je ? </a:t>
            </a:r>
          </a:p>
        </p:txBody>
      </p:sp>
      <p:pic>
        <p:nvPicPr>
          <p:cNvPr id="29" name="Image 28">
            <a:extLst>
              <a:ext uri="{FF2B5EF4-FFF2-40B4-BE49-F238E27FC236}">
                <a16:creationId xmlns:a16="http://schemas.microsoft.com/office/drawing/2014/main" id="{DC420959-ED3F-4364-A719-DC6E5F5294FD}"/>
              </a:ext>
            </a:extLst>
          </p:cNvPr>
          <p:cNvPicPr>
            <a:picLocks noChangeAspect="1"/>
          </p:cNvPicPr>
          <p:nvPr/>
        </p:nvPicPr>
        <p:blipFill>
          <a:blip r:embed="rId3"/>
          <a:stretch>
            <a:fillRect/>
          </a:stretch>
        </p:blipFill>
        <p:spPr>
          <a:xfrm>
            <a:off x="5585867" y="3456918"/>
            <a:ext cx="2880384" cy="2880384"/>
          </a:xfrm>
          <a:prstGeom prst="rect">
            <a:avLst/>
          </a:prstGeom>
        </p:spPr>
      </p:pic>
    </p:spTree>
    <p:extLst>
      <p:ext uri="{BB962C8B-B14F-4D97-AF65-F5344CB8AC3E}">
        <p14:creationId xmlns:p14="http://schemas.microsoft.com/office/powerpoint/2010/main" val="10372786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40</a:t>
            </a:fld>
            <a:endParaRPr lang="fr-FR" dirty="0"/>
          </a:p>
        </p:txBody>
      </p:sp>
      <p:sp>
        <p:nvSpPr>
          <p:cNvPr id="5" name="Espace réservé du texte 4"/>
          <p:cNvSpPr>
            <a:spLocks noGrp="1"/>
          </p:cNvSpPr>
          <p:nvPr>
            <p:ph type="body" idx="1"/>
          </p:nvPr>
        </p:nvSpPr>
        <p:spPr/>
        <p:txBody>
          <a:bodyPr/>
          <a:lstStyle/>
          <a:p>
            <a:r>
              <a:rPr lang="fr-FR" dirty="0"/>
              <a:t>PI Planning – Jour 1 – Les PI Objectives</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sp>
        <p:nvSpPr>
          <p:cNvPr id="15" name="Espace réservé du texte 6">
            <a:extLst>
              <a:ext uri="{FF2B5EF4-FFF2-40B4-BE49-F238E27FC236}">
                <a16:creationId xmlns:a16="http://schemas.microsoft.com/office/drawing/2014/main" id="{A4992FC0-985C-41FF-B8BC-B8D2CDAE8D33}"/>
              </a:ext>
            </a:extLst>
          </p:cNvPr>
          <p:cNvSpPr txBox="1">
            <a:spLocks/>
          </p:cNvSpPr>
          <p:nvPr/>
        </p:nvSpPr>
        <p:spPr>
          <a:xfrm>
            <a:off x="315360" y="1414367"/>
            <a:ext cx="8055825" cy="4922935"/>
          </a:xfrm>
          <a:prstGeom prst="rect">
            <a:avLst/>
          </a:prstGeom>
        </p:spPr>
        <p:txBody>
          <a:bodyPr vert="horz" lIns="0" tIns="0" rIns="0" bIns="0" rtlCol="0">
            <a:noAutofit/>
          </a:bodyPr>
          <a:lstStyle>
            <a:lvl1pPr marL="355600" indent="-355600" algn="l" defTabSz="914400" rtl="0" eaLnBrk="1" latinLnBrk="0" hangingPunct="1">
              <a:lnSpc>
                <a:spcPct val="100000"/>
              </a:lnSpc>
              <a:spcBef>
                <a:spcPts val="600"/>
              </a:spcBef>
              <a:buClr>
                <a:schemeClr val="tx2"/>
              </a:buClr>
              <a:buSzPct val="60000"/>
              <a:buFontTx/>
              <a:buBlip>
                <a:blip r:embed="rId2"/>
              </a:buBlip>
              <a:defRPr sz="1800" b="1" kern="1200">
                <a:solidFill>
                  <a:schemeClr val="tx1"/>
                </a:solidFill>
                <a:latin typeface="+mn-lt"/>
                <a:ea typeface="+mn-ea"/>
                <a:cs typeface="+mn-cs"/>
              </a:defRPr>
            </a:lvl1pPr>
            <a:lvl2pPr marL="630238" indent="-274638" algn="l" defTabSz="914400" rtl="0" eaLnBrk="1" latinLnBrk="0" hangingPunct="1">
              <a:lnSpc>
                <a:spcPct val="100000"/>
              </a:lnSpc>
              <a:spcBef>
                <a:spcPts val="600"/>
              </a:spcBef>
              <a:buClr>
                <a:schemeClr val="tx1">
                  <a:lumMod val="60000"/>
                  <a:lumOff val="40000"/>
                </a:schemeClr>
              </a:buClr>
              <a:buSzPct val="40000"/>
              <a:buFontTx/>
              <a:buBlip>
                <a:blip r:embed="rId3"/>
              </a:buBlip>
              <a:defRPr sz="1800" kern="1200">
                <a:solidFill>
                  <a:schemeClr val="tx1"/>
                </a:solidFill>
                <a:latin typeface="+mn-lt"/>
                <a:ea typeface="+mn-ea"/>
                <a:cs typeface="+mn-cs"/>
              </a:defRPr>
            </a:lvl2pPr>
            <a:lvl3pPr marL="7207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893763" indent="0" algn="l" defTabSz="914400" rtl="0" eaLnBrk="1" latinLnBrk="0" hangingPunct="1">
              <a:lnSpc>
                <a:spcPct val="100000"/>
              </a:lnSpc>
              <a:spcBef>
                <a:spcPts val="600"/>
              </a:spcBef>
              <a:buFont typeface="Arial" panose="020B0604020202020204" pitchFamily="34" charset="0"/>
              <a:buNone/>
              <a:defRPr sz="120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ltLang="fr-FR" dirty="0"/>
              <a:t>Les </a:t>
            </a:r>
            <a:r>
              <a:rPr lang="fr-FR" altLang="fr-FR" b="1" dirty="0">
                <a:solidFill>
                  <a:schemeClr val="accent1"/>
                </a:solidFill>
              </a:rPr>
              <a:t>PI Objectives </a:t>
            </a:r>
            <a:r>
              <a:rPr lang="fr-FR" altLang="fr-FR" dirty="0"/>
              <a:t>sont :</a:t>
            </a:r>
          </a:p>
          <a:p>
            <a:pPr lvl="1"/>
            <a:r>
              <a:rPr lang="fr-FR" altLang="fr-FR" dirty="0"/>
              <a:t>Un </a:t>
            </a:r>
            <a:r>
              <a:rPr lang="fr-FR" altLang="fr-FR" b="1" dirty="0">
                <a:solidFill>
                  <a:schemeClr val="accent1"/>
                </a:solidFill>
              </a:rPr>
              <a:t>résumé</a:t>
            </a:r>
            <a:r>
              <a:rPr lang="fr-FR" altLang="fr-FR" b="1" dirty="0">
                <a:solidFill>
                  <a:schemeClr val="accent2"/>
                </a:solidFill>
              </a:rPr>
              <a:t> </a:t>
            </a:r>
            <a:r>
              <a:rPr lang="fr-FR" altLang="fr-FR" dirty="0"/>
              <a:t>des objectifs techniques et fonctionnels qu’une équipe Agile ou un train va essayer d’accomplir dans le prochain Program </a:t>
            </a:r>
            <a:r>
              <a:rPr lang="fr-FR" altLang="fr-FR" dirty="0" err="1"/>
              <a:t>Increment</a:t>
            </a:r>
            <a:r>
              <a:rPr lang="fr-FR" altLang="fr-FR" dirty="0"/>
              <a:t>.</a:t>
            </a:r>
          </a:p>
          <a:p>
            <a:pPr lvl="1"/>
            <a:endParaRPr lang="fr-FR" altLang="fr-FR" dirty="0"/>
          </a:p>
          <a:p>
            <a:pPr lvl="1"/>
            <a:r>
              <a:rPr lang="fr-FR" altLang="fr-FR" dirty="0"/>
              <a:t>Une </a:t>
            </a:r>
            <a:r>
              <a:rPr lang="fr-FR" altLang="fr-FR" b="1" dirty="0">
                <a:solidFill>
                  <a:schemeClr val="accent1"/>
                </a:solidFill>
              </a:rPr>
              <a:t>description Métier </a:t>
            </a:r>
            <a:r>
              <a:rPr lang="fr-FR" altLang="fr-FR" dirty="0"/>
              <a:t>:</a:t>
            </a:r>
          </a:p>
          <a:p>
            <a:pPr lvl="2"/>
            <a:r>
              <a:rPr lang="fr-FR" altLang="fr-FR" dirty="0"/>
              <a:t>Reformulation de </a:t>
            </a:r>
            <a:r>
              <a:rPr lang="fr-FR" altLang="fr-FR" dirty="0" err="1"/>
              <a:t>Feature</a:t>
            </a:r>
            <a:endParaRPr lang="fr-FR" altLang="fr-FR" dirty="0"/>
          </a:p>
          <a:p>
            <a:pPr lvl="2"/>
            <a:r>
              <a:rPr lang="fr-FR" altLang="fr-FR" dirty="0"/>
              <a:t>Un jalon (démo stratégique)</a:t>
            </a:r>
          </a:p>
          <a:p>
            <a:pPr lvl="2"/>
            <a:r>
              <a:rPr lang="fr-FR" altLang="fr-FR" dirty="0"/>
              <a:t>Une amélioration ou un POC à mettre en œuvre </a:t>
            </a:r>
          </a:p>
          <a:p>
            <a:pPr lvl="1"/>
            <a:endParaRPr lang="fr-FR" altLang="fr-FR" dirty="0"/>
          </a:p>
          <a:p>
            <a:pPr lvl="1"/>
            <a:r>
              <a:rPr lang="fr-FR" altLang="fr-FR" b="1" dirty="0">
                <a:solidFill>
                  <a:schemeClr val="accent1"/>
                </a:solidFill>
              </a:rPr>
              <a:t>Valorisés </a:t>
            </a:r>
            <a:r>
              <a:rPr lang="fr-FR" altLang="fr-FR" dirty="0"/>
              <a:t>par le Métier lors du PI Planning :</a:t>
            </a:r>
          </a:p>
          <a:p>
            <a:pPr lvl="2"/>
            <a:r>
              <a:rPr lang="fr-FR" altLang="fr-FR" dirty="0"/>
              <a:t>Evalués de 1 (moins important) à 10 (super important)</a:t>
            </a:r>
          </a:p>
          <a:p>
            <a:pPr lvl="1"/>
            <a:endParaRPr lang="fr-FR" altLang="fr-FR" dirty="0"/>
          </a:p>
          <a:p>
            <a:pPr lvl="1"/>
            <a:r>
              <a:rPr lang="fr-FR" altLang="fr-FR" dirty="0"/>
              <a:t>Ils incluent des </a:t>
            </a:r>
            <a:r>
              <a:rPr lang="fr-FR" altLang="fr-FR" b="1" dirty="0">
                <a:solidFill>
                  <a:schemeClr val="accent1"/>
                </a:solidFill>
              </a:rPr>
              <a:t>Stretch Objectives</a:t>
            </a:r>
            <a:r>
              <a:rPr lang="fr-FR" altLang="fr-FR" dirty="0"/>
              <a:t> – </a:t>
            </a:r>
            <a:r>
              <a:rPr lang="fr-FR" altLang="fr-FR" b="1" dirty="0">
                <a:solidFill>
                  <a:schemeClr val="accent1"/>
                </a:solidFill>
              </a:rPr>
              <a:t>Objectifs étendus</a:t>
            </a:r>
          </a:p>
          <a:p>
            <a:pPr lvl="2"/>
            <a:r>
              <a:rPr lang="fr-FR" altLang="fr-FR" dirty="0"/>
              <a:t>Permet de discuter avec le métier dès le lancement du PI des chose qui peuvent ne pas être réalisées</a:t>
            </a:r>
          </a:p>
          <a:p>
            <a:pPr lvl="2"/>
            <a:r>
              <a:rPr lang="fr-FR" altLang="fr-FR" dirty="0"/>
              <a:t>Ils font parti de l’estimation de charge mais pas de l’engagement de l’équipe</a:t>
            </a:r>
          </a:p>
        </p:txBody>
      </p:sp>
      <p:grpSp>
        <p:nvGrpSpPr>
          <p:cNvPr id="2" name="Groupe 1">
            <a:extLst>
              <a:ext uri="{FF2B5EF4-FFF2-40B4-BE49-F238E27FC236}">
                <a16:creationId xmlns:a16="http://schemas.microsoft.com/office/drawing/2014/main" id="{C285322F-8537-49E7-AC33-D90A1A9D0D8F}"/>
              </a:ext>
            </a:extLst>
          </p:cNvPr>
          <p:cNvGrpSpPr/>
          <p:nvPr/>
        </p:nvGrpSpPr>
        <p:grpSpPr>
          <a:xfrm>
            <a:off x="8018081" y="2476364"/>
            <a:ext cx="3858559" cy="2995482"/>
            <a:chOff x="7494025" y="2204864"/>
            <a:chExt cx="3858559" cy="2995482"/>
          </a:xfrm>
        </p:grpSpPr>
        <p:pic>
          <p:nvPicPr>
            <p:cNvPr id="14" name="Picture 262" descr="sticky-green.png">
              <a:extLst>
                <a:ext uri="{FF2B5EF4-FFF2-40B4-BE49-F238E27FC236}">
                  <a16:creationId xmlns:a16="http://schemas.microsoft.com/office/drawing/2014/main" id="{43985771-0225-4F69-B711-B24163208D0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94025" y="2204864"/>
              <a:ext cx="1718668" cy="1335996"/>
            </a:xfrm>
            <a:prstGeom prst="rect">
              <a:avLst/>
            </a:prstGeom>
          </p:spPr>
        </p:pic>
        <p:sp>
          <p:nvSpPr>
            <p:cNvPr id="16" name="ZoneTexte 15">
              <a:extLst>
                <a:ext uri="{FF2B5EF4-FFF2-40B4-BE49-F238E27FC236}">
                  <a16:creationId xmlns:a16="http://schemas.microsoft.com/office/drawing/2014/main" id="{F244FFD8-F401-4DEE-A87F-DAA44ABD7466}"/>
                </a:ext>
              </a:extLst>
            </p:cNvPr>
            <p:cNvSpPr txBox="1"/>
            <p:nvPr/>
          </p:nvSpPr>
          <p:spPr>
            <a:xfrm>
              <a:off x="7494025" y="2204864"/>
              <a:ext cx="1266758" cy="276999"/>
            </a:xfrm>
            <a:prstGeom prst="rect">
              <a:avLst/>
            </a:prstGeom>
            <a:noFill/>
          </p:spPr>
          <p:txBody>
            <a:bodyPr wrap="square" rtlCol="0">
              <a:spAutoFit/>
            </a:bodyPr>
            <a:lstStyle/>
            <a:p>
              <a:r>
                <a:rPr lang="fr-FR" sz="1200" b="1" dirty="0">
                  <a:solidFill>
                    <a:schemeClr val="bg1"/>
                  </a:solidFill>
                  <a:latin typeface="+mn-lt"/>
                  <a:cs typeface="+mn-cs"/>
                </a:rPr>
                <a:t>Objectif #1</a:t>
              </a:r>
            </a:p>
          </p:txBody>
        </p:sp>
        <p:sp>
          <p:nvSpPr>
            <p:cNvPr id="17" name="ZoneTexte 16">
              <a:extLst>
                <a:ext uri="{FF2B5EF4-FFF2-40B4-BE49-F238E27FC236}">
                  <a16:creationId xmlns:a16="http://schemas.microsoft.com/office/drawing/2014/main" id="{83F4DBCC-182C-40B7-935B-B95EA74D99B7}"/>
                </a:ext>
              </a:extLst>
            </p:cNvPr>
            <p:cNvSpPr txBox="1"/>
            <p:nvPr/>
          </p:nvSpPr>
          <p:spPr>
            <a:xfrm>
              <a:off x="7494025" y="2443488"/>
              <a:ext cx="1440160" cy="646331"/>
            </a:xfrm>
            <a:prstGeom prst="rect">
              <a:avLst/>
            </a:prstGeom>
            <a:noFill/>
          </p:spPr>
          <p:txBody>
            <a:bodyPr wrap="square" rtlCol="0">
              <a:spAutoFit/>
            </a:bodyPr>
            <a:lstStyle/>
            <a:p>
              <a:r>
                <a:rPr lang="fr-FR" sz="1200" dirty="0">
                  <a:solidFill>
                    <a:schemeClr val="bg1"/>
                  </a:solidFill>
                </a:rPr>
                <a:t>Permettre le paiement en ligne des livres choisis.</a:t>
              </a:r>
            </a:p>
          </p:txBody>
        </p:sp>
        <p:pic>
          <p:nvPicPr>
            <p:cNvPr id="21" name="Picture 262" descr="sticky-green.png">
              <a:extLst>
                <a:ext uri="{FF2B5EF4-FFF2-40B4-BE49-F238E27FC236}">
                  <a16:creationId xmlns:a16="http://schemas.microsoft.com/office/drawing/2014/main" id="{FEEB84F3-216D-4DEE-9044-CA9C35AE731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30145" y="2204864"/>
              <a:ext cx="1718668" cy="1335996"/>
            </a:xfrm>
            <a:prstGeom prst="rect">
              <a:avLst/>
            </a:prstGeom>
          </p:spPr>
        </p:pic>
        <p:sp>
          <p:nvSpPr>
            <p:cNvPr id="22" name="ZoneTexte 21">
              <a:extLst>
                <a:ext uri="{FF2B5EF4-FFF2-40B4-BE49-F238E27FC236}">
                  <a16:creationId xmlns:a16="http://schemas.microsoft.com/office/drawing/2014/main" id="{8E3C165C-7FC3-4501-B3A9-C5B62A7FC5EE}"/>
                </a:ext>
              </a:extLst>
            </p:cNvPr>
            <p:cNvSpPr txBox="1"/>
            <p:nvPr/>
          </p:nvSpPr>
          <p:spPr>
            <a:xfrm>
              <a:off x="9630145" y="2204864"/>
              <a:ext cx="1266758" cy="276999"/>
            </a:xfrm>
            <a:prstGeom prst="rect">
              <a:avLst/>
            </a:prstGeom>
            <a:noFill/>
          </p:spPr>
          <p:txBody>
            <a:bodyPr wrap="square" rtlCol="0">
              <a:spAutoFit/>
            </a:bodyPr>
            <a:lstStyle/>
            <a:p>
              <a:r>
                <a:rPr lang="fr-FR" sz="1200" b="1" dirty="0">
                  <a:solidFill>
                    <a:schemeClr val="bg1"/>
                  </a:solidFill>
                  <a:latin typeface="+mn-lt"/>
                  <a:cs typeface="+mn-cs"/>
                </a:rPr>
                <a:t>Objectif #2</a:t>
              </a:r>
            </a:p>
          </p:txBody>
        </p:sp>
        <p:sp>
          <p:nvSpPr>
            <p:cNvPr id="23" name="ZoneTexte 22">
              <a:extLst>
                <a:ext uri="{FF2B5EF4-FFF2-40B4-BE49-F238E27FC236}">
                  <a16:creationId xmlns:a16="http://schemas.microsoft.com/office/drawing/2014/main" id="{C59A3541-5C42-4F38-8265-58EDA6EFBFB3}"/>
                </a:ext>
              </a:extLst>
            </p:cNvPr>
            <p:cNvSpPr txBox="1"/>
            <p:nvPr/>
          </p:nvSpPr>
          <p:spPr>
            <a:xfrm>
              <a:off x="9623998" y="2418891"/>
              <a:ext cx="1440160" cy="646331"/>
            </a:xfrm>
            <a:prstGeom prst="rect">
              <a:avLst/>
            </a:prstGeom>
            <a:noFill/>
          </p:spPr>
          <p:txBody>
            <a:bodyPr wrap="square" rtlCol="0">
              <a:spAutoFit/>
            </a:bodyPr>
            <a:lstStyle/>
            <a:p>
              <a:r>
                <a:rPr lang="fr-FR" sz="1200" dirty="0">
                  <a:solidFill>
                    <a:schemeClr val="bg1"/>
                  </a:solidFill>
                </a:rPr>
                <a:t>Rendre opérationnelle la recherche par titre.</a:t>
              </a:r>
            </a:p>
          </p:txBody>
        </p:sp>
        <p:pic>
          <p:nvPicPr>
            <p:cNvPr id="24" name="Picture 262" descr="sticky-green.png">
              <a:extLst>
                <a:ext uri="{FF2B5EF4-FFF2-40B4-BE49-F238E27FC236}">
                  <a16:creationId xmlns:a16="http://schemas.microsoft.com/office/drawing/2014/main" id="{02D5FF05-D2B8-446B-BCB4-CA2478D52C7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01567" y="3857597"/>
              <a:ext cx="1718668" cy="1335996"/>
            </a:xfrm>
            <a:prstGeom prst="rect">
              <a:avLst/>
            </a:prstGeom>
          </p:spPr>
        </p:pic>
        <p:sp>
          <p:nvSpPr>
            <p:cNvPr id="25" name="ZoneTexte 24">
              <a:extLst>
                <a:ext uri="{FF2B5EF4-FFF2-40B4-BE49-F238E27FC236}">
                  <a16:creationId xmlns:a16="http://schemas.microsoft.com/office/drawing/2014/main" id="{B963E08D-BD26-43A5-98C4-270622959C4D}"/>
                </a:ext>
              </a:extLst>
            </p:cNvPr>
            <p:cNvSpPr txBox="1"/>
            <p:nvPr/>
          </p:nvSpPr>
          <p:spPr>
            <a:xfrm>
              <a:off x="7501567" y="3857597"/>
              <a:ext cx="1266758" cy="276999"/>
            </a:xfrm>
            <a:prstGeom prst="rect">
              <a:avLst/>
            </a:prstGeom>
            <a:noFill/>
          </p:spPr>
          <p:txBody>
            <a:bodyPr wrap="square" rtlCol="0">
              <a:spAutoFit/>
            </a:bodyPr>
            <a:lstStyle/>
            <a:p>
              <a:r>
                <a:rPr lang="fr-FR" sz="1200" b="1" dirty="0">
                  <a:solidFill>
                    <a:schemeClr val="bg1"/>
                  </a:solidFill>
                  <a:latin typeface="+mn-lt"/>
                  <a:cs typeface="+mn-cs"/>
                </a:rPr>
                <a:t>Objectif #3</a:t>
              </a:r>
            </a:p>
          </p:txBody>
        </p:sp>
        <p:sp>
          <p:nvSpPr>
            <p:cNvPr id="26" name="ZoneTexte 25">
              <a:extLst>
                <a:ext uri="{FF2B5EF4-FFF2-40B4-BE49-F238E27FC236}">
                  <a16:creationId xmlns:a16="http://schemas.microsoft.com/office/drawing/2014/main" id="{CA783C3D-FE2E-42FB-8F85-0A6A2DC2C324}"/>
                </a:ext>
              </a:extLst>
            </p:cNvPr>
            <p:cNvSpPr txBox="1"/>
            <p:nvPr/>
          </p:nvSpPr>
          <p:spPr>
            <a:xfrm>
              <a:off x="7501567" y="4096221"/>
              <a:ext cx="1440160" cy="646331"/>
            </a:xfrm>
            <a:prstGeom prst="rect">
              <a:avLst/>
            </a:prstGeom>
            <a:noFill/>
          </p:spPr>
          <p:txBody>
            <a:bodyPr wrap="square" rtlCol="0">
              <a:spAutoFit/>
            </a:bodyPr>
            <a:lstStyle/>
            <a:p>
              <a:r>
                <a:rPr lang="fr-FR" sz="1200" dirty="0">
                  <a:solidFill>
                    <a:schemeClr val="bg1"/>
                  </a:solidFill>
                </a:rPr>
                <a:t>Permettre au client de noter le livre qu’il a acheté.</a:t>
              </a:r>
            </a:p>
          </p:txBody>
        </p:sp>
        <p:pic>
          <p:nvPicPr>
            <p:cNvPr id="27" name="Picture 262" descr="sticky-green.png">
              <a:extLst>
                <a:ext uri="{FF2B5EF4-FFF2-40B4-BE49-F238E27FC236}">
                  <a16:creationId xmlns:a16="http://schemas.microsoft.com/office/drawing/2014/main" id="{B1FEB06D-FBF2-4D7B-8064-4EB72BCE2F3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33916" y="3864350"/>
              <a:ext cx="1718668" cy="1335996"/>
            </a:xfrm>
            <a:prstGeom prst="rect">
              <a:avLst/>
            </a:prstGeom>
          </p:spPr>
        </p:pic>
        <p:sp>
          <p:nvSpPr>
            <p:cNvPr id="28" name="ZoneTexte 27">
              <a:extLst>
                <a:ext uri="{FF2B5EF4-FFF2-40B4-BE49-F238E27FC236}">
                  <a16:creationId xmlns:a16="http://schemas.microsoft.com/office/drawing/2014/main" id="{42FB008E-21B2-4FF0-AAF1-2F51699787E7}"/>
                </a:ext>
              </a:extLst>
            </p:cNvPr>
            <p:cNvSpPr txBox="1"/>
            <p:nvPr/>
          </p:nvSpPr>
          <p:spPr>
            <a:xfrm>
              <a:off x="9633916" y="3864350"/>
              <a:ext cx="1266758" cy="276999"/>
            </a:xfrm>
            <a:prstGeom prst="rect">
              <a:avLst/>
            </a:prstGeom>
            <a:noFill/>
          </p:spPr>
          <p:txBody>
            <a:bodyPr wrap="square" rtlCol="0">
              <a:spAutoFit/>
            </a:bodyPr>
            <a:lstStyle/>
            <a:p>
              <a:r>
                <a:rPr lang="fr-FR" sz="1200" b="1" dirty="0">
                  <a:solidFill>
                    <a:schemeClr val="bg1"/>
                  </a:solidFill>
                  <a:latin typeface="+mn-lt"/>
                  <a:cs typeface="+mn-cs"/>
                </a:rPr>
                <a:t>Objectif #4</a:t>
              </a:r>
            </a:p>
          </p:txBody>
        </p:sp>
        <p:sp>
          <p:nvSpPr>
            <p:cNvPr id="29" name="ZoneTexte 28">
              <a:extLst>
                <a:ext uri="{FF2B5EF4-FFF2-40B4-BE49-F238E27FC236}">
                  <a16:creationId xmlns:a16="http://schemas.microsoft.com/office/drawing/2014/main" id="{B1811DC8-CA96-41AC-AA70-53D549606C13}"/>
                </a:ext>
              </a:extLst>
            </p:cNvPr>
            <p:cNvSpPr txBox="1"/>
            <p:nvPr/>
          </p:nvSpPr>
          <p:spPr>
            <a:xfrm>
              <a:off x="9633915" y="4102974"/>
              <a:ext cx="1546761" cy="646331"/>
            </a:xfrm>
            <a:prstGeom prst="rect">
              <a:avLst/>
            </a:prstGeom>
            <a:noFill/>
          </p:spPr>
          <p:txBody>
            <a:bodyPr wrap="square" rtlCol="0">
              <a:spAutoFit/>
            </a:bodyPr>
            <a:lstStyle/>
            <a:p>
              <a:r>
                <a:rPr lang="fr-FR" sz="1200" dirty="0">
                  <a:solidFill>
                    <a:schemeClr val="bg1"/>
                  </a:solidFill>
                </a:rPr>
                <a:t>Elargir la recherche par titre au mot approchant.</a:t>
              </a:r>
            </a:p>
          </p:txBody>
        </p:sp>
        <p:sp>
          <p:nvSpPr>
            <p:cNvPr id="30" name="ZoneTexte 29">
              <a:extLst>
                <a:ext uri="{FF2B5EF4-FFF2-40B4-BE49-F238E27FC236}">
                  <a16:creationId xmlns:a16="http://schemas.microsoft.com/office/drawing/2014/main" id="{670AD4FA-786A-413D-AD12-B0470DB9A7AA}"/>
                </a:ext>
              </a:extLst>
            </p:cNvPr>
            <p:cNvSpPr txBox="1"/>
            <p:nvPr/>
          </p:nvSpPr>
          <p:spPr>
            <a:xfrm>
              <a:off x="8551431" y="3110937"/>
              <a:ext cx="301686" cy="369332"/>
            </a:xfrm>
            <a:prstGeom prst="rect">
              <a:avLst/>
            </a:prstGeom>
            <a:noFill/>
          </p:spPr>
          <p:txBody>
            <a:bodyPr wrap="none" rtlCol="0">
              <a:spAutoFit/>
            </a:bodyPr>
            <a:lstStyle/>
            <a:p>
              <a:r>
                <a:rPr lang="fr-FR" b="1" dirty="0">
                  <a:solidFill>
                    <a:srgbClr val="FFFF00"/>
                  </a:solidFill>
                </a:rPr>
                <a:t>9</a:t>
              </a:r>
            </a:p>
          </p:txBody>
        </p:sp>
        <p:sp>
          <p:nvSpPr>
            <p:cNvPr id="31" name="ZoneTexte 30">
              <a:extLst>
                <a:ext uri="{FF2B5EF4-FFF2-40B4-BE49-F238E27FC236}">
                  <a16:creationId xmlns:a16="http://schemas.microsoft.com/office/drawing/2014/main" id="{FA641A91-1072-432E-B38C-1D48F10EA693}"/>
                </a:ext>
              </a:extLst>
            </p:cNvPr>
            <p:cNvSpPr txBox="1"/>
            <p:nvPr/>
          </p:nvSpPr>
          <p:spPr>
            <a:xfrm>
              <a:off x="10687551" y="3130409"/>
              <a:ext cx="301686" cy="369332"/>
            </a:xfrm>
            <a:prstGeom prst="rect">
              <a:avLst/>
            </a:prstGeom>
            <a:noFill/>
          </p:spPr>
          <p:txBody>
            <a:bodyPr wrap="none" rtlCol="0">
              <a:spAutoFit/>
            </a:bodyPr>
            <a:lstStyle/>
            <a:p>
              <a:r>
                <a:rPr lang="fr-FR" b="1" dirty="0">
                  <a:solidFill>
                    <a:srgbClr val="FFFF00"/>
                  </a:solidFill>
                </a:rPr>
                <a:t>9</a:t>
              </a:r>
            </a:p>
          </p:txBody>
        </p:sp>
        <p:sp>
          <p:nvSpPr>
            <p:cNvPr id="32" name="ZoneTexte 31">
              <a:extLst>
                <a:ext uri="{FF2B5EF4-FFF2-40B4-BE49-F238E27FC236}">
                  <a16:creationId xmlns:a16="http://schemas.microsoft.com/office/drawing/2014/main" id="{58A2E972-8E1B-4868-94D3-AFC919F41806}"/>
                </a:ext>
              </a:extLst>
            </p:cNvPr>
            <p:cNvSpPr txBox="1"/>
            <p:nvPr/>
          </p:nvSpPr>
          <p:spPr>
            <a:xfrm>
              <a:off x="8634907" y="4754327"/>
              <a:ext cx="301686" cy="369332"/>
            </a:xfrm>
            <a:prstGeom prst="rect">
              <a:avLst/>
            </a:prstGeom>
            <a:noFill/>
          </p:spPr>
          <p:txBody>
            <a:bodyPr wrap="none" rtlCol="0">
              <a:spAutoFit/>
            </a:bodyPr>
            <a:lstStyle/>
            <a:p>
              <a:r>
                <a:rPr lang="fr-FR" b="1" dirty="0">
                  <a:solidFill>
                    <a:srgbClr val="FFFF00"/>
                  </a:solidFill>
                </a:rPr>
                <a:t>5</a:t>
              </a:r>
            </a:p>
          </p:txBody>
        </p:sp>
        <p:sp>
          <p:nvSpPr>
            <p:cNvPr id="33" name="ZoneTexte 32">
              <a:extLst>
                <a:ext uri="{FF2B5EF4-FFF2-40B4-BE49-F238E27FC236}">
                  <a16:creationId xmlns:a16="http://schemas.microsoft.com/office/drawing/2014/main" id="{60865D06-20B8-4FA8-93F2-8D03921E2BAA}"/>
                </a:ext>
              </a:extLst>
            </p:cNvPr>
            <p:cNvSpPr txBox="1"/>
            <p:nvPr/>
          </p:nvSpPr>
          <p:spPr>
            <a:xfrm>
              <a:off x="10746060" y="4770427"/>
              <a:ext cx="301686" cy="369332"/>
            </a:xfrm>
            <a:prstGeom prst="rect">
              <a:avLst/>
            </a:prstGeom>
            <a:noFill/>
          </p:spPr>
          <p:txBody>
            <a:bodyPr wrap="none" rtlCol="0">
              <a:spAutoFit/>
            </a:bodyPr>
            <a:lstStyle/>
            <a:p>
              <a:r>
                <a:rPr lang="fr-FR" b="1" dirty="0">
                  <a:solidFill>
                    <a:srgbClr val="FFFF00"/>
                  </a:solidFill>
                </a:rPr>
                <a:t>4</a:t>
              </a:r>
            </a:p>
          </p:txBody>
        </p:sp>
      </p:grpSp>
    </p:spTree>
    <p:extLst>
      <p:ext uri="{BB962C8B-B14F-4D97-AF65-F5344CB8AC3E}">
        <p14:creationId xmlns:p14="http://schemas.microsoft.com/office/powerpoint/2010/main" val="21365413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41</a:t>
            </a:fld>
            <a:endParaRPr lang="fr-FR" dirty="0"/>
          </a:p>
        </p:txBody>
      </p:sp>
      <p:sp>
        <p:nvSpPr>
          <p:cNvPr id="5" name="Espace réservé du texte 4"/>
          <p:cNvSpPr>
            <a:spLocks noGrp="1"/>
          </p:cNvSpPr>
          <p:nvPr>
            <p:ph type="body" idx="1"/>
          </p:nvPr>
        </p:nvSpPr>
        <p:spPr/>
        <p:txBody>
          <a:bodyPr/>
          <a:lstStyle/>
          <a:p>
            <a:r>
              <a:rPr lang="fr-FR" dirty="0"/>
              <a:t>PI Planning – Agenda Jour 1</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grpSp>
        <p:nvGrpSpPr>
          <p:cNvPr id="26" name="Groupe 25">
            <a:extLst>
              <a:ext uri="{FF2B5EF4-FFF2-40B4-BE49-F238E27FC236}">
                <a16:creationId xmlns:a16="http://schemas.microsoft.com/office/drawing/2014/main" id="{631CA4D8-643B-4D36-B6F2-2B316518AE3D}"/>
              </a:ext>
            </a:extLst>
          </p:cNvPr>
          <p:cNvGrpSpPr/>
          <p:nvPr/>
        </p:nvGrpSpPr>
        <p:grpSpPr>
          <a:xfrm>
            <a:off x="1811101" y="1439559"/>
            <a:ext cx="8139925" cy="4971890"/>
            <a:chOff x="1391477" y="1108648"/>
            <a:chExt cx="8795524" cy="5349216"/>
          </a:xfrm>
        </p:grpSpPr>
        <p:pic>
          <p:nvPicPr>
            <p:cNvPr id="19" name="Image 18">
              <a:extLst>
                <a:ext uri="{FF2B5EF4-FFF2-40B4-BE49-F238E27FC236}">
                  <a16:creationId xmlns:a16="http://schemas.microsoft.com/office/drawing/2014/main" id="{4ED9F2D8-D9E2-4384-901E-B46B9A6E2C7F}"/>
                </a:ext>
              </a:extLst>
            </p:cNvPr>
            <p:cNvPicPr>
              <a:picLocks noChangeAspect="1"/>
            </p:cNvPicPr>
            <p:nvPr/>
          </p:nvPicPr>
          <p:blipFill>
            <a:blip r:embed="rId2"/>
            <a:stretch>
              <a:fillRect/>
            </a:stretch>
          </p:blipFill>
          <p:spPr>
            <a:xfrm>
              <a:off x="1391477" y="1108648"/>
              <a:ext cx="8795524" cy="5200673"/>
            </a:xfrm>
            <a:prstGeom prst="rect">
              <a:avLst/>
            </a:prstGeom>
          </p:spPr>
        </p:pic>
        <p:sp>
          <p:nvSpPr>
            <p:cNvPr id="20" name="Rectangle 19">
              <a:extLst>
                <a:ext uri="{FF2B5EF4-FFF2-40B4-BE49-F238E27FC236}">
                  <a16:creationId xmlns:a16="http://schemas.microsoft.com/office/drawing/2014/main" id="{A7E0E0BF-96F8-472E-BF54-10CB2C463E31}"/>
                </a:ext>
              </a:extLst>
            </p:cNvPr>
            <p:cNvSpPr/>
            <p:nvPr/>
          </p:nvSpPr>
          <p:spPr>
            <a:xfrm>
              <a:off x="1391477" y="3717032"/>
              <a:ext cx="8795524" cy="1368152"/>
            </a:xfrm>
            <a:prstGeom prst="rect">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1" name="Rectangle 20">
              <a:extLst>
                <a:ext uri="{FF2B5EF4-FFF2-40B4-BE49-F238E27FC236}">
                  <a16:creationId xmlns:a16="http://schemas.microsoft.com/office/drawing/2014/main" id="{48E97518-AC05-4E69-93A4-BE0B7C548132}"/>
                </a:ext>
              </a:extLst>
            </p:cNvPr>
            <p:cNvSpPr/>
            <p:nvPr/>
          </p:nvSpPr>
          <p:spPr>
            <a:xfrm>
              <a:off x="1391477" y="5040840"/>
              <a:ext cx="8795524" cy="1417024"/>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22" name="Rectangle à coins arrondis 7">
            <a:extLst>
              <a:ext uri="{FF2B5EF4-FFF2-40B4-BE49-F238E27FC236}">
                <a16:creationId xmlns:a16="http://schemas.microsoft.com/office/drawing/2014/main" id="{4722157D-A328-46EB-B991-B42CF3F0CA0D}"/>
              </a:ext>
            </a:extLst>
          </p:cNvPr>
          <p:cNvSpPr/>
          <p:nvPr/>
        </p:nvSpPr>
        <p:spPr>
          <a:xfrm>
            <a:off x="332018" y="3277432"/>
            <a:ext cx="2855640" cy="1296144"/>
          </a:xfrm>
          <a:prstGeom prst="wedgeRoundRectCallout">
            <a:avLst>
              <a:gd name="adj1" fmla="val 41176"/>
              <a:gd name="adj2" fmla="val 110651"/>
              <a:gd name="adj3" fmla="val 16667"/>
            </a:avLst>
          </a:prstGeom>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fr-FR" dirty="0"/>
              <a:t>On présente son Project </a:t>
            </a:r>
            <a:r>
              <a:rPr lang="fr-FR" dirty="0" err="1"/>
              <a:t>Board</a:t>
            </a:r>
            <a:r>
              <a:rPr lang="fr-FR" dirty="0"/>
              <a:t> à toute la salle.</a:t>
            </a:r>
          </a:p>
        </p:txBody>
      </p:sp>
      <p:sp>
        <p:nvSpPr>
          <p:cNvPr id="23" name="Rectangle à coins arrondis 10">
            <a:extLst>
              <a:ext uri="{FF2B5EF4-FFF2-40B4-BE49-F238E27FC236}">
                <a16:creationId xmlns:a16="http://schemas.microsoft.com/office/drawing/2014/main" id="{7DEBA76C-34BE-4354-9D48-95176BA0137A}"/>
              </a:ext>
            </a:extLst>
          </p:cNvPr>
          <p:cNvSpPr/>
          <p:nvPr/>
        </p:nvSpPr>
        <p:spPr>
          <a:xfrm>
            <a:off x="8064419" y="3286697"/>
            <a:ext cx="4055913" cy="1485970"/>
          </a:xfrm>
          <a:prstGeom prst="wedgeRoundRectCallout">
            <a:avLst>
              <a:gd name="adj1" fmla="val -48787"/>
              <a:gd name="adj2" fmla="val 119609"/>
              <a:gd name="adj3" fmla="val 16667"/>
            </a:avLst>
          </a:prstGeom>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fr-FR" dirty="0"/>
              <a:t>Le Métier et le RTE restent travailler tard ensuite pour analyser et prendre les décisions adéquates (priorisation, ajustements de périmètre, …)</a:t>
            </a:r>
          </a:p>
        </p:txBody>
      </p:sp>
      <p:pic>
        <p:nvPicPr>
          <p:cNvPr id="24" name="Image 23">
            <a:extLst>
              <a:ext uri="{FF2B5EF4-FFF2-40B4-BE49-F238E27FC236}">
                <a16:creationId xmlns:a16="http://schemas.microsoft.com/office/drawing/2014/main" id="{05BBE8A5-5B58-4E63-B788-F2C99D4A0B3E}"/>
              </a:ext>
            </a:extLst>
          </p:cNvPr>
          <p:cNvPicPr>
            <a:picLocks noChangeAspect="1"/>
          </p:cNvPicPr>
          <p:nvPr/>
        </p:nvPicPr>
        <p:blipFill>
          <a:blip r:embed="rId3"/>
          <a:stretch>
            <a:fillRect/>
          </a:stretch>
        </p:blipFill>
        <p:spPr>
          <a:xfrm>
            <a:off x="10420052" y="5093534"/>
            <a:ext cx="1576722" cy="1106059"/>
          </a:xfrm>
          <a:prstGeom prst="rect">
            <a:avLst/>
          </a:prstGeom>
        </p:spPr>
      </p:pic>
    </p:spTree>
    <p:extLst>
      <p:ext uri="{BB962C8B-B14F-4D97-AF65-F5344CB8AC3E}">
        <p14:creationId xmlns:p14="http://schemas.microsoft.com/office/powerpoint/2010/main" val="334476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p:cTn id="7" dur="1000" fill="hold"/>
                                        <p:tgtEl>
                                          <p:spTgt spid="22"/>
                                        </p:tgtEl>
                                        <p:attrNameLst>
                                          <p:attrName>ppt_w</p:attrName>
                                        </p:attrNameLst>
                                      </p:cBhvr>
                                      <p:tavLst>
                                        <p:tav tm="0">
                                          <p:val>
                                            <p:fltVal val="0"/>
                                          </p:val>
                                        </p:tav>
                                        <p:tav tm="100000">
                                          <p:val>
                                            <p:strVal val="#ppt_w"/>
                                          </p:val>
                                        </p:tav>
                                      </p:tavLst>
                                    </p:anim>
                                    <p:anim calcmode="lin" valueType="num">
                                      <p:cBhvr>
                                        <p:cTn id="8" dur="1000" fill="hold"/>
                                        <p:tgtEl>
                                          <p:spTgt spid="22"/>
                                        </p:tgtEl>
                                        <p:attrNameLst>
                                          <p:attrName>ppt_h</p:attrName>
                                        </p:attrNameLst>
                                      </p:cBhvr>
                                      <p:tavLst>
                                        <p:tav tm="0">
                                          <p:val>
                                            <p:fltVal val="0"/>
                                          </p:val>
                                        </p:tav>
                                        <p:tav tm="100000">
                                          <p:val>
                                            <p:strVal val="#ppt_h"/>
                                          </p:val>
                                        </p:tav>
                                      </p:tavLst>
                                    </p:anim>
                                    <p:animEffect transition="in" filter="fade">
                                      <p:cBhvr>
                                        <p:cTn id="9" dur="1000"/>
                                        <p:tgtEl>
                                          <p:spTgt spid="22"/>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23"/>
                                        </p:tgtEl>
                                        <p:attrNameLst>
                                          <p:attrName>style.visibility</p:attrName>
                                        </p:attrNameLst>
                                      </p:cBhvr>
                                      <p:to>
                                        <p:strVal val="visible"/>
                                      </p:to>
                                    </p:set>
                                    <p:anim calcmode="lin" valueType="num">
                                      <p:cBhvr>
                                        <p:cTn id="14" dur="1000" fill="hold"/>
                                        <p:tgtEl>
                                          <p:spTgt spid="23"/>
                                        </p:tgtEl>
                                        <p:attrNameLst>
                                          <p:attrName>ppt_w</p:attrName>
                                        </p:attrNameLst>
                                      </p:cBhvr>
                                      <p:tavLst>
                                        <p:tav tm="0">
                                          <p:val>
                                            <p:fltVal val="0"/>
                                          </p:val>
                                        </p:tav>
                                        <p:tav tm="100000">
                                          <p:val>
                                            <p:strVal val="#ppt_w"/>
                                          </p:val>
                                        </p:tav>
                                      </p:tavLst>
                                    </p:anim>
                                    <p:anim calcmode="lin" valueType="num">
                                      <p:cBhvr>
                                        <p:cTn id="15" dur="1000" fill="hold"/>
                                        <p:tgtEl>
                                          <p:spTgt spid="23"/>
                                        </p:tgtEl>
                                        <p:attrNameLst>
                                          <p:attrName>ppt_h</p:attrName>
                                        </p:attrNameLst>
                                      </p:cBhvr>
                                      <p:tavLst>
                                        <p:tav tm="0">
                                          <p:val>
                                            <p:fltVal val="0"/>
                                          </p:val>
                                        </p:tav>
                                        <p:tav tm="100000">
                                          <p:val>
                                            <p:strVal val="#ppt_h"/>
                                          </p:val>
                                        </p:tav>
                                      </p:tavLst>
                                    </p:anim>
                                    <p:animEffect transition="in" filter="fade">
                                      <p:cBhvr>
                                        <p:cTn id="16" dur="1000"/>
                                        <p:tgtEl>
                                          <p:spTgt spid="23"/>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24"/>
                                        </p:tgtEl>
                                        <p:attrNameLst>
                                          <p:attrName>style.visibility</p:attrName>
                                        </p:attrNameLst>
                                      </p:cBhvr>
                                      <p:to>
                                        <p:strVal val="visible"/>
                                      </p:to>
                                    </p:set>
                                    <p:anim calcmode="lin" valueType="num">
                                      <p:cBhvr>
                                        <p:cTn id="21" dur="2000" fill="hold"/>
                                        <p:tgtEl>
                                          <p:spTgt spid="24"/>
                                        </p:tgtEl>
                                        <p:attrNameLst>
                                          <p:attrName>ppt_w</p:attrName>
                                        </p:attrNameLst>
                                      </p:cBhvr>
                                      <p:tavLst>
                                        <p:tav tm="0">
                                          <p:val>
                                            <p:fltVal val="0"/>
                                          </p:val>
                                        </p:tav>
                                        <p:tav tm="100000">
                                          <p:val>
                                            <p:strVal val="#ppt_w"/>
                                          </p:val>
                                        </p:tav>
                                      </p:tavLst>
                                    </p:anim>
                                    <p:anim calcmode="lin" valueType="num">
                                      <p:cBhvr>
                                        <p:cTn id="22" dur="2000" fill="hold"/>
                                        <p:tgtEl>
                                          <p:spTgt spid="24"/>
                                        </p:tgtEl>
                                        <p:attrNameLst>
                                          <p:attrName>ppt_h</p:attrName>
                                        </p:attrNameLst>
                                      </p:cBhvr>
                                      <p:tavLst>
                                        <p:tav tm="0">
                                          <p:val>
                                            <p:fltVal val="0"/>
                                          </p:val>
                                        </p:tav>
                                        <p:tav tm="100000">
                                          <p:val>
                                            <p:strVal val="#ppt_h"/>
                                          </p:val>
                                        </p:tav>
                                      </p:tavLst>
                                    </p:anim>
                                    <p:animEffect transition="in" filter="fade">
                                      <p:cBhvr>
                                        <p:cTn id="23" dur="2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42</a:t>
            </a:fld>
            <a:endParaRPr lang="fr-FR" dirty="0"/>
          </a:p>
        </p:txBody>
      </p:sp>
      <p:sp>
        <p:nvSpPr>
          <p:cNvPr id="5" name="Espace réservé du texte 4"/>
          <p:cNvSpPr>
            <a:spLocks noGrp="1"/>
          </p:cNvSpPr>
          <p:nvPr>
            <p:ph type="body" idx="1"/>
          </p:nvPr>
        </p:nvSpPr>
        <p:spPr/>
        <p:txBody>
          <a:bodyPr/>
          <a:lstStyle/>
          <a:p>
            <a:r>
              <a:rPr lang="fr-FR" dirty="0"/>
              <a:t>PI Planning – Agenda Jour 2</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grpSp>
        <p:nvGrpSpPr>
          <p:cNvPr id="2" name="Groupe 1">
            <a:extLst>
              <a:ext uri="{FF2B5EF4-FFF2-40B4-BE49-F238E27FC236}">
                <a16:creationId xmlns:a16="http://schemas.microsoft.com/office/drawing/2014/main" id="{28E09CB4-E580-461E-B8FC-D01DB3B17AE7}"/>
              </a:ext>
            </a:extLst>
          </p:cNvPr>
          <p:cNvGrpSpPr/>
          <p:nvPr/>
        </p:nvGrpSpPr>
        <p:grpSpPr>
          <a:xfrm>
            <a:off x="1712094" y="1464450"/>
            <a:ext cx="8767811" cy="4744327"/>
            <a:chOff x="1712094" y="1464450"/>
            <a:chExt cx="8767811" cy="4744327"/>
          </a:xfrm>
        </p:grpSpPr>
        <p:pic>
          <p:nvPicPr>
            <p:cNvPr id="13" name="Image 12">
              <a:extLst>
                <a:ext uri="{FF2B5EF4-FFF2-40B4-BE49-F238E27FC236}">
                  <a16:creationId xmlns:a16="http://schemas.microsoft.com/office/drawing/2014/main" id="{D6CEA72F-A7B5-4424-B560-E34E7915285E}"/>
                </a:ext>
              </a:extLst>
            </p:cNvPr>
            <p:cNvPicPr>
              <a:picLocks noChangeAspect="1"/>
            </p:cNvPicPr>
            <p:nvPr/>
          </p:nvPicPr>
          <p:blipFill>
            <a:blip r:embed="rId2"/>
            <a:stretch>
              <a:fillRect/>
            </a:stretch>
          </p:blipFill>
          <p:spPr>
            <a:xfrm>
              <a:off x="1712094" y="1523779"/>
              <a:ext cx="8767811" cy="4684998"/>
            </a:xfrm>
            <a:prstGeom prst="rect">
              <a:avLst/>
            </a:prstGeom>
          </p:spPr>
        </p:pic>
        <p:sp>
          <p:nvSpPr>
            <p:cNvPr id="30" name="Rectangle 29">
              <a:extLst>
                <a:ext uri="{FF2B5EF4-FFF2-40B4-BE49-F238E27FC236}">
                  <a16:creationId xmlns:a16="http://schemas.microsoft.com/office/drawing/2014/main" id="{FCBA864B-DB87-4A60-A8DC-2D440B03A789}"/>
                </a:ext>
              </a:extLst>
            </p:cNvPr>
            <p:cNvSpPr/>
            <p:nvPr/>
          </p:nvSpPr>
          <p:spPr>
            <a:xfrm>
              <a:off x="1712094" y="3370729"/>
              <a:ext cx="8676926" cy="1393410"/>
            </a:xfrm>
            <a:prstGeom prst="rect">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4" name="Rectangle 13">
              <a:extLst>
                <a:ext uri="{FF2B5EF4-FFF2-40B4-BE49-F238E27FC236}">
                  <a16:creationId xmlns:a16="http://schemas.microsoft.com/office/drawing/2014/main" id="{E9B9875D-0069-4FC6-86E5-56EE1A62ACB9}"/>
                </a:ext>
              </a:extLst>
            </p:cNvPr>
            <p:cNvSpPr/>
            <p:nvPr/>
          </p:nvSpPr>
          <p:spPr>
            <a:xfrm>
              <a:off x="1802980" y="1464450"/>
              <a:ext cx="8676925" cy="1964549"/>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15" name="Rectangle à coins arrondis 8">
            <a:extLst>
              <a:ext uri="{FF2B5EF4-FFF2-40B4-BE49-F238E27FC236}">
                <a16:creationId xmlns:a16="http://schemas.microsoft.com/office/drawing/2014/main" id="{67F257A5-72BE-4255-8581-8D63B6AEC0D7}"/>
              </a:ext>
            </a:extLst>
          </p:cNvPr>
          <p:cNvSpPr/>
          <p:nvPr/>
        </p:nvSpPr>
        <p:spPr>
          <a:xfrm>
            <a:off x="169000" y="3583976"/>
            <a:ext cx="3267959" cy="1180163"/>
          </a:xfrm>
          <a:prstGeom prst="wedgeRoundRectCallout">
            <a:avLst>
              <a:gd name="adj1" fmla="val 49235"/>
              <a:gd name="adj2" fmla="val -103232"/>
              <a:gd name="adj3" fmla="val 16667"/>
            </a:avLst>
          </a:prstGeom>
          <a:ln>
            <a:solidFill>
              <a:schemeClr val="tx2"/>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fr-FR" dirty="0"/>
              <a:t>On prend les mêmes et on recommence !</a:t>
            </a:r>
          </a:p>
          <a:p>
            <a:pPr algn="ctr"/>
            <a:r>
              <a:rPr lang="fr-FR" dirty="0"/>
              <a:t>En prenant en compte les remarques du Métier.</a:t>
            </a:r>
          </a:p>
        </p:txBody>
      </p:sp>
    </p:spTree>
    <p:extLst>
      <p:ext uri="{BB962C8B-B14F-4D97-AF65-F5344CB8AC3E}">
        <p14:creationId xmlns:p14="http://schemas.microsoft.com/office/powerpoint/2010/main" val="2744577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1000" fill="hold"/>
                                        <p:tgtEl>
                                          <p:spTgt spid="15"/>
                                        </p:tgtEl>
                                        <p:attrNameLst>
                                          <p:attrName>ppt_w</p:attrName>
                                        </p:attrNameLst>
                                      </p:cBhvr>
                                      <p:tavLst>
                                        <p:tav tm="0">
                                          <p:val>
                                            <p:fltVal val="0"/>
                                          </p:val>
                                        </p:tav>
                                        <p:tav tm="100000">
                                          <p:val>
                                            <p:strVal val="#ppt_w"/>
                                          </p:val>
                                        </p:tav>
                                      </p:tavLst>
                                    </p:anim>
                                    <p:anim calcmode="lin" valueType="num">
                                      <p:cBhvr>
                                        <p:cTn id="8" dur="1000" fill="hold"/>
                                        <p:tgtEl>
                                          <p:spTgt spid="15"/>
                                        </p:tgtEl>
                                        <p:attrNameLst>
                                          <p:attrName>ppt_h</p:attrName>
                                        </p:attrNameLst>
                                      </p:cBhvr>
                                      <p:tavLst>
                                        <p:tav tm="0">
                                          <p:val>
                                            <p:fltVal val="0"/>
                                          </p:val>
                                        </p:tav>
                                        <p:tav tm="100000">
                                          <p:val>
                                            <p:strVal val="#ppt_h"/>
                                          </p:val>
                                        </p:tav>
                                      </p:tavLst>
                                    </p:anim>
                                    <p:animEffect transition="in" filter="fade">
                                      <p:cBhvr>
                                        <p:cTn id="9"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43</a:t>
            </a:fld>
            <a:endParaRPr lang="fr-FR" dirty="0"/>
          </a:p>
        </p:txBody>
      </p:sp>
      <p:sp>
        <p:nvSpPr>
          <p:cNvPr id="5" name="Espace réservé du texte 4"/>
          <p:cNvSpPr>
            <a:spLocks noGrp="1"/>
          </p:cNvSpPr>
          <p:nvPr>
            <p:ph type="body" idx="1"/>
          </p:nvPr>
        </p:nvSpPr>
        <p:spPr/>
        <p:txBody>
          <a:bodyPr/>
          <a:lstStyle/>
          <a:p>
            <a:r>
              <a:rPr lang="fr-FR" dirty="0"/>
              <a:t>PI Planning – Agenda Jour 2</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pic>
        <p:nvPicPr>
          <p:cNvPr id="13" name="Image 12">
            <a:extLst>
              <a:ext uri="{FF2B5EF4-FFF2-40B4-BE49-F238E27FC236}">
                <a16:creationId xmlns:a16="http://schemas.microsoft.com/office/drawing/2014/main" id="{D6CEA72F-A7B5-4424-B560-E34E7915285E}"/>
              </a:ext>
            </a:extLst>
          </p:cNvPr>
          <p:cNvPicPr>
            <a:picLocks noChangeAspect="1"/>
          </p:cNvPicPr>
          <p:nvPr/>
        </p:nvPicPr>
        <p:blipFill>
          <a:blip r:embed="rId2"/>
          <a:stretch>
            <a:fillRect/>
          </a:stretch>
        </p:blipFill>
        <p:spPr>
          <a:xfrm>
            <a:off x="1712094" y="1523779"/>
            <a:ext cx="8767811" cy="4684998"/>
          </a:xfrm>
          <a:prstGeom prst="rect">
            <a:avLst/>
          </a:prstGeom>
        </p:spPr>
      </p:pic>
    </p:spTree>
    <p:extLst>
      <p:ext uri="{BB962C8B-B14F-4D97-AF65-F5344CB8AC3E}">
        <p14:creationId xmlns:p14="http://schemas.microsoft.com/office/powerpoint/2010/main" val="271366865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44</a:t>
            </a:fld>
            <a:endParaRPr lang="fr-FR" dirty="0"/>
          </a:p>
        </p:txBody>
      </p:sp>
      <p:sp>
        <p:nvSpPr>
          <p:cNvPr id="5" name="Espace réservé du texte 4"/>
          <p:cNvSpPr>
            <a:spLocks noGrp="1"/>
          </p:cNvSpPr>
          <p:nvPr>
            <p:ph type="body" idx="1"/>
          </p:nvPr>
        </p:nvSpPr>
        <p:spPr/>
        <p:txBody>
          <a:bodyPr/>
          <a:lstStyle/>
          <a:p>
            <a:r>
              <a:rPr lang="fr-FR" dirty="0"/>
              <a:t>PI Planning – Jour 2 – Présentation et gestion des risques</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sp>
        <p:nvSpPr>
          <p:cNvPr id="15" name="Espace réservé du texte 6">
            <a:extLst>
              <a:ext uri="{FF2B5EF4-FFF2-40B4-BE49-F238E27FC236}">
                <a16:creationId xmlns:a16="http://schemas.microsoft.com/office/drawing/2014/main" id="{A4992FC0-985C-41FF-B8BC-B8D2CDAE8D33}"/>
              </a:ext>
            </a:extLst>
          </p:cNvPr>
          <p:cNvSpPr txBox="1">
            <a:spLocks/>
          </p:cNvSpPr>
          <p:nvPr/>
        </p:nvSpPr>
        <p:spPr>
          <a:xfrm>
            <a:off x="315360" y="1414367"/>
            <a:ext cx="11506947" cy="4922935"/>
          </a:xfrm>
          <a:prstGeom prst="rect">
            <a:avLst/>
          </a:prstGeom>
        </p:spPr>
        <p:txBody>
          <a:bodyPr vert="horz" lIns="0" tIns="0" rIns="0" bIns="0" rtlCol="0">
            <a:noAutofit/>
          </a:bodyPr>
          <a:lstStyle>
            <a:lvl1pPr marL="355600" indent="-355600" algn="l" defTabSz="914400" rtl="0" eaLnBrk="1" latinLnBrk="0" hangingPunct="1">
              <a:lnSpc>
                <a:spcPct val="100000"/>
              </a:lnSpc>
              <a:spcBef>
                <a:spcPts val="600"/>
              </a:spcBef>
              <a:buClr>
                <a:schemeClr val="tx2"/>
              </a:buClr>
              <a:buSzPct val="60000"/>
              <a:buFontTx/>
              <a:buBlip>
                <a:blip r:embed="rId2"/>
              </a:buBlip>
              <a:defRPr sz="1800" b="1" kern="1200">
                <a:solidFill>
                  <a:schemeClr val="tx1"/>
                </a:solidFill>
                <a:latin typeface="+mn-lt"/>
                <a:ea typeface="+mn-ea"/>
                <a:cs typeface="+mn-cs"/>
              </a:defRPr>
            </a:lvl1pPr>
            <a:lvl2pPr marL="630238" indent="-274638" algn="l" defTabSz="914400" rtl="0" eaLnBrk="1" latinLnBrk="0" hangingPunct="1">
              <a:lnSpc>
                <a:spcPct val="100000"/>
              </a:lnSpc>
              <a:spcBef>
                <a:spcPts val="600"/>
              </a:spcBef>
              <a:buClr>
                <a:schemeClr val="tx1">
                  <a:lumMod val="60000"/>
                  <a:lumOff val="40000"/>
                </a:schemeClr>
              </a:buClr>
              <a:buSzPct val="40000"/>
              <a:buFontTx/>
              <a:buBlip>
                <a:blip r:embed="rId3"/>
              </a:buBlip>
              <a:defRPr sz="1800" kern="1200">
                <a:solidFill>
                  <a:schemeClr val="tx1"/>
                </a:solidFill>
                <a:latin typeface="+mn-lt"/>
                <a:ea typeface="+mn-ea"/>
                <a:cs typeface="+mn-cs"/>
              </a:defRPr>
            </a:lvl2pPr>
            <a:lvl3pPr marL="7207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893763" indent="0" algn="l" defTabSz="914400" rtl="0" eaLnBrk="1" latinLnBrk="0" hangingPunct="1">
              <a:lnSpc>
                <a:spcPct val="100000"/>
              </a:lnSpc>
              <a:spcBef>
                <a:spcPts val="600"/>
              </a:spcBef>
              <a:buFont typeface="Arial" panose="020B0604020202020204" pitchFamily="34" charset="0"/>
              <a:buNone/>
              <a:defRPr sz="120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Le </a:t>
            </a:r>
            <a:r>
              <a:rPr lang="fr-FR" b="1" dirty="0" err="1">
                <a:solidFill>
                  <a:schemeClr val="accent1"/>
                </a:solidFill>
              </a:rPr>
              <a:t>ROAMing</a:t>
            </a:r>
            <a:r>
              <a:rPr lang="fr-FR" dirty="0"/>
              <a:t> des risques :</a:t>
            </a:r>
          </a:p>
          <a:p>
            <a:pPr lvl="1"/>
            <a:r>
              <a:rPr lang="fr-FR" b="1" u="sng" dirty="0" err="1">
                <a:solidFill>
                  <a:schemeClr val="accent1"/>
                </a:solidFill>
              </a:rPr>
              <a:t>R</a:t>
            </a:r>
            <a:r>
              <a:rPr lang="fr-FR" b="1" dirty="0" err="1">
                <a:solidFill>
                  <a:schemeClr val="accent1"/>
                </a:solidFill>
              </a:rPr>
              <a:t>esolved</a:t>
            </a:r>
            <a:r>
              <a:rPr lang="fr-FR" dirty="0"/>
              <a:t> (résolu) : le risque est clairement identifié et une action peut être mise en place pour le contourner ou pour l’éliminer.</a:t>
            </a:r>
          </a:p>
          <a:p>
            <a:pPr lvl="1"/>
            <a:r>
              <a:rPr lang="fr-FR" b="1" u="sng" dirty="0" err="1">
                <a:solidFill>
                  <a:schemeClr val="accent1"/>
                </a:solidFill>
              </a:rPr>
              <a:t>O</a:t>
            </a:r>
            <a:r>
              <a:rPr lang="fr-FR" b="1" dirty="0" err="1">
                <a:solidFill>
                  <a:schemeClr val="accent1"/>
                </a:solidFill>
              </a:rPr>
              <a:t>wned</a:t>
            </a:r>
            <a:r>
              <a:rPr lang="fr-FR" dirty="0"/>
              <a:t> (pris en charge) : un membre de l’équipe a accepté la responsabilité de traiter ce risque et de mettre en place un certain nombre d’actions en ce sens.</a:t>
            </a:r>
          </a:p>
          <a:p>
            <a:pPr lvl="1"/>
            <a:r>
              <a:rPr lang="fr-FR" b="1" u="sng" dirty="0">
                <a:solidFill>
                  <a:schemeClr val="accent1"/>
                </a:solidFill>
              </a:rPr>
              <a:t>A</a:t>
            </a:r>
            <a:r>
              <a:rPr lang="fr-FR" b="1" dirty="0">
                <a:solidFill>
                  <a:schemeClr val="accent1"/>
                </a:solidFill>
              </a:rPr>
              <a:t>ccepted</a:t>
            </a:r>
            <a:r>
              <a:rPr lang="fr-FR" dirty="0"/>
              <a:t> (accepté) : le risque a été clairement identifié ainsi que ses conséquences potentielles. Néanmoins, l’ensemble de l’équipe est tombée d’accord pour ne pas le traiter et ne rien faire. Cela peut être le cas si le risque identifié semble tout à fait mineur et que même si un problème survient, il n’aura que peu d’impact sur le déroulement du projet.</a:t>
            </a:r>
          </a:p>
          <a:p>
            <a:pPr lvl="1"/>
            <a:r>
              <a:rPr lang="fr-FR" b="1" u="sng" dirty="0" err="1">
                <a:solidFill>
                  <a:schemeClr val="accent1"/>
                </a:solidFill>
              </a:rPr>
              <a:t>M</a:t>
            </a:r>
            <a:r>
              <a:rPr lang="fr-FR" b="1" dirty="0" err="1">
                <a:solidFill>
                  <a:schemeClr val="accent1"/>
                </a:solidFill>
              </a:rPr>
              <a:t>itigated</a:t>
            </a:r>
            <a:r>
              <a:rPr lang="fr-FR" dirty="0"/>
              <a:t> (atténué) : une action a été mise en place de façon à ce que la probabilité qu’un problème survienne soit grandement diminuée, et que dans ce cas, les conséquences soient minimisées.</a:t>
            </a:r>
          </a:p>
        </p:txBody>
      </p:sp>
      <p:pic>
        <p:nvPicPr>
          <p:cNvPr id="34" name="Picture 2" descr="https://blog.octo.com/wp-content/uploads/2017/05/4.png">
            <a:extLst>
              <a:ext uri="{FF2B5EF4-FFF2-40B4-BE49-F238E27FC236}">
                <a16:creationId xmlns:a16="http://schemas.microsoft.com/office/drawing/2014/main" id="{D9A5FA03-C546-4D92-A085-A1834AC754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9247" y="5034937"/>
            <a:ext cx="5482795" cy="14340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36828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45</a:t>
            </a:fld>
            <a:endParaRPr lang="fr-FR" dirty="0"/>
          </a:p>
        </p:txBody>
      </p:sp>
      <p:sp>
        <p:nvSpPr>
          <p:cNvPr id="5" name="Espace réservé du texte 4"/>
          <p:cNvSpPr>
            <a:spLocks noGrp="1"/>
          </p:cNvSpPr>
          <p:nvPr>
            <p:ph type="body" idx="1"/>
          </p:nvPr>
        </p:nvSpPr>
        <p:spPr/>
        <p:txBody>
          <a:bodyPr/>
          <a:lstStyle/>
          <a:p>
            <a:r>
              <a:rPr lang="fr-FR" dirty="0"/>
              <a:t>PI Planning – Jour 2 – Partage et vote final</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sp>
        <p:nvSpPr>
          <p:cNvPr id="15" name="Espace réservé du texte 6">
            <a:extLst>
              <a:ext uri="{FF2B5EF4-FFF2-40B4-BE49-F238E27FC236}">
                <a16:creationId xmlns:a16="http://schemas.microsoft.com/office/drawing/2014/main" id="{A4992FC0-985C-41FF-B8BC-B8D2CDAE8D33}"/>
              </a:ext>
            </a:extLst>
          </p:cNvPr>
          <p:cNvSpPr txBox="1">
            <a:spLocks/>
          </p:cNvSpPr>
          <p:nvPr/>
        </p:nvSpPr>
        <p:spPr>
          <a:xfrm>
            <a:off x="315360" y="1414367"/>
            <a:ext cx="11506947" cy="4922935"/>
          </a:xfrm>
          <a:prstGeom prst="rect">
            <a:avLst/>
          </a:prstGeom>
        </p:spPr>
        <p:txBody>
          <a:bodyPr vert="horz" lIns="0" tIns="0" rIns="0" bIns="0" rtlCol="0">
            <a:noAutofit/>
          </a:bodyPr>
          <a:lstStyle>
            <a:lvl1pPr marL="355600" indent="-355600" algn="l" defTabSz="914400" rtl="0" eaLnBrk="1" latinLnBrk="0" hangingPunct="1">
              <a:lnSpc>
                <a:spcPct val="100000"/>
              </a:lnSpc>
              <a:spcBef>
                <a:spcPts val="600"/>
              </a:spcBef>
              <a:buClr>
                <a:schemeClr val="tx2"/>
              </a:buClr>
              <a:buSzPct val="60000"/>
              <a:buFontTx/>
              <a:buBlip>
                <a:blip r:embed="rId2"/>
              </a:buBlip>
              <a:defRPr sz="1800" b="1" kern="1200">
                <a:solidFill>
                  <a:schemeClr val="tx1"/>
                </a:solidFill>
                <a:latin typeface="+mn-lt"/>
                <a:ea typeface="+mn-ea"/>
                <a:cs typeface="+mn-cs"/>
              </a:defRPr>
            </a:lvl1pPr>
            <a:lvl2pPr marL="630238" indent="-274638" algn="l" defTabSz="914400" rtl="0" eaLnBrk="1" latinLnBrk="0" hangingPunct="1">
              <a:lnSpc>
                <a:spcPct val="100000"/>
              </a:lnSpc>
              <a:spcBef>
                <a:spcPts val="600"/>
              </a:spcBef>
              <a:buClr>
                <a:schemeClr val="tx1">
                  <a:lumMod val="60000"/>
                  <a:lumOff val="40000"/>
                </a:schemeClr>
              </a:buClr>
              <a:buSzPct val="40000"/>
              <a:buFontTx/>
              <a:buBlip>
                <a:blip r:embed="rId3"/>
              </a:buBlip>
              <a:defRPr sz="1800" kern="1200">
                <a:solidFill>
                  <a:schemeClr val="tx1"/>
                </a:solidFill>
                <a:latin typeface="+mn-lt"/>
                <a:ea typeface="+mn-ea"/>
                <a:cs typeface="+mn-cs"/>
              </a:defRPr>
            </a:lvl2pPr>
            <a:lvl3pPr marL="7207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893763" indent="0" algn="l" defTabSz="914400" rtl="0" eaLnBrk="1" latinLnBrk="0" hangingPunct="1">
              <a:lnSpc>
                <a:spcPct val="100000"/>
              </a:lnSpc>
              <a:spcBef>
                <a:spcPts val="600"/>
              </a:spcBef>
              <a:buFont typeface="Arial" panose="020B0604020202020204" pitchFamily="34" charset="0"/>
              <a:buNone/>
              <a:defRPr sz="120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ltLang="fr-FR" b="1" dirty="0">
                <a:solidFill>
                  <a:schemeClr val="accent1"/>
                </a:solidFill>
              </a:rPr>
              <a:t>Revue du plan final</a:t>
            </a:r>
          </a:p>
          <a:p>
            <a:pPr lvl="1"/>
            <a:r>
              <a:rPr lang="fr-FR" altLang="fr-FR" dirty="0"/>
              <a:t>Durant cette session, toutes les équipes présentent leurs plans au groupe</a:t>
            </a:r>
          </a:p>
          <a:p>
            <a:pPr lvl="1"/>
            <a:r>
              <a:rPr lang="fr-FR" altLang="fr-FR" dirty="0"/>
              <a:t>L'équipe indique ses risques et ses obstacles, mais il n'y a aucune tentative de les résoudre à ce niveau</a:t>
            </a:r>
          </a:p>
          <a:p>
            <a:pPr lvl="1"/>
            <a:r>
              <a:rPr lang="fr-FR" altLang="fr-FR" dirty="0"/>
              <a:t>Si le plan est acceptable, l'équipe apporte ses PI Objectives et ses risques programme sur le devant de la salle afin que tous puissent voir les objectifs globaux se dérouler en temps réel</a:t>
            </a:r>
          </a:p>
          <a:p>
            <a:r>
              <a:rPr lang="fr-FR" altLang="fr-FR" b="1" dirty="0">
                <a:solidFill>
                  <a:schemeClr val="accent1"/>
                </a:solidFill>
              </a:rPr>
              <a:t>Vote de confiance</a:t>
            </a:r>
          </a:p>
          <a:p>
            <a:pPr lvl="1"/>
            <a:r>
              <a:rPr lang="fr-FR" altLang="fr-FR" dirty="0"/>
              <a:t>Les équipes réalisent un vote de confidence sur l’atteinte des PI objectives</a:t>
            </a:r>
          </a:p>
          <a:p>
            <a:pPr lvl="1"/>
            <a:r>
              <a:rPr lang="fr-FR" altLang="fr-FR" dirty="0"/>
              <a:t>Chaque personne réalise un “</a:t>
            </a:r>
            <a:r>
              <a:rPr lang="fr-FR" altLang="fr-FR" dirty="0" err="1"/>
              <a:t>fist</a:t>
            </a:r>
            <a:r>
              <a:rPr lang="fr-FR" altLang="fr-FR" dirty="0"/>
              <a:t> of five”</a:t>
            </a:r>
          </a:p>
          <a:p>
            <a:pPr lvl="1"/>
            <a:r>
              <a:rPr lang="fr-FR" altLang="fr-FR" dirty="0"/>
              <a:t>Si la moyenne et 3 ou plus, le l’engagement peut être accepté</a:t>
            </a:r>
          </a:p>
          <a:p>
            <a:pPr lvl="1"/>
            <a:r>
              <a:rPr lang="fr-FR" altLang="fr-FR" dirty="0"/>
              <a:t>Si elle est inférieure à 3, l’équipe doit retravailler son plan</a:t>
            </a:r>
          </a:p>
          <a:p>
            <a:pPr lvl="1"/>
            <a:r>
              <a:rPr lang="fr-FR" altLang="fr-FR" dirty="0"/>
              <a:t>Toute personne exprimant un indice de confiance de 2 ou moins doit pouvoir s’exprimer</a:t>
            </a:r>
          </a:p>
          <a:p>
            <a:pPr lvl="2"/>
            <a:r>
              <a:rPr lang="fr-FR" altLang="fr-FR" dirty="0"/>
              <a:t>cela peut générer l’identification d’un nouveau risque</a:t>
            </a:r>
          </a:p>
          <a:p>
            <a:pPr lvl="2"/>
            <a:r>
              <a:rPr lang="fr-FR" altLang="fr-FR" dirty="0"/>
              <a:t>un nouveau plan</a:t>
            </a:r>
          </a:p>
          <a:p>
            <a:pPr lvl="2"/>
            <a:r>
              <a:rPr lang="fr-FR" altLang="fr-FR" dirty="0"/>
              <a:t>une simple information</a:t>
            </a:r>
          </a:p>
        </p:txBody>
      </p:sp>
      <p:pic>
        <p:nvPicPr>
          <p:cNvPr id="8" name="Picture 2" descr="RÃ©sultat de recherche d'images pour &quot;fist of confidence&quot;">
            <a:extLst>
              <a:ext uri="{FF2B5EF4-FFF2-40B4-BE49-F238E27FC236}">
                <a16:creationId xmlns:a16="http://schemas.microsoft.com/office/drawing/2014/main" id="{614738BF-236D-4EEF-8CF3-DF1CE955880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8166" y="5205517"/>
            <a:ext cx="4430062" cy="1652483"/>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à coins arrondis 3">
            <a:extLst>
              <a:ext uri="{FF2B5EF4-FFF2-40B4-BE49-F238E27FC236}">
                <a16:creationId xmlns:a16="http://schemas.microsoft.com/office/drawing/2014/main" id="{49E1DC9E-E7BF-4667-9ADF-AAE09F65A20A}"/>
              </a:ext>
            </a:extLst>
          </p:cNvPr>
          <p:cNvSpPr/>
          <p:nvPr/>
        </p:nvSpPr>
        <p:spPr>
          <a:xfrm>
            <a:off x="9031357" y="2899180"/>
            <a:ext cx="3114260" cy="185845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r>
              <a:rPr lang="fr-FR" sz="2000" b="1" dirty="0">
                <a:solidFill>
                  <a:schemeClr val="accent1"/>
                </a:solidFill>
              </a:rPr>
              <a:t>1</a:t>
            </a:r>
            <a:r>
              <a:rPr lang="fr-FR" sz="2000" dirty="0"/>
              <a:t> – Pas confiant du tout</a:t>
            </a:r>
          </a:p>
          <a:p>
            <a:r>
              <a:rPr lang="fr-FR" sz="2000" b="1" dirty="0">
                <a:solidFill>
                  <a:schemeClr val="accent1"/>
                </a:solidFill>
              </a:rPr>
              <a:t>2</a:t>
            </a:r>
            <a:r>
              <a:rPr lang="fr-FR" sz="2000" dirty="0"/>
              <a:t> – Peu confiant</a:t>
            </a:r>
          </a:p>
          <a:p>
            <a:r>
              <a:rPr lang="fr-FR" sz="2000" b="1" dirty="0">
                <a:solidFill>
                  <a:schemeClr val="accent1"/>
                </a:solidFill>
              </a:rPr>
              <a:t>3</a:t>
            </a:r>
            <a:r>
              <a:rPr lang="fr-FR" sz="2000" dirty="0"/>
              <a:t> – Confiant</a:t>
            </a:r>
          </a:p>
          <a:p>
            <a:r>
              <a:rPr lang="fr-FR" sz="2000" b="1" dirty="0">
                <a:solidFill>
                  <a:schemeClr val="accent1"/>
                </a:solidFill>
              </a:rPr>
              <a:t>4</a:t>
            </a:r>
            <a:r>
              <a:rPr lang="fr-FR" sz="2000" dirty="0"/>
              <a:t> – Très confiant </a:t>
            </a:r>
          </a:p>
          <a:p>
            <a:r>
              <a:rPr lang="fr-FR" sz="2000" b="1" dirty="0">
                <a:solidFill>
                  <a:schemeClr val="accent1"/>
                </a:solidFill>
              </a:rPr>
              <a:t>5</a:t>
            </a:r>
            <a:r>
              <a:rPr lang="fr-FR" sz="2000" dirty="0"/>
              <a:t> – Super confiant !</a:t>
            </a:r>
          </a:p>
        </p:txBody>
      </p:sp>
    </p:spTree>
    <p:extLst>
      <p:ext uri="{BB962C8B-B14F-4D97-AF65-F5344CB8AC3E}">
        <p14:creationId xmlns:p14="http://schemas.microsoft.com/office/powerpoint/2010/main" val="25899229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46</a:t>
            </a:fld>
            <a:endParaRPr lang="fr-FR" dirty="0"/>
          </a:p>
        </p:txBody>
      </p:sp>
      <p:sp>
        <p:nvSpPr>
          <p:cNvPr id="5" name="Espace réservé du texte 4"/>
          <p:cNvSpPr>
            <a:spLocks noGrp="1"/>
          </p:cNvSpPr>
          <p:nvPr>
            <p:ph type="body" idx="1"/>
          </p:nvPr>
        </p:nvSpPr>
        <p:spPr/>
        <p:txBody>
          <a:bodyPr/>
          <a:lstStyle/>
          <a:p>
            <a:r>
              <a:rPr lang="fr-FR" dirty="0"/>
              <a:t>PI Planning – Eh oui, ça se fait vraiment !</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pic>
        <p:nvPicPr>
          <p:cNvPr id="10" name="Picture 2">
            <a:extLst>
              <a:ext uri="{FF2B5EF4-FFF2-40B4-BE49-F238E27FC236}">
                <a16:creationId xmlns:a16="http://schemas.microsoft.com/office/drawing/2014/main" id="{77DE6871-FBEC-4AE3-A6B1-55209BFDEB0E}"/>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644" t="7843" r="8542"/>
          <a:stretch/>
        </p:blipFill>
        <p:spPr bwMode="auto">
          <a:xfrm>
            <a:off x="194351" y="1341120"/>
            <a:ext cx="7640320" cy="4655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a:extLst>
              <a:ext uri="{FF2B5EF4-FFF2-40B4-BE49-F238E27FC236}">
                <a16:creationId xmlns:a16="http://schemas.microsoft.com/office/drawing/2014/main" id="{C4D031D2-344D-429B-AF57-3DDBF8A1EDD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06298" y="1270032"/>
            <a:ext cx="4108590" cy="23110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4">
            <a:extLst>
              <a:ext uri="{FF2B5EF4-FFF2-40B4-BE49-F238E27FC236}">
                <a16:creationId xmlns:a16="http://schemas.microsoft.com/office/drawing/2014/main" id="{C8478327-6924-4B2D-AE09-C880918C2B21}"/>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6027" t="11759"/>
          <a:stretch/>
        </p:blipFill>
        <p:spPr bwMode="auto">
          <a:xfrm>
            <a:off x="7899871" y="3637174"/>
            <a:ext cx="4125232" cy="2438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ZoneTexte 12">
            <a:extLst>
              <a:ext uri="{FF2B5EF4-FFF2-40B4-BE49-F238E27FC236}">
                <a16:creationId xmlns:a16="http://schemas.microsoft.com/office/drawing/2014/main" id="{FB3D8E6D-AA30-4D81-84DE-2155D193951D}"/>
              </a:ext>
            </a:extLst>
          </p:cNvPr>
          <p:cNvSpPr txBox="1"/>
          <p:nvPr/>
        </p:nvSpPr>
        <p:spPr>
          <a:xfrm>
            <a:off x="194351" y="6002465"/>
            <a:ext cx="3055452" cy="276999"/>
          </a:xfrm>
          <a:prstGeom prst="rect">
            <a:avLst/>
          </a:prstGeom>
          <a:noFill/>
        </p:spPr>
        <p:txBody>
          <a:bodyPr wrap="none" rtlCol="0">
            <a:spAutoFit/>
          </a:bodyPr>
          <a:lstStyle/>
          <a:p>
            <a:r>
              <a:rPr lang="fr-FR" sz="1200" i="1" dirty="0">
                <a:solidFill>
                  <a:srgbClr val="C00000"/>
                </a:solidFill>
              </a:rPr>
              <a:t>Le « Program </a:t>
            </a:r>
            <a:r>
              <a:rPr lang="fr-FR" sz="1200" i="1" dirty="0" err="1">
                <a:solidFill>
                  <a:srgbClr val="C00000"/>
                </a:solidFill>
              </a:rPr>
              <a:t>Board</a:t>
            </a:r>
            <a:r>
              <a:rPr lang="fr-FR" sz="1200" i="1" dirty="0">
                <a:solidFill>
                  <a:srgbClr val="C00000"/>
                </a:solidFill>
              </a:rPr>
              <a:t> » à la fin du 2</a:t>
            </a:r>
            <a:r>
              <a:rPr lang="fr-FR" sz="1200" i="1" baseline="30000" dirty="0">
                <a:solidFill>
                  <a:srgbClr val="C00000"/>
                </a:solidFill>
              </a:rPr>
              <a:t>ème</a:t>
            </a:r>
            <a:r>
              <a:rPr lang="fr-FR" sz="1200" i="1" dirty="0">
                <a:solidFill>
                  <a:srgbClr val="C00000"/>
                </a:solidFill>
              </a:rPr>
              <a:t> jour</a:t>
            </a:r>
          </a:p>
        </p:txBody>
      </p:sp>
      <p:sp>
        <p:nvSpPr>
          <p:cNvPr id="14" name="ZoneTexte 13">
            <a:extLst>
              <a:ext uri="{FF2B5EF4-FFF2-40B4-BE49-F238E27FC236}">
                <a16:creationId xmlns:a16="http://schemas.microsoft.com/office/drawing/2014/main" id="{268DB020-FA3D-43D0-8015-4574FEBBA0BC}"/>
              </a:ext>
            </a:extLst>
          </p:cNvPr>
          <p:cNvSpPr txBox="1"/>
          <p:nvPr/>
        </p:nvSpPr>
        <p:spPr>
          <a:xfrm>
            <a:off x="7921310" y="6060303"/>
            <a:ext cx="2041777" cy="276999"/>
          </a:xfrm>
          <a:prstGeom prst="rect">
            <a:avLst/>
          </a:prstGeom>
          <a:noFill/>
        </p:spPr>
        <p:txBody>
          <a:bodyPr wrap="none" rtlCol="0">
            <a:spAutoFit/>
          </a:bodyPr>
          <a:lstStyle/>
          <a:p>
            <a:r>
              <a:rPr lang="fr-FR" sz="1200" i="1" dirty="0">
                <a:solidFill>
                  <a:srgbClr val="C00000"/>
                </a:solidFill>
              </a:rPr>
              <a:t>Echanges entre les équipes</a:t>
            </a:r>
          </a:p>
        </p:txBody>
      </p:sp>
    </p:spTree>
    <p:extLst>
      <p:ext uri="{BB962C8B-B14F-4D97-AF65-F5344CB8AC3E}">
        <p14:creationId xmlns:p14="http://schemas.microsoft.com/office/powerpoint/2010/main" val="11317734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47</a:t>
            </a:fld>
            <a:endParaRPr lang="fr-FR" dirty="0"/>
          </a:p>
        </p:txBody>
      </p:sp>
      <p:sp>
        <p:nvSpPr>
          <p:cNvPr id="5" name="Espace réservé du texte 4"/>
          <p:cNvSpPr>
            <a:spLocks noGrp="1"/>
          </p:cNvSpPr>
          <p:nvPr>
            <p:ph type="body" idx="1"/>
          </p:nvPr>
        </p:nvSpPr>
        <p:spPr/>
        <p:txBody>
          <a:bodyPr/>
          <a:lstStyle/>
          <a:p>
            <a:r>
              <a:rPr lang="fr-FR" dirty="0"/>
              <a:t>Les autres cérémonies</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grpSp>
        <p:nvGrpSpPr>
          <p:cNvPr id="12" name="Group 27">
            <a:extLst>
              <a:ext uri="{FF2B5EF4-FFF2-40B4-BE49-F238E27FC236}">
                <a16:creationId xmlns:a16="http://schemas.microsoft.com/office/drawing/2014/main" id="{B79EF224-E6F1-4D2F-98B1-86A97B27261B}"/>
              </a:ext>
            </a:extLst>
          </p:cNvPr>
          <p:cNvGrpSpPr>
            <a:grpSpLocks noChangeAspect="1"/>
          </p:cNvGrpSpPr>
          <p:nvPr/>
        </p:nvGrpSpPr>
        <p:grpSpPr>
          <a:xfrm>
            <a:off x="9412529" y="1097308"/>
            <a:ext cx="1155451" cy="1224000"/>
            <a:chOff x="3311510" y="4173901"/>
            <a:chExt cx="2003105" cy="2121945"/>
          </a:xfrm>
        </p:grpSpPr>
        <p:pic>
          <p:nvPicPr>
            <p:cNvPr id="13" name="Picture 28">
              <a:extLst>
                <a:ext uri="{FF2B5EF4-FFF2-40B4-BE49-F238E27FC236}">
                  <a16:creationId xmlns:a16="http://schemas.microsoft.com/office/drawing/2014/main" id="{3D4A72BE-39D5-4D7F-A124-4D894ADA8B4E}"/>
                </a:ext>
              </a:extLst>
            </p:cNvPr>
            <p:cNvPicPr>
              <a:picLocks noChangeAspect="1"/>
            </p:cNvPicPr>
            <p:nvPr/>
          </p:nvPicPr>
          <p:blipFill>
            <a:blip r:embed="rId2"/>
            <a:stretch>
              <a:fillRect/>
            </a:stretch>
          </p:blipFill>
          <p:spPr>
            <a:xfrm>
              <a:off x="3909075" y="4173901"/>
              <a:ext cx="757677" cy="1089161"/>
            </a:xfrm>
            <a:prstGeom prst="rect">
              <a:avLst/>
            </a:prstGeom>
          </p:spPr>
        </p:pic>
        <p:pic>
          <p:nvPicPr>
            <p:cNvPr id="14" name="Picture 29">
              <a:extLst>
                <a:ext uri="{FF2B5EF4-FFF2-40B4-BE49-F238E27FC236}">
                  <a16:creationId xmlns:a16="http://schemas.microsoft.com/office/drawing/2014/main" id="{25B191C1-B5EE-4371-A6DE-6010235993B4}"/>
                </a:ext>
              </a:extLst>
            </p:cNvPr>
            <p:cNvPicPr>
              <a:picLocks noChangeAspect="1"/>
            </p:cNvPicPr>
            <p:nvPr/>
          </p:nvPicPr>
          <p:blipFill>
            <a:blip r:embed="rId3"/>
            <a:stretch>
              <a:fillRect/>
            </a:stretch>
          </p:blipFill>
          <p:spPr>
            <a:xfrm>
              <a:off x="3311510" y="4666164"/>
              <a:ext cx="755170" cy="1078814"/>
            </a:xfrm>
            <a:prstGeom prst="rect">
              <a:avLst/>
            </a:prstGeom>
          </p:spPr>
        </p:pic>
        <p:pic>
          <p:nvPicPr>
            <p:cNvPr id="16" name="Picture 30">
              <a:extLst>
                <a:ext uri="{FF2B5EF4-FFF2-40B4-BE49-F238E27FC236}">
                  <a16:creationId xmlns:a16="http://schemas.microsoft.com/office/drawing/2014/main" id="{81C9BE89-7A4E-4045-9F9F-C5CFB72FF216}"/>
                </a:ext>
              </a:extLst>
            </p:cNvPr>
            <p:cNvPicPr>
              <a:picLocks noChangeAspect="1"/>
            </p:cNvPicPr>
            <p:nvPr/>
          </p:nvPicPr>
          <p:blipFill>
            <a:blip r:embed="rId3"/>
            <a:stretch>
              <a:fillRect/>
            </a:stretch>
          </p:blipFill>
          <p:spPr>
            <a:xfrm>
              <a:off x="4559445" y="4619330"/>
              <a:ext cx="755170" cy="1078814"/>
            </a:xfrm>
            <a:prstGeom prst="rect">
              <a:avLst/>
            </a:prstGeom>
          </p:spPr>
        </p:pic>
        <p:pic>
          <p:nvPicPr>
            <p:cNvPr id="17" name="Picture 31">
              <a:extLst>
                <a:ext uri="{FF2B5EF4-FFF2-40B4-BE49-F238E27FC236}">
                  <a16:creationId xmlns:a16="http://schemas.microsoft.com/office/drawing/2014/main" id="{C215ABF1-BD7F-4A95-A44B-312022540911}"/>
                </a:ext>
              </a:extLst>
            </p:cNvPr>
            <p:cNvPicPr>
              <a:picLocks noChangeAspect="1"/>
            </p:cNvPicPr>
            <p:nvPr/>
          </p:nvPicPr>
          <p:blipFill>
            <a:blip r:embed="rId3"/>
            <a:stretch>
              <a:fillRect/>
            </a:stretch>
          </p:blipFill>
          <p:spPr>
            <a:xfrm>
              <a:off x="4360258" y="5217031"/>
              <a:ext cx="755170" cy="1078814"/>
            </a:xfrm>
            <a:prstGeom prst="rect">
              <a:avLst/>
            </a:prstGeom>
          </p:spPr>
        </p:pic>
        <p:pic>
          <p:nvPicPr>
            <p:cNvPr id="18" name="Picture 32">
              <a:extLst>
                <a:ext uri="{FF2B5EF4-FFF2-40B4-BE49-F238E27FC236}">
                  <a16:creationId xmlns:a16="http://schemas.microsoft.com/office/drawing/2014/main" id="{913879E7-AB19-4D7E-ACDE-A755709CF096}"/>
                </a:ext>
              </a:extLst>
            </p:cNvPr>
            <p:cNvPicPr>
              <a:picLocks noChangeAspect="1"/>
            </p:cNvPicPr>
            <p:nvPr/>
          </p:nvPicPr>
          <p:blipFill>
            <a:blip r:embed="rId3"/>
            <a:stretch>
              <a:fillRect/>
            </a:stretch>
          </p:blipFill>
          <p:spPr>
            <a:xfrm>
              <a:off x="3613301" y="5217032"/>
              <a:ext cx="755170" cy="1078814"/>
            </a:xfrm>
            <a:prstGeom prst="rect">
              <a:avLst/>
            </a:prstGeom>
          </p:spPr>
        </p:pic>
      </p:grpSp>
      <p:grpSp>
        <p:nvGrpSpPr>
          <p:cNvPr id="19" name="Group 33">
            <a:extLst>
              <a:ext uri="{FF2B5EF4-FFF2-40B4-BE49-F238E27FC236}">
                <a16:creationId xmlns:a16="http://schemas.microsoft.com/office/drawing/2014/main" id="{BD6F34D1-FD56-4F6A-A679-F1DA3A0DD897}"/>
              </a:ext>
            </a:extLst>
          </p:cNvPr>
          <p:cNvGrpSpPr>
            <a:grpSpLocks noChangeAspect="1"/>
          </p:cNvGrpSpPr>
          <p:nvPr/>
        </p:nvGrpSpPr>
        <p:grpSpPr>
          <a:xfrm>
            <a:off x="4949064" y="1018352"/>
            <a:ext cx="901843" cy="1224000"/>
            <a:chOff x="1817594" y="3685511"/>
            <a:chExt cx="1671216" cy="2223726"/>
          </a:xfrm>
        </p:grpSpPr>
        <p:pic>
          <p:nvPicPr>
            <p:cNvPr id="20" name="Picture 34">
              <a:extLst>
                <a:ext uri="{FF2B5EF4-FFF2-40B4-BE49-F238E27FC236}">
                  <a16:creationId xmlns:a16="http://schemas.microsoft.com/office/drawing/2014/main" id="{56B76CC0-EE33-40FB-8EF4-8D534667B156}"/>
                </a:ext>
              </a:extLst>
            </p:cNvPr>
            <p:cNvPicPr>
              <a:picLocks noChangeAspect="1"/>
            </p:cNvPicPr>
            <p:nvPr/>
          </p:nvPicPr>
          <p:blipFill>
            <a:blip r:embed="rId4"/>
            <a:stretch>
              <a:fillRect/>
            </a:stretch>
          </p:blipFill>
          <p:spPr>
            <a:xfrm>
              <a:off x="2315566" y="3685511"/>
              <a:ext cx="630677" cy="991064"/>
            </a:xfrm>
            <a:prstGeom prst="rect">
              <a:avLst/>
            </a:prstGeom>
          </p:spPr>
        </p:pic>
        <p:pic>
          <p:nvPicPr>
            <p:cNvPr id="21" name="Picture 35">
              <a:extLst>
                <a:ext uri="{FF2B5EF4-FFF2-40B4-BE49-F238E27FC236}">
                  <a16:creationId xmlns:a16="http://schemas.microsoft.com/office/drawing/2014/main" id="{18C16E51-3253-483E-9A1A-6F9592217A96}"/>
                </a:ext>
              </a:extLst>
            </p:cNvPr>
            <p:cNvPicPr>
              <a:picLocks noChangeAspect="1"/>
            </p:cNvPicPr>
            <p:nvPr/>
          </p:nvPicPr>
          <p:blipFill>
            <a:blip r:embed="rId5"/>
            <a:stretch>
              <a:fillRect/>
            </a:stretch>
          </p:blipFill>
          <p:spPr>
            <a:xfrm>
              <a:off x="1817594" y="4353558"/>
              <a:ext cx="597567" cy="923513"/>
            </a:xfrm>
            <a:prstGeom prst="rect">
              <a:avLst/>
            </a:prstGeom>
          </p:spPr>
        </p:pic>
        <p:pic>
          <p:nvPicPr>
            <p:cNvPr id="22" name="Picture 36">
              <a:extLst>
                <a:ext uri="{FF2B5EF4-FFF2-40B4-BE49-F238E27FC236}">
                  <a16:creationId xmlns:a16="http://schemas.microsoft.com/office/drawing/2014/main" id="{E4F78D19-E186-42C1-A088-2D55537012FF}"/>
                </a:ext>
              </a:extLst>
            </p:cNvPr>
            <p:cNvPicPr>
              <a:picLocks noChangeAspect="1"/>
            </p:cNvPicPr>
            <p:nvPr/>
          </p:nvPicPr>
          <p:blipFill>
            <a:blip r:embed="rId5"/>
            <a:stretch>
              <a:fillRect/>
            </a:stretch>
          </p:blipFill>
          <p:spPr>
            <a:xfrm>
              <a:off x="2891243" y="4431245"/>
              <a:ext cx="597567" cy="923513"/>
            </a:xfrm>
            <a:prstGeom prst="rect">
              <a:avLst/>
            </a:prstGeom>
          </p:spPr>
        </p:pic>
        <p:pic>
          <p:nvPicPr>
            <p:cNvPr id="23" name="Picture 37">
              <a:extLst>
                <a:ext uri="{FF2B5EF4-FFF2-40B4-BE49-F238E27FC236}">
                  <a16:creationId xmlns:a16="http://schemas.microsoft.com/office/drawing/2014/main" id="{BCF3D770-A668-4707-A840-66941ED3A5CE}"/>
                </a:ext>
              </a:extLst>
            </p:cNvPr>
            <p:cNvPicPr>
              <a:picLocks noChangeAspect="1"/>
            </p:cNvPicPr>
            <p:nvPr/>
          </p:nvPicPr>
          <p:blipFill>
            <a:blip r:embed="rId5"/>
            <a:stretch>
              <a:fillRect/>
            </a:stretch>
          </p:blipFill>
          <p:spPr>
            <a:xfrm>
              <a:off x="1991884" y="4960823"/>
              <a:ext cx="597566" cy="923512"/>
            </a:xfrm>
            <a:prstGeom prst="rect">
              <a:avLst/>
            </a:prstGeom>
          </p:spPr>
        </p:pic>
        <p:pic>
          <p:nvPicPr>
            <p:cNvPr id="24" name="Picture 38">
              <a:extLst>
                <a:ext uri="{FF2B5EF4-FFF2-40B4-BE49-F238E27FC236}">
                  <a16:creationId xmlns:a16="http://schemas.microsoft.com/office/drawing/2014/main" id="{19CEA93E-D555-41FD-8CA3-A264D47163A0}"/>
                </a:ext>
              </a:extLst>
            </p:cNvPr>
            <p:cNvPicPr>
              <a:picLocks noChangeAspect="1"/>
            </p:cNvPicPr>
            <p:nvPr/>
          </p:nvPicPr>
          <p:blipFill>
            <a:blip r:embed="rId5"/>
            <a:stretch>
              <a:fillRect/>
            </a:stretch>
          </p:blipFill>
          <p:spPr>
            <a:xfrm>
              <a:off x="2689042" y="4985725"/>
              <a:ext cx="597566" cy="923512"/>
            </a:xfrm>
            <a:prstGeom prst="rect">
              <a:avLst/>
            </a:prstGeom>
          </p:spPr>
        </p:pic>
      </p:grpSp>
      <p:sp>
        <p:nvSpPr>
          <p:cNvPr id="25" name="TextBox 1">
            <a:extLst>
              <a:ext uri="{FF2B5EF4-FFF2-40B4-BE49-F238E27FC236}">
                <a16:creationId xmlns:a16="http://schemas.microsoft.com/office/drawing/2014/main" id="{101B4B1E-898C-4D25-9C45-8C3E3DBFCC59}"/>
              </a:ext>
            </a:extLst>
          </p:cNvPr>
          <p:cNvSpPr txBox="1"/>
          <p:nvPr/>
        </p:nvSpPr>
        <p:spPr>
          <a:xfrm>
            <a:off x="4418200" y="2264353"/>
            <a:ext cx="2002251" cy="400110"/>
          </a:xfrm>
          <a:prstGeom prst="rect">
            <a:avLst/>
          </a:prstGeom>
          <a:noFill/>
        </p:spPr>
        <p:txBody>
          <a:bodyPr wrap="square" rtlCol="0">
            <a:spAutoFit/>
          </a:bodyPr>
          <a:lstStyle/>
          <a:p>
            <a:pPr algn="ctr"/>
            <a:r>
              <a:rPr lang="en-US" sz="2000" b="1" dirty="0"/>
              <a:t>Scrum of Scrums</a:t>
            </a:r>
          </a:p>
        </p:txBody>
      </p:sp>
      <p:sp>
        <p:nvSpPr>
          <p:cNvPr id="26" name="TextBox 43">
            <a:extLst>
              <a:ext uri="{FF2B5EF4-FFF2-40B4-BE49-F238E27FC236}">
                <a16:creationId xmlns:a16="http://schemas.microsoft.com/office/drawing/2014/main" id="{62045E00-C5D7-4284-BB6B-0933736C9490}"/>
              </a:ext>
            </a:extLst>
          </p:cNvPr>
          <p:cNvSpPr txBox="1"/>
          <p:nvPr/>
        </p:nvSpPr>
        <p:spPr>
          <a:xfrm>
            <a:off x="9228763" y="2240970"/>
            <a:ext cx="1577429" cy="400110"/>
          </a:xfrm>
          <a:prstGeom prst="rect">
            <a:avLst/>
          </a:prstGeom>
          <a:noFill/>
        </p:spPr>
        <p:txBody>
          <a:bodyPr wrap="square" rtlCol="0">
            <a:spAutoFit/>
          </a:bodyPr>
          <a:lstStyle/>
          <a:p>
            <a:pPr algn="ctr"/>
            <a:r>
              <a:rPr lang="en-US" sz="2000" b="1" dirty="0"/>
              <a:t>PO Sync</a:t>
            </a:r>
          </a:p>
        </p:txBody>
      </p:sp>
      <p:cxnSp>
        <p:nvCxnSpPr>
          <p:cNvPr id="27" name="Straight Connector 6">
            <a:extLst>
              <a:ext uri="{FF2B5EF4-FFF2-40B4-BE49-F238E27FC236}">
                <a16:creationId xmlns:a16="http://schemas.microsoft.com/office/drawing/2014/main" id="{6607F88F-3064-4470-BE42-54B0A466E993}"/>
              </a:ext>
            </a:extLst>
          </p:cNvPr>
          <p:cNvCxnSpPr>
            <a:stCxn id="22" idx="3"/>
            <a:endCxn id="14" idx="1"/>
          </p:cNvCxnSpPr>
          <p:nvPr/>
        </p:nvCxnSpPr>
        <p:spPr bwMode="auto">
          <a:xfrm>
            <a:off x="5850907" y="1682989"/>
            <a:ext cx="3561622" cy="9417"/>
          </a:xfrm>
          <a:prstGeom prst="line">
            <a:avLst/>
          </a:prstGeom>
          <a:solidFill>
            <a:schemeClr val="accent1"/>
          </a:solidFill>
          <a:ln w="15875" cap="flat" cmpd="sng" algn="ctr">
            <a:solidFill>
              <a:schemeClr val="accent6"/>
            </a:solidFill>
            <a:prstDash val="sysDash"/>
            <a:round/>
            <a:headEnd type="none" w="med" len="med"/>
            <a:tailEnd type="none" w="med" len="med"/>
          </a:ln>
          <a:effectLst/>
        </p:spPr>
      </p:cxnSp>
      <p:cxnSp>
        <p:nvCxnSpPr>
          <p:cNvPr id="28" name="Straight Connector 8">
            <a:extLst>
              <a:ext uri="{FF2B5EF4-FFF2-40B4-BE49-F238E27FC236}">
                <a16:creationId xmlns:a16="http://schemas.microsoft.com/office/drawing/2014/main" id="{8322C242-06A0-4870-BF7D-FAEBD7211311}"/>
              </a:ext>
            </a:extLst>
          </p:cNvPr>
          <p:cNvCxnSpPr/>
          <p:nvPr/>
        </p:nvCxnSpPr>
        <p:spPr bwMode="auto">
          <a:xfrm>
            <a:off x="7566826" y="1339981"/>
            <a:ext cx="0" cy="352425"/>
          </a:xfrm>
          <a:prstGeom prst="line">
            <a:avLst/>
          </a:prstGeom>
          <a:solidFill>
            <a:schemeClr val="accent1"/>
          </a:solidFill>
          <a:ln w="15875" cap="flat" cmpd="sng" algn="ctr">
            <a:solidFill>
              <a:schemeClr val="accent6"/>
            </a:solidFill>
            <a:prstDash val="sysDash"/>
            <a:round/>
            <a:headEnd type="none" w="med" len="med"/>
            <a:tailEnd type="none" w="med" len="med"/>
          </a:ln>
          <a:effectLst/>
        </p:spPr>
      </p:cxnSp>
      <p:sp>
        <p:nvSpPr>
          <p:cNvPr id="29" name="TextBox 9">
            <a:extLst>
              <a:ext uri="{FF2B5EF4-FFF2-40B4-BE49-F238E27FC236}">
                <a16:creationId xmlns:a16="http://schemas.microsoft.com/office/drawing/2014/main" id="{A168644F-D13C-4D75-8BA5-D19AB9A71E02}"/>
              </a:ext>
            </a:extLst>
          </p:cNvPr>
          <p:cNvSpPr txBox="1"/>
          <p:nvPr/>
        </p:nvSpPr>
        <p:spPr>
          <a:xfrm>
            <a:off x="6707041" y="881148"/>
            <a:ext cx="1715779" cy="52322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r>
              <a:rPr lang="en-US" sz="2800" dirty="0">
                <a:solidFill>
                  <a:schemeClr val="bg1"/>
                </a:solidFill>
              </a:rPr>
              <a:t>ART Sync</a:t>
            </a:r>
          </a:p>
        </p:txBody>
      </p:sp>
      <p:cxnSp>
        <p:nvCxnSpPr>
          <p:cNvPr id="30" name="Connecteur droit 29">
            <a:extLst>
              <a:ext uri="{FF2B5EF4-FFF2-40B4-BE49-F238E27FC236}">
                <a16:creationId xmlns:a16="http://schemas.microsoft.com/office/drawing/2014/main" id="{F5830760-6D8E-49AA-8C39-C63AA15A6384}"/>
              </a:ext>
            </a:extLst>
          </p:cNvPr>
          <p:cNvCxnSpPr/>
          <p:nvPr/>
        </p:nvCxnSpPr>
        <p:spPr>
          <a:xfrm>
            <a:off x="263352" y="2944103"/>
            <a:ext cx="11816012"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1" name="Connecteur droit 30">
            <a:extLst>
              <a:ext uri="{FF2B5EF4-FFF2-40B4-BE49-F238E27FC236}">
                <a16:creationId xmlns:a16="http://schemas.microsoft.com/office/drawing/2014/main" id="{9BA22C30-7607-4650-9325-97AF4162AD9D}"/>
              </a:ext>
            </a:extLst>
          </p:cNvPr>
          <p:cNvCxnSpPr/>
          <p:nvPr/>
        </p:nvCxnSpPr>
        <p:spPr>
          <a:xfrm>
            <a:off x="263352" y="3736191"/>
            <a:ext cx="11816012"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2" name="Connecteur droit 31">
            <a:extLst>
              <a:ext uri="{FF2B5EF4-FFF2-40B4-BE49-F238E27FC236}">
                <a16:creationId xmlns:a16="http://schemas.microsoft.com/office/drawing/2014/main" id="{BB74EA4E-9CA3-4751-B7CC-9F346D81B97E}"/>
              </a:ext>
            </a:extLst>
          </p:cNvPr>
          <p:cNvCxnSpPr/>
          <p:nvPr/>
        </p:nvCxnSpPr>
        <p:spPr>
          <a:xfrm>
            <a:off x="263352" y="4456271"/>
            <a:ext cx="11816012"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593E78ED-7D40-453D-B16D-5EFB7616A2C7}"/>
              </a:ext>
            </a:extLst>
          </p:cNvPr>
          <p:cNvSpPr/>
          <p:nvPr/>
        </p:nvSpPr>
        <p:spPr>
          <a:xfrm>
            <a:off x="306398" y="3016111"/>
            <a:ext cx="1131143" cy="400110"/>
          </a:xfrm>
          <a:prstGeom prst="rect">
            <a:avLst/>
          </a:prstGeom>
        </p:spPr>
        <p:txBody>
          <a:bodyPr wrap="none">
            <a:spAutoFit/>
          </a:bodyPr>
          <a:lstStyle/>
          <a:p>
            <a:r>
              <a:rPr lang="fr-FR" sz="2000" b="1" dirty="0">
                <a:solidFill>
                  <a:schemeClr val="accent1"/>
                </a:solidFill>
              </a:rPr>
              <a:t>Objectifs</a:t>
            </a:r>
          </a:p>
        </p:txBody>
      </p:sp>
      <p:sp>
        <p:nvSpPr>
          <p:cNvPr id="34" name="Rectangle 33">
            <a:extLst>
              <a:ext uri="{FF2B5EF4-FFF2-40B4-BE49-F238E27FC236}">
                <a16:creationId xmlns:a16="http://schemas.microsoft.com/office/drawing/2014/main" id="{3AFFAD28-B49A-4591-A4A8-F4F068FC2C37}"/>
              </a:ext>
            </a:extLst>
          </p:cNvPr>
          <p:cNvSpPr/>
          <p:nvPr/>
        </p:nvSpPr>
        <p:spPr>
          <a:xfrm>
            <a:off x="301032" y="3808199"/>
            <a:ext cx="1299587" cy="400110"/>
          </a:xfrm>
          <a:prstGeom prst="rect">
            <a:avLst/>
          </a:prstGeom>
        </p:spPr>
        <p:txBody>
          <a:bodyPr wrap="none">
            <a:spAutoFit/>
          </a:bodyPr>
          <a:lstStyle/>
          <a:p>
            <a:r>
              <a:rPr lang="fr-FR" sz="2000" b="1" dirty="0">
                <a:solidFill>
                  <a:schemeClr val="accent1"/>
                </a:solidFill>
              </a:rPr>
              <a:t>Animation</a:t>
            </a:r>
          </a:p>
        </p:txBody>
      </p:sp>
      <p:grpSp>
        <p:nvGrpSpPr>
          <p:cNvPr id="35" name="Groupe 463">
            <a:extLst>
              <a:ext uri="{FF2B5EF4-FFF2-40B4-BE49-F238E27FC236}">
                <a16:creationId xmlns:a16="http://schemas.microsoft.com/office/drawing/2014/main" id="{70714232-40D8-4FA6-B37D-B8C2DD086364}"/>
              </a:ext>
            </a:extLst>
          </p:cNvPr>
          <p:cNvGrpSpPr/>
          <p:nvPr/>
        </p:nvGrpSpPr>
        <p:grpSpPr>
          <a:xfrm>
            <a:off x="2066882" y="4535438"/>
            <a:ext cx="644352" cy="526321"/>
            <a:chOff x="467544" y="5855494"/>
            <a:chExt cx="620784" cy="525834"/>
          </a:xfrm>
          <a:solidFill>
            <a:schemeClr val="accent1"/>
          </a:solidFill>
        </p:grpSpPr>
        <p:sp>
          <p:nvSpPr>
            <p:cNvPr id="36" name="Freeform 8">
              <a:extLst>
                <a:ext uri="{FF2B5EF4-FFF2-40B4-BE49-F238E27FC236}">
                  <a16:creationId xmlns:a16="http://schemas.microsoft.com/office/drawing/2014/main" id="{39C8A902-66D5-45C8-A76C-332F2DC79E2F}"/>
                </a:ext>
              </a:extLst>
            </p:cNvPr>
            <p:cNvSpPr>
              <a:spLocks/>
            </p:cNvSpPr>
            <p:nvPr/>
          </p:nvSpPr>
          <p:spPr bwMode="auto">
            <a:xfrm>
              <a:off x="841937" y="5855494"/>
              <a:ext cx="182089" cy="183291"/>
            </a:xfrm>
            <a:custGeom>
              <a:avLst/>
              <a:gdLst>
                <a:gd name="T0" fmla="*/ 454 w 908"/>
                <a:gd name="T1" fmla="*/ 0 h 915"/>
                <a:gd name="T2" fmla="*/ 516 w 908"/>
                <a:gd name="T3" fmla="*/ 5 h 915"/>
                <a:gd name="T4" fmla="*/ 575 w 908"/>
                <a:gd name="T5" fmla="*/ 16 h 915"/>
                <a:gd name="T6" fmla="*/ 631 w 908"/>
                <a:gd name="T7" fmla="*/ 36 h 915"/>
                <a:gd name="T8" fmla="*/ 683 w 908"/>
                <a:gd name="T9" fmla="*/ 63 h 915"/>
                <a:gd name="T10" fmla="*/ 732 w 908"/>
                <a:gd name="T11" fmla="*/ 95 h 915"/>
                <a:gd name="T12" fmla="*/ 776 w 908"/>
                <a:gd name="T13" fmla="*/ 133 h 915"/>
                <a:gd name="T14" fmla="*/ 814 w 908"/>
                <a:gd name="T15" fmla="*/ 177 h 915"/>
                <a:gd name="T16" fmla="*/ 846 w 908"/>
                <a:gd name="T17" fmla="*/ 227 h 915"/>
                <a:gd name="T18" fmla="*/ 873 w 908"/>
                <a:gd name="T19" fmla="*/ 279 h 915"/>
                <a:gd name="T20" fmla="*/ 893 w 908"/>
                <a:gd name="T21" fmla="*/ 336 h 915"/>
                <a:gd name="T22" fmla="*/ 904 w 908"/>
                <a:gd name="T23" fmla="*/ 395 h 915"/>
                <a:gd name="T24" fmla="*/ 908 w 908"/>
                <a:gd name="T25" fmla="*/ 458 h 915"/>
                <a:gd name="T26" fmla="*/ 904 w 908"/>
                <a:gd name="T27" fmla="*/ 520 h 915"/>
                <a:gd name="T28" fmla="*/ 893 w 908"/>
                <a:gd name="T29" fmla="*/ 579 h 915"/>
                <a:gd name="T30" fmla="*/ 873 w 908"/>
                <a:gd name="T31" fmla="*/ 636 h 915"/>
                <a:gd name="T32" fmla="*/ 846 w 908"/>
                <a:gd name="T33" fmla="*/ 688 h 915"/>
                <a:gd name="T34" fmla="*/ 814 w 908"/>
                <a:gd name="T35" fmla="*/ 737 h 915"/>
                <a:gd name="T36" fmla="*/ 776 w 908"/>
                <a:gd name="T37" fmla="*/ 780 h 915"/>
                <a:gd name="T38" fmla="*/ 732 w 908"/>
                <a:gd name="T39" fmla="*/ 820 h 915"/>
                <a:gd name="T40" fmla="*/ 683 w 908"/>
                <a:gd name="T41" fmla="*/ 853 h 915"/>
                <a:gd name="T42" fmla="*/ 631 w 908"/>
                <a:gd name="T43" fmla="*/ 880 h 915"/>
                <a:gd name="T44" fmla="*/ 575 w 908"/>
                <a:gd name="T45" fmla="*/ 899 h 915"/>
                <a:gd name="T46" fmla="*/ 516 w 908"/>
                <a:gd name="T47" fmla="*/ 911 h 915"/>
                <a:gd name="T48" fmla="*/ 454 w 908"/>
                <a:gd name="T49" fmla="*/ 915 h 915"/>
                <a:gd name="T50" fmla="*/ 403 w 908"/>
                <a:gd name="T51" fmla="*/ 912 h 915"/>
                <a:gd name="T52" fmla="*/ 354 w 908"/>
                <a:gd name="T53" fmla="*/ 904 h 915"/>
                <a:gd name="T54" fmla="*/ 308 w 908"/>
                <a:gd name="T55" fmla="*/ 891 h 915"/>
                <a:gd name="T56" fmla="*/ 263 w 908"/>
                <a:gd name="T57" fmla="*/ 873 h 915"/>
                <a:gd name="T58" fmla="*/ 251 w 908"/>
                <a:gd name="T59" fmla="*/ 806 h 915"/>
                <a:gd name="T60" fmla="*/ 233 w 908"/>
                <a:gd name="T61" fmla="*/ 744 h 915"/>
                <a:gd name="T62" fmla="*/ 209 w 908"/>
                <a:gd name="T63" fmla="*/ 684 h 915"/>
                <a:gd name="T64" fmla="*/ 178 w 908"/>
                <a:gd name="T65" fmla="*/ 629 h 915"/>
                <a:gd name="T66" fmla="*/ 142 w 908"/>
                <a:gd name="T67" fmla="*/ 577 h 915"/>
                <a:gd name="T68" fmla="*/ 100 w 908"/>
                <a:gd name="T69" fmla="*/ 530 h 915"/>
                <a:gd name="T70" fmla="*/ 52 w 908"/>
                <a:gd name="T71" fmla="*/ 487 h 915"/>
                <a:gd name="T72" fmla="*/ 0 w 908"/>
                <a:gd name="T73" fmla="*/ 451 h 915"/>
                <a:gd name="T74" fmla="*/ 5 w 908"/>
                <a:gd name="T75" fmla="*/ 390 h 915"/>
                <a:gd name="T76" fmla="*/ 18 w 908"/>
                <a:gd name="T77" fmla="*/ 330 h 915"/>
                <a:gd name="T78" fmla="*/ 38 w 908"/>
                <a:gd name="T79" fmla="*/ 275 h 915"/>
                <a:gd name="T80" fmla="*/ 64 w 908"/>
                <a:gd name="T81" fmla="*/ 223 h 915"/>
                <a:gd name="T82" fmla="*/ 97 w 908"/>
                <a:gd name="T83" fmla="*/ 174 h 915"/>
                <a:gd name="T84" fmla="*/ 135 w 908"/>
                <a:gd name="T85" fmla="*/ 132 h 915"/>
                <a:gd name="T86" fmla="*/ 178 w 908"/>
                <a:gd name="T87" fmla="*/ 94 h 915"/>
                <a:gd name="T88" fmla="*/ 226 w 908"/>
                <a:gd name="T89" fmla="*/ 61 h 915"/>
                <a:gd name="T90" fmla="*/ 278 w 908"/>
                <a:gd name="T91" fmla="*/ 36 h 915"/>
                <a:gd name="T92" fmla="*/ 334 w 908"/>
                <a:gd name="T93" fmla="*/ 16 h 915"/>
                <a:gd name="T94" fmla="*/ 393 w 908"/>
                <a:gd name="T95" fmla="*/ 5 h 915"/>
                <a:gd name="T96" fmla="*/ 454 w 908"/>
                <a:gd name="T97" fmla="*/ 0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08" h="915">
                  <a:moveTo>
                    <a:pt x="454" y="0"/>
                  </a:moveTo>
                  <a:lnTo>
                    <a:pt x="516" y="5"/>
                  </a:lnTo>
                  <a:lnTo>
                    <a:pt x="575" y="16"/>
                  </a:lnTo>
                  <a:lnTo>
                    <a:pt x="631" y="36"/>
                  </a:lnTo>
                  <a:lnTo>
                    <a:pt x="683" y="63"/>
                  </a:lnTo>
                  <a:lnTo>
                    <a:pt x="732" y="95"/>
                  </a:lnTo>
                  <a:lnTo>
                    <a:pt x="776" y="133"/>
                  </a:lnTo>
                  <a:lnTo>
                    <a:pt x="814" y="177"/>
                  </a:lnTo>
                  <a:lnTo>
                    <a:pt x="846" y="227"/>
                  </a:lnTo>
                  <a:lnTo>
                    <a:pt x="873" y="279"/>
                  </a:lnTo>
                  <a:lnTo>
                    <a:pt x="893" y="336"/>
                  </a:lnTo>
                  <a:lnTo>
                    <a:pt x="904" y="395"/>
                  </a:lnTo>
                  <a:lnTo>
                    <a:pt x="908" y="458"/>
                  </a:lnTo>
                  <a:lnTo>
                    <a:pt x="904" y="520"/>
                  </a:lnTo>
                  <a:lnTo>
                    <a:pt x="893" y="579"/>
                  </a:lnTo>
                  <a:lnTo>
                    <a:pt x="873" y="636"/>
                  </a:lnTo>
                  <a:lnTo>
                    <a:pt x="846" y="688"/>
                  </a:lnTo>
                  <a:lnTo>
                    <a:pt x="814" y="737"/>
                  </a:lnTo>
                  <a:lnTo>
                    <a:pt x="776" y="780"/>
                  </a:lnTo>
                  <a:lnTo>
                    <a:pt x="732" y="820"/>
                  </a:lnTo>
                  <a:lnTo>
                    <a:pt x="683" y="853"/>
                  </a:lnTo>
                  <a:lnTo>
                    <a:pt x="631" y="880"/>
                  </a:lnTo>
                  <a:lnTo>
                    <a:pt x="575" y="899"/>
                  </a:lnTo>
                  <a:lnTo>
                    <a:pt x="516" y="911"/>
                  </a:lnTo>
                  <a:lnTo>
                    <a:pt x="454" y="915"/>
                  </a:lnTo>
                  <a:lnTo>
                    <a:pt x="403" y="912"/>
                  </a:lnTo>
                  <a:lnTo>
                    <a:pt x="354" y="904"/>
                  </a:lnTo>
                  <a:lnTo>
                    <a:pt x="308" y="891"/>
                  </a:lnTo>
                  <a:lnTo>
                    <a:pt x="263" y="873"/>
                  </a:lnTo>
                  <a:lnTo>
                    <a:pt x="251" y="806"/>
                  </a:lnTo>
                  <a:lnTo>
                    <a:pt x="233" y="744"/>
                  </a:lnTo>
                  <a:lnTo>
                    <a:pt x="209" y="684"/>
                  </a:lnTo>
                  <a:lnTo>
                    <a:pt x="178" y="629"/>
                  </a:lnTo>
                  <a:lnTo>
                    <a:pt x="142" y="577"/>
                  </a:lnTo>
                  <a:lnTo>
                    <a:pt x="100" y="530"/>
                  </a:lnTo>
                  <a:lnTo>
                    <a:pt x="52" y="487"/>
                  </a:lnTo>
                  <a:lnTo>
                    <a:pt x="0" y="451"/>
                  </a:lnTo>
                  <a:lnTo>
                    <a:pt x="5" y="390"/>
                  </a:lnTo>
                  <a:lnTo>
                    <a:pt x="18" y="330"/>
                  </a:lnTo>
                  <a:lnTo>
                    <a:pt x="38" y="275"/>
                  </a:lnTo>
                  <a:lnTo>
                    <a:pt x="64" y="223"/>
                  </a:lnTo>
                  <a:lnTo>
                    <a:pt x="97" y="174"/>
                  </a:lnTo>
                  <a:lnTo>
                    <a:pt x="135" y="132"/>
                  </a:lnTo>
                  <a:lnTo>
                    <a:pt x="178" y="94"/>
                  </a:lnTo>
                  <a:lnTo>
                    <a:pt x="226" y="61"/>
                  </a:lnTo>
                  <a:lnTo>
                    <a:pt x="278" y="36"/>
                  </a:lnTo>
                  <a:lnTo>
                    <a:pt x="334" y="16"/>
                  </a:lnTo>
                  <a:lnTo>
                    <a:pt x="393" y="5"/>
                  </a:lnTo>
                  <a:lnTo>
                    <a:pt x="4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37" name="Freeform 9">
              <a:extLst>
                <a:ext uri="{FF2B5EF4-FFF2-40B4-BE49-F238E27FC236}">
                  <a16:creationId xmlns:a16="http://schemas.microsoft.com/office/drawing/2014/main" id="{8D547250-CF70-4E44-89F1-6BA3154F23E0}"/>
                </a:ext>
              </a:extLst>
            </p:cNvPr>
            <p:cNvSpPr>
              <a:spLocks/>
            </p:cNvSpPr>
            <p:nvPr/>
          </p:nvSpPr>
          <p:spPr bwMode="auto">
            <a:xfrm>
              <a:off x="531846" y="5855494"/>
              <a:ext cx="182089" cy="183291"/>
            </a:xfrm>
            <a:custGeom>
              <a:avLst/>
              <a:gdLst>
                <a:gd name="T0" fmla="*/ 456 w 910"/>
                <a:gd name="T1" fmla="*/ 0 h 915"/>
                <a:gd name="T2" fmla="*/ 516 w 910"/>
                <a:gd name="T3" fmla="*/ 5 h 915"/>
                <a:gd name="T4" fmla="*/ 575 w 910"/>
                <a:gd name="T5" fmla="*/ 16 h 915"/>
                <a:gd name="T6" fmla="*/ 631 w 910"/>
                <a:gd name="T7" fmla="*/ 36 h 915"/>
                <a:gd name="T8" fmla="*/ 685 w 910"/>
                <a:gd name="T9" fmla="*/ 63 h 915"/>
                <a:gd name="T10" fmla="*/ 733 w 910"/>
                <a:gd name="T11" fmla="*/ 95 h 915"/>
                <a:gd name="T12" fmla="*/ 776 w 910"/>
                <a:gd name="T13" fmla="*/ 133 h 915"/>
                <a:gd name="T14" fmla="*/ 814 w 910"/>
                <a:gd name="T15" fmla="*/ 177 h 915"/>
                <a:gd name="T16" fmla="*/ 846 w 910"/>
                <a:gd name="T17" fmla="*/ 227 h 915"/>
                <a:gd name="T18" fmla="*/ 873 w 910"/>
                <a:gd name="T19" fmla="*/ 279 h 915"/>
                <a:gd name="T20" fmla="*/ 893 w 910"/>
                <a:gd name="T21" fmla="*/ 336 h 915"/>
                <a:gd name="T22" fmla="*/ 906 w 910"/>
                <a:gd name="T23" fmla="*/ 395 h 915"/>
                <a:gd name="T24" fmla="*/ 910 w 910"/>
                <a:gd name="T25" fmla="*/ 458 h 915"/>
                <a:gd name="T26" fmla="*/ 908 w 910"/>
                <a:gd name="T27" fmla="*/ 483 h 915"/>
                <a:gd name="T28" fmla="*/ 862 w 910"/>
                <a:gd name="T29" fmla="*/ 523 h 915"/>
                <a:gd name="T30" fmla="*/ 821 w 910"/>
                <a:gd name="T31" fmla="*/ 568 h 915"/>
                <a:gd name="T32" fmla="*/ 785 w 910"/>
                <a:gd name="T33" fmla="*/ 616 h 915"/>
                <a:gd name="T34" fmla="*/ 754 w 910"/>
                <a:gd name="T35" fmla="*/ 669 h 915"/>
                <a:gd name="T36" fmla="*/ 728 w 910"/>
                <a:gd name="T37" fmla="*/ 724 h 915"/>
                <a:gd name="T38" fmla="*/ 710 w 910"/>
                <a:gd name="T39" fmla="*/ 783 h 915"/>
                <a:gd name="T40" fmla="*/ 696 w 910"/>
                <a:gd name="T41" fmla="*/ 844 h 915"/>
                <a:gd name="T42" fmla="*/ 652 w 910"/>
                <a:gd name="T43" fmla="*/ 868 h 915"/>
                <a:gd name="T44" fmla="*/ 606 w 910"/>
                <a:gd name="T45" fmla="*/ 888 h 915"/>
                <a:gd name="T46" fmla="*/ 558 w 910"/>
                <a:gd name="T47" fmla="*/ 904 h 915"/>
                <a:gd name="T48" fmla="*/ 508 w 910"/>
                <a:gd name="T49" fmla="*/ 912 h 915"/>
                <a:gd name="T50" fmla="*/ 456 w 910"/>
                <a:gd name="T51" fmla="*/ 915 h 915"/>
                <a:gd name="T52" fmla="*/ 394 w 910"/>
                <a:gd name="T53" fmla="*/ 911 h 915"/>
                <a:gd name="T54" fmla="*/ 335 w 910"/>
                <a:gd name="T55" fmla="*/ 899 h 915"/>
                <a:gd name="T56" fmla="*/ 278 w 910"/>
                <a:gd name="T57" fmla="*/ 880 h 915"/>
                <a:gd name="T58" fmla="*/ 225 w 910"/>
                <a:gd name="T59" fmla="*/ 853 h 915"/>
                <a:gd name="T60" fmla="*/ 177 w 910"/>
                <a:gd name="T61" fmla="*/ 820 h 915"/>
                <a:gd name="T62" fmla="*/ 133 w 910"/>
                <a:gd name="T63" fmla="*/ 780 h 915"/>
                <a:gd name="T64" fmla="*/ 96 w 910"/>
                <a:gd name="T65" fmla="*/ 737 h 915"/>
                <a:gd name="T66" fmla="*/ 62 w 910"/>
                <a:gd name="T67" fmla="*/ 688 h 915"/>
                <a:gd name="T68" fmla="*/ 36 w 910"/>
                <a:gd name="T69" fmla="*/ 636 h 915"/>
                <a:gd name="T70" fmla="*/ 17 w 910"/>
                <a:gd name="T71" fmla="*/ 579 h 915"/>
                <a:gd name="T72" fmla="*/ 4 w 910"/>
                <a:gd name="T73" fmla="*/ 520 h 915"/>
                <a:gd name="T74" fmla="*/ 0 w 910"/>
                <a:gd name="T75" fmla="*/ 458 h 915"/>
                <a:gd name="T76" fmla="*/ 4 w 910"/>
                <a:gd name="T77" fmla="*/ 395 h 915"/>
                <a:gd name="T78" fmla="*/ 17 w 910"/>
                <a:gd name="T79" fmla="*/ 336 h 915"/>
                <a:gd name="T80" fmla="*/ 36 w 910"/>
                <a:gd name="T81" fmla="*/ 279 h 915"/>
                <a:gd name="T82" fmla="*/ 62 w 910"/>
                <a:gd name="T83" fmla="*/ 227 h 915"/>
                <a:gd name="T84" fmla="*/ 96 w 910"/>
                <a:gd name="T85" fmla="*/ 177 h 915"/>
                <a:gd name="T86" fmla="*/ 133 w 910"/>
                <a:gd name="T87" fmla="*/ 133 h 915"/>
                <a:gd name="T88" fmla="*/ 177 w 910"/>
                <a:gd name="T89" fmla="*/ 95 h 915"/>
                <a:gd name="T90" fmla="*/ 225 w 910"/>
                <a:gd name="T91" fmla="*/ 63 h 915"/>
                <a:gd name="T92" fmla="*/ 278 w 910"/>
                <a:gd name="T93" fmla="*/ 36 h 915"/>
                <a:gd name="T94" fmla="*/ 335 w 910"/>
                <a:gd name="T95" fmla="*/ 16 h 915"/>
                <a:gd name="T96" fmla="*/ 394 w 910"/>
                <a:gd name="T97" fmla="*/ 5 h 915"/>
                <a:gd name="T98" fmla="*/ 456 w 910"/>
                <a:gd name="T99" fmla="*/ 0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10" h="915">
                  <a:moveTo>
                    <a:pt x="456" y="0"/>
                  </a:moveTo>
                  <a:lnTo>
                    <a:pt x="516" y="5"/>
                  </a:lnTo>
                  <a:lnTo>
                    <a:pt x="575" y="16"/>
                  </a:lnTo>
                  <a:lnTo>
                    <a:pt x="631" y="36"/>
                  </a:lnTo>
                  <a:lnTo>
                    <a:pt x="685" y="63"/>
                  </a:lnTo>
                  <a:lnTo>
                    <a:pt x="733" y="95"/>
                  </a:lnTo>
                  <a:lnTo>
                    <a:pt x="776" y="133"/>
                  </a:lnTo>
                  <a:lnTo>
                    <a:pt x="814" y="177"/>
                  </a:lnTo>
                  <a:lnTo>
                    <a:pt x="846" y="227"/>
                  </a:lnTo>
                  <a:lnTo>
                    <a:pt x="873" y="279"/>
                  </a:lnTo>
                  <a:lnTo>
                    <a:pt x="893" y="336"/>
                  </a:lnTo>
                  <a:lnTo>
                    <a:pt x="906" y="395"/>
                  </a:lnTo>
                  <a:lnTo>
                    <a:pt x="910" y="458"/>
                  </a:lnTo>
                  <a:lnTo>
                    <a:pt x="908" y="483"/>
                  </a:lnTo>
                  <a:lnTo>
                    <a:pt x="862" y="523"/>
                  </a:lnTo>
                  <a:lnTo>
                    <a:pt x="821" y="568"/>
                  </a:lnTo>
                  <a:lnTo>
                    <a:pt x="785" y="616"/>
                  </a:lnTo>
                  <a:lnTo>
                    <a:pt x="754" y="669"/>
                  </a:lnTo>
                  <a:lnTo>
                    <a:pt x="728" y="724"/>
                  </a:lnTo>
                  <a:lnTo>
                    <a:pt x="710" y="783"/>
                  </a:lnTo>
                  <a:lnTo>
                    <a:pt x="696" y="844"/>
                  </a:lnTo>
                  <a:lnTo>
                    <a:pt x="652" y="868"/>
                  </a:lnTo>
                  <a:lnTo>
                    <a:pt x="606" y="888"/>
                  </a:lnTo>
                  <a:lnTo>
                    <a:pt x="558" y="904"/>
                  </a:lnTo>
                  <a:lnTo>
                    <a:pt x="508" y="912"/>
                  </a:lnTo>
                  <a:lnTo>
                    <a:pt x="456" y="915"/>
                  </a:lnTo>
                  <a:lnTo>
                    <a:pt x="394" y="911"/>
                  </a:lnTo>
                  <a:lnTo>
                    <a:pt x="335" y="899"/>
                  </a:lnTo>
                  <a:lnTo>
                    <a:pt x="278" y="880"/>
                  </a:lnTo>
                  <a:lnTo>
                    <a:pt x="225" y="853"/>
                  </a:lnTo>
                  <a:lnTo>
                    <a:pt x="177" y="820"/>
                  </a:lnTo>
                  <a:lnTo>
                    <a:pt x="133" y="780"/>
                  </a:lnTo>
                  <a:lnTo>
                    <a:pt x="96" y="737"/>
                  </a:lnTo>
                  <a:lnTo>
                    <a:pt x="62" y="688"/>
                  </a:lnTo>
                  <a:lnTo>
                    <a:pt x="36" y="636"/>
                  </a:lnTo>
                  <a:lnTo>
                    <a:pt x="17" y="579"/>
                  </a:lnTo>
                  <a:lnTo>
                    <a:pt x="4" y="520"/>
                  </a:lnTo>
                  <a:lnTo>
                    <a:pt x="0" y="458"/>
                  </a:lnTo>
                  <a:lnTo>
                    <a:pt x="4" y="395"/>
                  </a:lnTo>
                  <a:lnTo>
                    <a:pt x="17" y="336"/>
                  </a:lnTo>
                  <a:lnTo>
                    <a:pt x="36" y="279"/>
                  </a:lnTo>
                  <a:lnTo>
                    <a:pt x="62" y="227"/>
                  </a:lnTo>
                  <a:lnTo>
                    <a:pt x="96" y="177"/>
                  </a:lnTo>
                  <a:lnTo>
                    <a:pt x="133" y="133"/>
                  </a:lnTo>
                  <a:lnTo>
                    <a:pt x="177" y="95"/>
                  </a:lnTo>
                  <a:lnTo>
                    <a:pt x="225" y="63"/>
                  </a:lnTo>
                  <a:lnTo>
                    <a:pt x="278" y="36"/>
                  </a:lnTo>
                  <a:lnTo>
                    <a:pt x="335" y="16"/>
                  </a:lnTo>
                  <a:lnTo>
                    <a:pt x="394" y="5"/>
                  </a:lnTo>
                  <a:lnTo>
                    <a:pt x="4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38" name="Freeform 11">
              <a:extLst>
                <a:ext uri="{FF2B5EF4-FFF2-40B4-BE49-F238E27FC236}">
                  <a16:creationId xmlns:a16="http://schemas.microsoft.com/office/drawing/2014/main" id="{E104BA8E-F6CB-41D6-9E67-CAF7DDA8E383}"/>
                </a:ext>
              </a:extLst>
            </p:cNvPr>
            <p:cNvSpPr>
              <a:spLocks/>
            </p:cNvSpPr>
            <p:nvPr/>
          </p:nvSpPr>
          <p:spPr bwMode="auto">
            <a:xfrm>
              <a:off x="691098" y="5949844"/>
              <a:ext cx="182690" cy="183892"/>
            </a:xfrm>
            <a:custGeom>
              <a:avLst/>
              <a:gdLst>
                <a:gd name="T0" fmla="*/ 456 w 910"/>
                <a:gd name="T1" fmla="*/ 0 h 916"/>
                <a:gd name="T2" fmla="*/ 516 w 910"/>
                <a:gd name="T3" fmla="*/ 4 h 916"/>
                <a:gd name="T4" fmla="*/ 575 w 910"/>
                <a:gd name="T5" fmla="*/ 17 h 916"/>
                <a:gd name="T6" fmla="*/ 632 w 910"/>
                <a:gd name="T7" fmla="*/ 37 h 916"/>
                <a:gd name="T8" fmla="*/ 685 w 910"/>
                <a:gd name="T9" fmla="*/ 64 h 916"/>
                <a:gd name="T10" fmla="*/ 733 w 910"/>
                <a:gd name="T11" fmla="*/ 96 h 916"/>
                <a:gd name="T12" fmla="*/ 777 w 910"/>
                <a:gd name="T13" fmla="*/ 134 h 916"/>
                <a:gd name="T14" fmla="*/ 815 w 910"/>
                <a:gd name="T15" fmla="*/ 178 h 916"/>
                <a:gd name="T16" fmla="*/ 848 w 910"/>
                <a:gd name="T17" fmla="*/ 226 h 916"/>
                <a:gd name="T18" fmla="*/ 874 w 910"/>
                <a:gd name="T19" fmla="*/ 280 h 916"/>
                <a:gd name="T20" fmla="*/ 893 w 910"/>
                <a:gd name="T21" fmla="*/ 337 h 916"/>
                <a:gd name="T22" fmla="*/ 906 w 910"/>
                <a:gd name="T23" fmla="*/ 396 h 916"/>
                <a:gd name="T24" fmla="*/ 910 w 910"/>
                <a:gd name="T25" fmla="*/ 459 h 916"/>
                <a:gd name="T26" fmla="*/ 906 w 910"/>
                <a:gd name="T27" fmla="*/ 519 h 916"/>
                <a:gd name="T28" fmla="*/ 893 w 910"/>
                <a:gd name="T29" fmla="*/ 579 h 916"/>
                <a:gd name="T30" fmla="*/ 874 w 910"/>
                <a:gd name="T31" fmla="*/ 636 h 916"/>
                <a:gd name="T32" fmla="*/ 848 w 910"/>
                <a:gd name="T33" fmla="*/ 689 h 916"/>
                <a:gd name="T34" fmla="*/ 815 w 910"/>
                <a:gd name="T35" fmla="*/ 738 h 916"/>
                <a:gd name="T36" fmla="*/ 777 w 910"/>
                <a:gd name="T37" fmla="*/ 781 h 916"/>
                <a:gd name="T38" fmla="*/ 733 w 910"/>
                <a:gd name="T39" fmla="*/ 820 h 916"/>
                <a:gd name="T40" fmla="*/ 685 w 910"/>
                <a:gd name="T41" fmla="*/ 854 h 916"/>
                <a:gd name="T42" fmla="*/ 632 w 910"/>
                <a:gd name="T43" fmla="*/ 879 h 916"/>
                <a:gd name="T44" fmla="*/ 575 w 910"/>
                <a:gd name="T45" fmla="*/ 899 h 916"/>
                <a:gd name="T46" fmla="*/ 516 w 910"/>
                <a:gd name="T47" fmla="*/ 912 h 916"/>
                <a:gd name="T48" fmla="*/ 456 w 910"/>
                <a:gd name="T49" fmla="*/ 916 h 916"/>
                <a:gd name="T50" fmla="*/ 394 w 910"/>
                <a:gd name="T51" fmla="*/ 912 h 916"/>
                <a:gd name="T52" fmla="*/ 335 w 910"/>
                <a:gd name="T53" fmla="*/ 899 h 916"/>
                <a:gd name="T54" fmla="*/ 279 w 910"/>
                <a:gd name="T55" fmla="*/ 879 h 916"/>
                <a:gd name="T56" fmla="*/ 225 w 910"/>
                <a:gd name="T57" fmla="*/ 854 h 916"/>
                <a:gd name="T58" fmla="*/ 177 w 910"/>
                <a:gd name="T59" fmla="*/ 820 h 916"/>
                <a:gd name="T60" fmla="*/ 134 w 910"/>
                <a:gd name="T61" fmla="*/ 781 h 916"/>
                <a:gd name="T62" fmla="*/ 96 w 910"/>
                <a:gd name="T63" fmla="*/ 738 h 916"/>
                <a:gd name="T64" fmla="*/ 62 w 910"/>
                <a:gd name="T65" fmla="*/ 689 h 916"/>
                <a:gd name="T66" fmla="*/ 37 w 910"/>
                <a:gd name="T67" fmla="*/ 636 h 916"/>
                <a:gd name="T68" fmla="*/ 17 w 910"/>
                <a:gd name="T69" fmla="*/ 579 h 916"/>
                <a:gd name="T70" fmla="*/ 4 w 910"/>
                <a:gd name="T71" fmla="*/ 519 h 916"/>
                <a:gd name="T72" fmla="*/ 0 w 910"/>
                <a:gd name="T73" fmla="*/ 459 h 916"/>
                <a:gd name="T74" fmla="*/ 4 w 910"/>
                <a:gd name="T75" fmla="*/ 396 h 916"/>
                <a:gd name="T76" fmla="*/ 17 w 910"/>
                <a:gd name="T77" fmla="*/ 337 h 916"/>
                <a:gd name="T78" fmla="*/ 37 w 910"/>
                <a:gd name="T79" fmla="*/ 280 h 916"/>
                <a:gd name="T80" fmla="*/ 62 w 910"/>
                <a:gd name="T81" fmla="*/ 226 h 916"/>
                <a:gd name="T82" fmla="*/ 96 w 910"/>
                <a:gd name="T83" fmla="*/ 178 h 916"/>
                <a:gd name="T84" fmla="*/ 134 w 910"/>
                <a:gd name="T85" fmla="*/ 134 h 916"/>
                <a:gd name="T86" fmla="*/ 177 w 910"/>
                <a:gd name="T87" fmla="*/ 96 h 916"/>
                <a:gd name="T88" fmla="*/ 225 w 910"/>
                <a:gd name="T89" fmla="*/ 64 h 916"/>
                <a:gd name="T90" fmla="*/ 279 w 910"/>
                <a:gd name="T91" fmla="*/ 37 h 916"/>
                <a:gd name="T92" fmla="*/ 335 w 910"/>
                <a:gd name="T93" fmla="*/ 17 h 916"/>
                <a:gd name="T94" fmla="*/ 394 w 910"/>
                <a:gd name="T95" fmla="*/ 4 h 916"/>
                <a:gd name="T96" fmla="*/ 456 w 910"/>
                <a:gd name="T97" fmla="*/ 0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10" h="916">
                  <a:moveTo>
                    <a:pt x="456" y="0"/>
                  </a:moveTo>
                  <a:lnTo>
                    <a:pt x="516" y="4"/>
                  </a:lnTo>
                  <a:lnTo>
                    <a:pt x="575" y="17"/>
                  </a:lnTo>
                  <a:lnTo>
                    <a:pt x="632" y="37"/>
                  </a:lnTo>
                  <a:lnTo>
                    <a:pt x="685" y="64"/>
                  </a:lnTo>
                  <a:lnTo>
                    <a:pt x="733" y="96"/>
                  </a:lnTo>
                  <a:lnTo>
                    <a:pt x="777" y="134"/>
                  </a:lnTo>
                  <a:lnTo>
                    <a:pt x="815" y="178"/>
                  </a:lnTo>
                  <a:lnTo>
                    <a:pt x="848" y="226"/>
                  </a:lnTo>
                  <a:lnTo>
                    <a:pt x="874" y="280"/>
                  </a:lnTo>
                  <a:lnTo>
                    <a:pt x="893" y="337"/>
                  </a:lnTo>
                  <a:lnTo>
                    <a:pt x="906" y="396"/>
                  </a:lnTo>
                  <a:lnTo>
                    <a:pt x="910" y="459"/>
                  </a:lnTo>
                  <a:lnTo>
                    <a:pt x="906" y="519"/>
                  </a:lnTo>
                  <a:lnTo>
                    <a:pt x="893" y="579"/>
                  </a:lnTo>
                  <a:lnTo>
                    <a:pt x="874" y="636"/>
                  </a:lnTo>
                  <a:lnTo>
                    <a:pt x="848" y="689"/>
                  </a:lnTo>
                  <a:lnTo>
                    <a:pt x="815" y="738"/>
                  </a:lnTo>
                  <a:lnTo>
                    <a:pt x="777" y="781"/>
                  </a:lnTo>
                  <a:lnTo>
                    <a:pt x="733" y="820"/>
                  </a:lnTo>
                  <a:lnTo>
                    <a:pt x="685" y="854"/>
                  </a:lnTo>
                  <a:lnTo>
                    <a:pt x="632" y="879"/>
                  </a:lnTo>
                  <a:lnTo>
                    <a:pt x="575" y="899"/>
                  </a:lnTo>
                  <a:lnTo>
                    <a:pt x="516" y="912"/>
                  </a:lnTo>
                  <a:lnTo>
                    <a:pt x="456" y="916"/>
                  </a:lnTo>
                  <a:lnTo>
                    <a:pt x="394" y="912"/>
                  </a:lnTo>
                  <a:lnTo>
                    <a:pt x="335" y="899"/>
                  </a:lnTo>
                  <a:lnTo>
                    <a:pt x="279" y="879"/>
                  </a:lnTo>
                  <a:lnTo>
                    <a:pt x="225" y="854"/>
                  </a:lnTo>
                  <a:lnTo>
                    <a:pt x="177" y="820"/>
                  </a:lnTo>
                  <a:lnTo>
                    <a:pt x="134" y="781"/>
                  </a:lnTo>
                  <a:lnTo>
                    <a:pt x="96" y="738"/>
                  </a:lnTo>
                  <a:lnTo>
                    <a:pt x="62" y="689"/>
                  </a:lnTo>
                  <a:lnTo>
                    <a:pt x="37" y="636"/>
                  </a:lnTo>
                  <a:lnTo>
                    <a:pt x="17" y="579"/>
                  </a:lnTo>
                  <a:lnTo>
                    <a:pt x="4" y="519"/>
                  </a:lnTo>
                  <a:lnTo>
                    <a:pt x="0" y="459"/>
                  </a:lnTo>
                  <a:lnTo>
                    <a:pt x="4" y="396"/>
                  </a:lnTo>
                  <a:lnTo>
                    <a:pt x="17" y="337"/>
                  </a:lnTo>
                  <a:lnTo>
                    <a:pt x="37" y="280"/>
                  </a:lnTo>
                  <a:lnTo>
                    <a:pt x="62" y="226"/>
                  </a:lnTo>
                  <a:lnTo>
                    <a:pt x="96" y="178"/>
                  </a:lnTo>
                  <a:lnTo>
                    <a:pt x="134" y="134"/>
                  </a:lnTo>
                  <a:lnTo>
                    <a:pt x="177" y="96"/>
                  </a:lnTo>
                  <a:lnTo>
                    <a:pt x="225" y="64"/>
                  </a:lnTo>
                  <a:lnTo>
                    <a:pt x="279" y="37"/>
                  </a:lnTo>
                  <a:lnTo>
                    <a:pt x="335" y="17"/>
                  </a:lnTo>
                  <a:lnTo>
                    <a:pt x="394" y="4"/>
                  </a:lnTo>
                  <a:lnTo>
                    <a:pt x="4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39" name="Freeform 12">
              <a:extLst>
                <a:ext uri="{FF2B5EF4-FFF2-40B4-BE49-F238E27FC236}">
                  <a16:creationId xmlns:a16="http://schemas.microsoft.com/office/drawing/2014/main" id="{FCDBFCFD-3171-4914-8DAE-AEDAE291C9FE}"/>
                </a:ext>
              </a:extLst>
            </p:cNvPr>
            <p:cNvSpPr>
              <a:spLocks/>
            </p:cNvSpPr>
            <p:nvPr/>
          </p:nvSpPr>
          <p:spPr bwMode="auto">
            <a:xfrm>
              <a:off x="860567" y="6044794"/>
              <a:ext cx="227761" cy="241583"/>
            </a:xfrm>
            <a:custGeom>
              <a:avLst/>
              <a:gdLst>
                <a:gd name="T0" fmla="*/ 173 w 1138"/>
                <a:gd name="T1" fmla="*/ 0 h 1205"/>
                <a:gd name="T2" fmla="*/ 556 w 1138"/>
                <a:gd name="T3" fmla="*/ 0 h 1205"/>
                <a:gd name="T4" fmla="*/ 625 w 1138"/>
                <a:gd name="T5" fmla="*/ 4 h 1205"/>
                <a:gd name="T6" fmla="*/ 689 w 1138"/>
                <a:gd name="T7" fmla="*/ 16 h 1205"/>
                <a:gd name="T8" fmla="*/ 752 w 1138"/>
                <a:gd name="T9" fmla="*/ 34 h 1205"/>
                <a:gd name="T10" fmla="*/ 812 w 1138"/>
                <a:gd name="T11" fmla="*/ 60 h 1205"/>
                <a:gd name="T12" fmla="*/ 868 w 1138"/>
                <a:gd name="T13" fmla="*/ 92 h 1205"/>
                <a:gd name="T14" fmla="*/ 920 w 1138"/>
                <a:gd name="T15" fmla="*/ 129 h 1205"/>
                <a:gd name="T16" fmla="*/ 968 w 1138"/>
                <a:gd name="T17" fmla="*/ 171 h 1205"/>
                <a:gd name="T18" fmla="*/ 1010 w 1138"/>
                <a:gd name="T19" fmla="*/ 220 h 1205"/>
                <a:gd name="T20" fmla="*/ 1046 w 1138"/>
                <a:gd name="T21" fmla="*/ 272 h 1205"/>
                <a:gd name="T22" fmla="*/ 1079 w 1138"/>
                <a:gd name="T23" fmla="*/ 329 h 1205"/>
                <a:gd name="T24" fmla="*/ 1104 w 1138"/>
                <a:gd name="T25" fmla="*/ 390 h 1205"/>
                <a:gd name="T26" fmla="*/ 1122 w 1138"/>
                <a:gd name="T27" fmla="*/ 452 h 1205"/>
                <a:gd name="T28" fmla="*/ 1134 w 1138"/>
                <a:gd name="T29" fmla="*/ 518 h 1205"/>
                <a:gd name="T30" fmla="*/ 1138 w 1138"/>
                <a:gd name="T31" fmla="*/ 586 h 1205"/>
                <a:gd name="T32" fmla="*/ 1138 w 1138"/>
                <a:gd name="T33" fmla="*/ 1061 h 1205"/>
                <a:gd name="T34" fmla="*/ 1135 w 1138"/>
                <a:gd name="T35" fmla="*/ 1061 h 1205"/>
                <a:gd name="T36" fmla="*/ 1104 w 1138"/>
                <a:gd name="T37" fmla="*/ 1076 h 1205"/>
                <a:gd name="T38" fmla="*/ 1097 w 1138"/>
                <a:gd name="T39" fmla="*/ 1081 h 1205"/>
                <a:gd name="T40" fmla="*/ 1083 w 1138"/>
                <a:gd name="T41" fmla="*/ 1086 h 1205"/>
                <a:gd name="T42" fmla="*/ 1062 w 1138"/>
                <a:gd name="T43" fmla="*/ 1095 h 1205"/>
                <a:gd name="T44" fmla="*/ 1035 w 1138"/>
                <a:gd name="T45" fmla="*/ 1106 h 1205"/>
                <a:gd name="T46" fmla="*/ 1000 w 1138"/>
                <a:gd name="T47" fmla="*/ 1119 h 1205"/>
                <a:gd name="T48" fmla="*/ 959 w 1138"/>
                <a:gd name="T49" fmla="*/ 1132 h 1205"/>
                <a:gd name="T50" fmla="*/ 911 w 1138"/>
                <a:gd name="T51" fmla="*/ 1146 h 1205"/>
                <a:gd name="T52" fmla="*/ 857 w 1138"/>
                <a:gd name="T53" fmla="*/ 1158 h 1205"/>
                <a:gd name="T54" fmla="*/ 796 w 1138"/>
                <a:gd name="T55" fmla="*/ 1171 h 1205"/>
                <a:gd name="T56" fmla="*/ 730 w 1138"/>
                <a:gd name="T57" fmla="*/ 1184 h 1205"/>
                <a:gd name="T58" fmla="*/ 657 w 1138"/>
                <a:gd name="T59" fmla="*/ 1194 h 1205"/>
                <a:gd name="T60" fmla="*/ 578 w 1138"/>
                <a:gd name="T61" fmla="*/ 1201 h 1205"/>
                <a:gd name="T62" fmla="*/ 494 w 1138"/>
                <a:gd name="T63" fmla="*/ 1205 h 1205"/>
                <a:gd name="T64" fmla="*/ 494 w 1138"/>
                <a:gd name="T65" fmla="*/ 1059 h 1205"/>
                <a:gd name="T66" fmla="*/ 490 w 1138"/>
                <a:gd name="T67" fmla="*/ 981 h 1205"/>
                <a:gd name="T68" fmla="*/ 477 w 1138"/>
                <a:gd name="T69" fmla="*/ 906 h 1205"/>
                <a:gd name="T70" fmla="*/ 457 w 1138"/>
                <a:gd name="T71" fmla="*/ 834 h 1205"/>
                <a:gd name="T72" fmla="*/ 429 w 1138"/>
                <a:gd name="T73" fmla="*/ 766 h 1205"/>
                <a:gd name="T74" fmla="*/ 395 w 1138"/>
                <a:gd name="T75" fmla="*/ 701 h 1205"/>
                <a:gd name="T76" fmla="*/ 354 w 1138"/>
                <a:gd name="T77" fmla="*/ 640 h 1205"/>
                <a:gd name="T78" fmla="*/ 308 w 1138"/>
                <a:gd name="T79" fmla="*/ 585 h 1205"/>
                <a:gd name="T80" fmla="*/ 255 w 1138"/>
                <a:gd name="T81" fmla="*/ 534 h 1205"/>
                <a:gd name="T82" fmla="*/ 198 w 1138"/>
                <a:gd name="T83" fmla="*/ 489 h 1205"/>
                <a:gd name="T84" fmla="*/ 137 w 1138"/>
                <a:gd name="T85" fmla="*/ 450 h 1205"/>
                <a:gd name="T86" fmla="*/ 70 w 1138"/>
                <a:gd name="T87" fmla="*/ 418 h 1205"/>
                <a:gd name="T88" fmla="*/ 0 w 1138"/>
                <a:gd name="T89" fmla="*/ 392 h 1205"/>
                <a:gd name="T90" fmla="*/ 42 w 1138"/>
                <a:gd name="T91" fmla="*/ 348 h 1205"/>
                <a:gd name="T92" fmla="*/ 79 w 1138"/>
                <a:gd name="T93" fmla="*/ 299 h 1205"/>
                <a:gd name="T94" fmla="*/ 111 w 1138"/>
                <a:gd name="T95" fmla="*/ 245 h 1205"/>
                <a:gd name="T96" fmla="*/ 137 w 1138"/>
                <a:gd name="T97" fmla="*/ 188 h 1205"/>
                <a:gd name="T98" fmla="*/ 155 w 1138"/>
                <a:gd name="T99" fmla="*/ 128 h 1205"/>
                <a:gd name="T100" fmla="*/ 167 w 1138"/>
                <a:gd name="T101" fmla="*/ 65 h 1205"/>
                <a:gd name="T102" fmla="*/ 173 w 1138"/>
                <a:gd name="T103" fmla="*/ 0 h 1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38" h="1205">
                  <a:moveTo>
                    <a:pt x="173" y="0"/>
                  </a:moveTo>
                  <a:lnTo>
                    <a:pt x="556" y="0"/>
                  </a:lnTo>
                  <a:lnTo>
                    <a:pt x="625" y="4"/>
                  </a:lnTo>
                  <a:lnTo>
                    <a:pt x="689" y="16"/>
                  </a:lnTo>
                  <a:lnTo>
                    <a:pt x="752" y="34"/>
                  </a:lnTo>
                  <a:lnTo>
                    <a:pt x="812" y="60"/>
                  </a:lnTo>
                  <a:lnTo>
                    <a:pt x="868" y="92"/>
                  </a:lnTo>
                  <a:lnTo>
                    <a:pt x="920" y="129"/>
                  </a:lnTo>
                  <a:lnTo>
                    <a:pt x="968" y="171"/>
                  </a:lnTo>
                  <a:lnTo>
                    <a:pt x="1010" y="220"/>
                  </a:lnTo>
                  <a:lnTo>
                    <a:pt x="1046" y="272"/>
                  </a:lnTo>
                  <a:lnTo>
                    <a:pt x="1079" y="329"/>
                  </a:lnTo>
                  <a:lnTo>
                    <a:pt x="1104" y="390"/>
                  </a:lnTo>
                  <a:lnTo>
                    <a:pt x="1122" y="452"/>
                  </a:lnTo>
                  <a:lnTo>
                    <a:pt x="1134" y="518"/>
                  </a:lnTo>
                  <a:lnTo>
                    <a:pt x="1138" y="586"/>
                  </a:lnTo>
                  <a:lnTo>
                    <a:pt x="1138" y="1061"/>
                  </a:lnTo>
                  <a:lnTo>
                    <a:pt x="1135" y="1061"/>
                  </a:lnTo>
                  <a:lnTo>
                    <a:pt x="1104" y="1076"/>
                  </a:lnTo>
                  <a:lnTo>
                    <a:pt x="1097" y="1081"/>
                  </a:lnTo>
                  <a:lnTo>
                    <a:pt x="1083" y="1086"/>
                  </a:lnTo>
                  <a:lnTo>
                    <a:pt x="1062" y="1095"/>
                  </a:lnTo>
                  <a:lnTo>
                    <a:pt x="1035" y="1106"/>
                  </a:lnTo>
                  <a:lnTo>
                    <a:pt x="1000" y="1119"/>
                  </a:lnTo>
                  <a:lnTo>
                    <a:pt x="959" y="1132"/>
                  </a:lnTo>
                  <a:lnTo>
                    <a:pt x="911" y="1146"/>
                  </a:lnTo>
                  <a:lnTo>
                    <a:pt x="857" y="1158"/>
                  </a:lnTo>
                  <a:lnTo>
                    <a:pt x="796" y="1171"/>
                  </a:lnTo>
                  <a:lnTo>
                    <a:pt x="730" y="1184"/>
                  </a:lnTo>
                  <a:lnTo>
                    <a:pt x="657" y="1194"/>
                  </a:lnTo>
                  <a:lnTo>
                    <a:pt x="578" y="1201"/>
                  </a:lnTo>
                  <a:lnTo>
                    <a:pt x="494" y="1205"/>
                  </a:lnTo>
                  <a:lnTo>
                    <a:pt x="494" y="1059"/>
                  </a:lnTo>
                  <a:lnTo>
                    <a:pt x="490" y="981"/>
                  </a:lnTo>
                  <a:lnTo>
                    <a:pt x="477" y="906"/>
                  </a:lnTo>
                  <a:lnTo>
                    <a:pt x="457" y="834"/>
                  </a:lnTo>
                  <a:lnTo>
                    <a:pt x="429" y="766"/>
                  </a:lnTo>
                  <a:lnTo>
                    <a:pt x="395" y="701"/>
                  </a:lnTo>
                  <a:lnTo>
                    <a:pt x="354" y="640"/>
                  </a:lnTo>
                  <a:lnTo>
                    <a:pt x="308" y="585"/>
                  </a:lnTo>
                  <a:lnTo>
                    <a:pt x="255" y="534"/>
                  </a:lnTo>
                  <a:lnTo>
                    <a:pt x="198" y="489"/>
                  </a:lnTo>
                  <a:lnTo>
                    <a:pt x="137" y="450"/>
                  </a:lnTo>
                  <a:lnTo>
                    <a:pt x="70" y="418"/>
                  </a:lnTo>
                  <a:lnTo>
                    <a:pt x="0" y="392"/>
                  </a:lnTo>
                  <a:lnTo>
                    <a:pt x="42" y="348"/>
                  </a:lnTo>
                  <a:lnTo>
                    <a:pt x="79" y="299"/>
                  </a:lnTo>
                  <a:lnTo>
                    <a:pt x="111" y="245"/>
                  </a:lnTo>
                  <a:lnTo>
                    <a:pt x="137" y="188"/>
                  </a:lnTo>
                  <a:lnTo>
                    <a:pt x="155" y="128"/>
                  </a:lnTo>
                  <a:lnTo>
                    <a:pt x="167" y="65"/>
                  </a:lnTo>
                  <a:lnTo>
                    <a:pt x="17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40" name="Freeform 14">
              <a:extLst>
                <a:ext uri="{FF2B5EF4-FFF2-40B4-BE49-F238E27FC236}">
                  <a16:creationId xmlns:a16="http://schemas.microsoft.com/office/drawing/2014/main" id="{C8A684E2-78F8-472A-B962-EAD736AB3E92}"/>
                </a:ext>
              </a:extLst>
            </p:cNvPr>
            <p:cNvSpPr>
              <a:spLocks/>
            </p:cNvSpPr>
            <p:nvPr/>
          </p:nvSpPr>
          <p:spPr bwMode="auto">
            <a:xfrm>
              <a:off x="467544" y="6044794"/>
              <a:ext cx="236775" cy="240982"/>
            </a:xfrm>
            <a:custGeom>
              <a:avLst/>
              <a:gdLst>
                <a:gd name="T0" fmla="*/ 582 w 1184"/>
                <a:gd name="T1" fmla="*/ 0 h 1202"/>
                <a:gd name="T2" fmla="*/ 968 w 1184"/>
                <a:gd name="T3" fmla="*/ 0 h 1202"/>
                <a:gd name="T4" fmla="*/ 1011 w 1184"/>
                <a:gd name="T5" fmla="*/ 3 h 1202"/>
                <a:gd name="T6" fmla="*/ 1017 w 1184"/>
                <a:gd name="T7" fmla="*/ 67 h 1202"/>
                <a:gd name="T8" fmla="*/ 1030 w 1184"/>
                <a:gd name="T9" fmla="*/ 129 h 1202"/>
                <a:gd name="T10" fmla="*/ 1049 w 1184"/>
                <a:gd name="T11" fmla="*/ 190 h 1202"/>
                <a:gd name="T12" fmla="*/ 1075 w 1184"/>
                <a:gd name="T13" fmla="*/ 247 h 1202"/>
                <a:gd name="T14" fmla="*/ 1106 w 1184"/>
                <a:gd name="T15" fmla="*/ 299 h 1202"/>
                <a:gd name="T16" fmla="*/ 1142 w 1184"/>
                <a:gd name="T17" fmla="*/ 348 h 1202"/>
                <a:gd name="T18" fmla="*/ 1184 w 1184"/>
                <a:gd name="T19" fmla="*/ 392 h 1202"/>
                <a:gd name="T20" fmla="*/ 1114 w 1184"/>
                <a:gd name="T21" fmla="*/ 418 h 1202"/>
                <a:gd name="T22" fmla="*/ 1048 w 1184"/>
                <a:gd name="T23" fmla="*/ 450 h 1202"/>
                <a:gd name="T24" fmla="*/ 986 w 1184"/>
                <a:gd name="T25" fmla="*/ 489 h 1202"/>
                <a:gd name="T26" fmla="*/ 928 w 1184"/>
                <a:gd name="T27" fmla="*/ 534 h 1202"/>
                <a:gd name="T28" fmla="*/ 876 w 1184"/>
                <a:gd name="T29" fmla="*/ 585 h 1202"/>
                <a:gd name="T30" fmla="*/ 830 w 1184"/>
                <a:gd name="T31" fmla="*/ 640 h 1202"/>
                <a:gd name="T32" fmla="*/ 789 w 1184"/>
                <a:gd name="T33" fmla="*/ 701 h 1202"/>
                <a:gd name="T34" fmla="*/ 754 w 1184"/>
                <a:gd name="T35" fmla="*/ 766 h 1202"/>
                <a:gd name="T36" fmla="*/ 727 w 1184"/>
                <a:gd name="T37" fmla="*/ 834 h 1202"/>
                <a:gd name="T38" fmla="*/ 706 w 1184"/>
                <a:gd name="T39" fmla="*/ 906 h 1202"/>
                <a:gd name="T40" fmla="*/ 695 w 1184"/>
                <a:gd name="T41" fmla="*/ 981 h 1202"/>
                <a:gd name="T42" fmla="*/ 691 w 1184"/>
                <a:gd name="T43" fmla="*/ 1059 h 1202"/>
                <a:gd name="T44" fmla="*/ 691 w 1184"/>
                <a:gd name="T45" fmla="*/ 1202 h 1202"/>
                <a:gd name="T46" fmla="*/ 606 w 1184"/>
                <a:gd name="T47" fmla="*/ 1197 h 1202"/>
                <a:gd name="T48" fmla="*/ 519 w 1184"/>
                <a:gd name="T49" fmla="*/ 1187 h 1202"/>
                <a:gd name="T50" fmla="*/ 429 w 1184"/>
                <a:gd name="T51" fmla="*/ 1174 h 1202"/>
                <a:gd name="T52" fmla="*/ 336 w 1184"/>
                <a:gd name="T53" fmla="*/ 1157 h 1202"/>
                <a:gd name="T54" fmla="*/ 239 w 1184"/>
                <a:gd name="T55" fmla="*/ 1136 h 1202"/>
                <a:gd name="T56" fmla="*/ 138 w 1184"/>
                <a:gd name="T57" fmla="*/ 1109 h 1202"/>
                <a:gd name="T58" fmla="*/ 34 w 1184"/>
                <a:gd name="T59" fmla="*/ 1079 h 1202"/>
                <a:gd name="T60" fmla="*/ 2 w 1184"/>
                <a:gd name="T61" fmla="*/ 1068 h 1202"/>
                <a:gd name="T62" fmla="*/ 0 w 1184"/>
                <a:gd name="T63" fmla="*/ 1061 h 1202"/>
                <a:gd name="T64" fmla="*/ 0 w 1184"/>
                <a:gd name="T65" fmla="*/ 586 h 1202"/>
                <a:gd name="T66" fmla="*/ 4 w 1184"/>
                <a:gd name="T67" fmla="*/ 518 h 1202"/>
                <a:gd name="T68" fmla="*/ 16 w 1184"/>
                <a:gd name="T69" fmla="*/ 452 h 1202"/>
                <a:gd name="T70" fmla="*/ 35 w 1184"/>
                <a:gd name="T71" fmla="*/ 390 h 1202"/>
                <a:gd name="T72" fmla="*/ 61 w 1184"/>
                <a:gd name="T73" fmla="*/ 329 h 1202"/>
                <a:gd name="T74" fmla="*/ 92 w 1184"/>
                <a:gd name="T75" fmla="*/ 272 h 1202"/>
                <a:gd name="T76" fmla="*/ 130 w 1184"/>
                <a:gd name="T77" fmla="*/ 220 h 1202"/>
                <a:gd name="T78" fmla="*/ 172 w 1184"/>
                <a:gd name="T79" fmla="*/ 171 h 1202"/>
                <a:gd name="T80" fmla="*/ 220 w 1184"/>
                <a:gd name="T81" fmla="*/ 129 h 1202"/>
                <a:gd name="T82" fmla="*/ 272 w 1184"/>
                <a:gd name="T83" fmla="*/ 92 h 1202"/>
                <a:gd name="T84" fmla="*/ 326 w 1184"/>
                <a:gd name="T85" fmla="*/ 60 h 1202"/>
                <a:gd name="T86" fmla="*/ 387 w 1184"/>
                <a:gd name="T87" fmla="*/ 34 h 1202"/>
                <a:gd name="T88" fmla="*/ 450 w 1184"/>
                <a:gd name="T89" fmla="*/ 16 h 1202"/>
                <a:gd name="T90" fmla="*/ 515 w 1184"/>
                <a:gd name="T91" fmla="*/ 4 h 1202"/>
                <a:gd name="T92" fmla="*/ 582 w 1184"/>
                <a:gd name="T93" fmla="*/ 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84" h="1202">
                  <a:moveTo>
                    <a:pt x="582" y="0"/>
                  </a:moveTo>
                  <a:lnTo>
                    <a:pt x="968" y="0"/>
                  </a:lnTo>
                  <a:lnTo>
                    <a:pt x="1011" y="3"/>
                  </a:lnTo>
                  <a:lnTo>
                    <a:pt x="1017" y="67"/>
                  </a:lnTo>
                  <a:lnTo>
                    <a:pt x="1030" y="129"/>
                  </a:lnTo>
                  <a:lnTo>
                    <a:pt x="1049" y="190"/>
                  </a:lnTo>
                  <a:lnTo>
                    <a:pt x="1075" y="247"/>
                  </a:lnTo>
                  <a:lnTo>
                    <a:pt x="1106" y="299"/>
                  </a:lnTo>
                  <a:lnTo>
                    <a:pt x="1142" y="348"/>
                  </a:lnTo>
                  <a:lnTo>
                    <a:pt x="1184" y="392"/>
                  </a:lnTo>
                  <a:lnTo>
                    <a:pt x="1114" y="418"/>
                  </a:lnTo>
                  <a:lnTo>
                    <a:pt x="1048" y="450"/>
                  </a:lnTo>
                  <a:lnTo>
                    <a:pt x="986" y="489"/>
                  </a:lnTo>
                  <a:lnTo>
                    <a:pt x="928" y="534"/>
                  </a:lnTo>
                  <a:lnTo>
                    <a:pt x="876" y="585"/>
                  </a:lnTo>
                  <a:lnTo>
                    <a:pt x="830" y="640"/>
                  </a:lnTo>
                  <a:lnTo>
                    <a:pt x="789" y="701"/>
                  </a:lnTo>
                  <a:lnTo>
                    <a:pt x="754" y="766"/>
                  </a:lnTo>
                  <a:lnTo>
                    <a:pt x="727" y="834"/>
                  </a:lnTo>
                  <a:lnTo>
                    <a:pt x="706" y="906"/>
                  </a:lnTo>
                  <a:lnTo>
                    <a:pt x="695" y="981"/>
                  </a:lnTo>
                  <a:lnTo>
                    <a:pt x="691" y="1059"/>
                  </a:lnTo>
                  <a:lnTo>
                    <a:pt x="691" y="1202"/>
                  </a:lnTo>
                  <a:lnTo>
                    <a:pt x="606" y="1197"/>
                  </a:lnTo>
                  <a:lnTo>
                    <a:pt x="519" y="1187"/>
                  </a:lnTo>
                  <a:lnTo>
                    <a:pt x="429" y="1174"/>
                  </a:lnTo>
                  <a:lnTo>
                    <a:pt x="336" y="1157"/>
                  </a:lnTo>
                  <a:lnTo>
                    <a:pt x="239" y="1136"/>
                  </a:lnTo>
                  <a:lnTo>
                    <a:pt x="138" y="1109"/>
                  </a:lnTo>
                  <a:lnTo>
                    <a:pt x="34" y="1079"/>
                  </a:lnTo>
                  <a:lnTo>
                    <a:pt x="2" y="1068"/>
                  </a:lnTo>
                  <a:lnTo>
                    <a:pt x="0" y="1061"/>
                  </a:lnTo>
                  <a:lnTo>
                    <a:pt x="0" y="586"/>
                  </a:lnTo>
                  <a:lnTo>
                    <a:pt x="4" y="518"/>
                  </a:lnTo>
                  <a:lnTo>
                    <a:pt x="16" y="452"/>
                  </a:lnTo>
                  <a:lnTo>
                    <a:pt x="35" y="390"/>
                  </a:lnTo>
                  <a:lnTo>
                    <a:pt x="61" y="329"/>
                  </a:lnTo>
                  <a:lnTo>
                    <a:pt x="92" y="272"/>
                  </a:lnTo>
                  <a:lnTo>
                    <a:pt x="130" y="220"/>
                  </a:lnTo>
                  <a:lnTo>
                    <a:pt x="172" y="171"/>
                  </a:lnTo>
                  <a:lnTo>
                    <a:pt x="220" y="129"/>
                  </a:lnTo>
                  <a:lnTo>
                    <a:pt x="272" y="92"/>
                  </a:lnTo>
                  <a:lnTo>
                    <a:pt x="326" y="60"/>
                  </a:lnTo>
                  <a:lnTo>
                    <a:pt x="387" y="34"/>
                  </a:lnTo>
                  <a:lnTo>
                    <a:pt x="450" y="16"/>
                  </a:lnTo>
                  <a:lnTo>
                    <a:pt x="515" y="4"/>
                  </a:lnTo>
                  <a:lnTo>
                    <a:pt x="58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41" name="Freeform 15">
              <a:extLst>
                <a:ext uri="{FF2B5EF4-FFF2-40B4-BE49-F238E27FC236}">
                  <a16:creationId xmlns:a16="http://schemas.microsoft.com/office/drawing/2014/main" id="{EE9B3CE8-0207-4BA1-A3EC-7B2522DE6145}"/>
                </a:ext>
              </a:extLst>
            </p:cNvPr>
            <p:cNvSpPr>
              <a:spLocks/>
            </p:cNvSpPr>
            <p:nvPr/>
          </p:nvSpPr>
          <p:spPr bwMode="auto">
            <a:xfrm>
              <a:off x="627397" y="6139745"/>
              <a:ext cx="310091" cy="241583"/>
            </a:xfrm>
            <a:custGeom>
              <a:avLst/>
              <a:gdLst>
                <a:gd name="T0" fmla="*/ 582 w 1549"/>
                <a:gd name="T1" fmla="*/ 0 h 1207"/>
                <a:gd name="T2" fmla="*/ 969 w 1549"/>
                <a:gd name="T3" fmla="*/ 0 h 1207"/>
                <a:gd name="T4" fmla="*/ 1036 w 1549"/>
                <a:gd name="T5" fmla="*/ 4 h 1207"/>
                <a:gd name="T6" fmla="*/ 1101 w 1549"/>
                <a:gd name="T7" fmla="*/ 16 h 1207"/>
                <a:gd name="T8" fmla="*/ 1164 w 1549"/>
                <a:gd name="T9" fmla="*/ 34 h 1207"/>
                <a:gd name="T10" fmla="*/ 1223 w 1549"/>
                <a:gd name="T11" fmla="*/ 60 h 1207"/>
                <a:gd name="T12" fmla="*/ 1279 w 1549"/>
                <a:gd name="T13" fmla="*/ 91 h 1207"/>
                <a:gd name="T14" fmla="*/ 1331 w 1549"/>
                <a:gd name="T15" fmla="*/ 129 h 1207"/>
                <a:gd name="T16" fmla="*/ 1379 w 1549"/>
                <a:gd name="T17" fmla="*/ 171 h 1207"/>
                <a:gd name="T18" fmla="*/ 1421 w 1549"/>
                <a:gd name="T19" fmla="*/ 220 h 1207"/>
                <a:gd name="T20" fmla="*/ 1459 w 1549"/>
                <a:gd name="T21" fmla="*/ 272 h 1207"/>
                <a:gd name="T22" fmla="*/ 1490 w 1549"/>
                <a:gd name="T23" fmla="*/ 329 h 1207"/>
                <a:gd name="T24" fmla="*/ 1516 w 1549"/>
                <a:gd name="T25" fmla="*/ 388 h 1207"/>
                <a:gd name="T26" fmla="*/ 1534 w 1549"/>
                <a:gd name="T27" fmla="*/ 452 h 1207"/>
                <a:gd name="T28" fmla="*/ 1545 w 1549"/>
                <a:gd name="T29" fmla="*/ 517 h 1207"/>
                <a:gd name="T30" fmla="*/ 1549 w 1549"/>
                <a:gd name="T31" fmla="*/ 586 h 1207"/>
                <a:gd name="T32" fmla="*/ 1549 w 1549"/>
                <a:gd name="T33" fmla="*/ 1061 h 1207"/>
                <a:gd name="T34" fmla="*/ 1547 w 1549"/>
                <a:gd name="T35" fmla="*/ 1061 h 1207"/>
                <a:gd name="T36" fmla="*/ 1516 w 1549"/>
                <a:gd name="T37" fmla="*/ 1076 h 1207"/>
                <a:gd name="T38" fmla="*/ 1510 w 1549"/>
                <a:gd name="T39" fmla="*/ 1079 h 1207"/>
                <a:gd name="T40" fmla="*/ 1496 w 1549"/>
                <a:gd name="T41" fmla="*/ 1086 h 1207"/>
                <a:gd name="T42" fmla="*/ 1475 w 1549"/>
                <a:gd name="T43" fmla="*/ 1095 h 1207"/>
                <a:gd name="T44" fmla="*/ 1447 w 1549"/>
                <a:gd name="T45" fmla="*/ 1106 h 1207"/>
                <a:gd name="T46" fmla="*/ 1413 w 1549"/>
                <a:gd name="T47" fmla="*/ 1117 h 1207"/>
                <a:gd name="T48" fmla="*/ 1372 w 1549"/>
                <a:gd name="T49" fmla="*/ 1131 h 1207"/>
                <a:gd name="T50" fmla="*/ 1326 w 1549"/>
                <a:gd name="T51" fmla="*/ 1144 h 1207"/>
                <a:gd name="T52" fmla="*/ 1272 w 1549"/>
                <a:gd name="T53" fmla="*/ 1158 h 1207"/>
                <a:gd name="T54" fmla="*/ 1212 w 1549"/>
                <a:gd name="T55" fmla="*/ 1171 h 1207"/>
                <a:gd name="T56" fmla="*/ 1147 w 1549"/>
                <a:gd name="T57" fmla="*/ 1182 h 1207"/>
                <a:gd name="T58" fmla="*/ 1075 w 1549"/>
                <a:gd name="T59" fmla="*/ 1192 h 1207"/>
                <a:gd name="T60" fmla="*/ 998 w 1549"/>
                <a:gd name="T61" fmla="*/ 1199 h 1207"/>
                <a:gd name="T62" fmla="*/ 914 w 1549"/>
                <a:gd name="T63" fmla="*/ 1205 h 1207"/>
                <a:gd name="T64" fmla="*/ 825 w 1549"/>
                <a:gd name="T65" fmla="*/ 1207 h 1207"/>
                <a:gd name="T66" fmla="*/ 741 w 1549"/>
                <a:gd name="T67" fmla="*/ 1205 h 1207"/>
                <a:gd name="T68" fmla="*/ 652 w 1549"/>
                <a:gd name="T69" fmla="*/ 1201 h 1207"/>
                <a:gd name="T70" fmla="*/ 559 w 1549"/>
                <a:gd name="T71" fmla="*/ 1191 h 1207"/>
                <a:gd name="T72" fmla="*/ 462 w 1549"/>
                <a:gd name="T73" fmla="*/ 1178 h 1207"/>
                <a:gd name="T74" fmla="*/ 361 w 1549"/>
                <a:gd name="T75" fmla="*/ 1161 h 1207"/>
                <a:gd name="T76" fmla="*/ 256 w 1549"/>
                <a:gd name="T77" fmla="*/ 1139 h 1207"/>
                <a:gd name="T78" fmla="*/ 147 w 1549"/>
                <a:gd name="T79" fmla="*/ 1112 h 1207"/>
                <a:gd name="T80" fmla="*/ 35 w 1549"/>
                <a:gd name="T81" fmla="*/ 1078 h 1207"/>
                <a:gd name="T82" fmla="*/ 1 w 1549"/>
                <a:gd name="T83" fmla="*/ 1068 h 1207"/>
                <a:gd name="T84" fmla="*/ 0 w 1549"/>
                <a:gd name="T85" fmla="*/ 1061 h 1207"/>
                <a:gd name="T86" fmla="*/ 0 w 1549"/>
                <a:gd name="T87" fmla="*/ 586 h 1207"/>
                <a:gd name="T88" fmla="*/ 4 w 1549"/>
                <a:gd name="T89" fmla="*/ 517 h 1207"/>
                <a:gd name="T90" fmla="*/ 15 w 1549"/>
                <a:gd name="T91" fmla="*/ 452 h 1207"/>
                <a:gd name="T92" fmla="*/ 35 w 1549"/>
                <a:gd name="T93" fmla="*/ 388 h 1207"/>
                <a:gd name="T94" fmla="*/ 60 w 1549"/>
                <a:gd name="T95" fmla="*/ 329 h 1207"/>
                <a:gd name="T96" fmla="*/ 91 w 1549"/>
                <a:gd name="T97" fmla="*/ 272 h 1207"/>
                <a:gd name="T98" fmla="*/ 129 w 1549"/>
                <a:gd name="T99" fmla="*/ 220 h 1207"/>
                <a:gd name="T100" fmla="*/ 171 w 1549"/>
                <a:gd name="T101" fmla="*/ 171 h 1207"/>
                <a:gd name="T102" fmla="*/ 219 w 1549"/>
                <a:gd name="T103" fmla="*/ 129 h 1207"/>
                <a:gd name="T104" fmla="*/ 271 w 1549"/>
                <a:gd name="T105" fmla="*/ 91 h 1207"/>
                <a:gd name="T106" fmla="*/ 327 w 1549"/>
                <a:gd name="T107" fmla="*/ 60 h 1207"/>
                <a:gd name="T108" fmla="*/ 386 w 1549"/>
                <a:gd name="T109" fmla="*/ 34 h 1207"/>
                <a:gd name="T110" fmla="*/ 450 w 1549"/>
                <a:gd name="T111" fmla="*/ 16 h 1207"/>
                <a:gd name="T112" fmla="*/ 514 w 1549"/>
                <a:gd name="T113" fmla="*/ 4 h 1207"/>
                <a:gd name="T114" fmla="*/ 582 w 1549"/>
                <a:gd name="T115" fmla="*/ 0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49" h="1207">
                  <a:moveTo>
                    <a:pt x="582" y="0"/>
                  </a:moveTo>
                  <a:lnTo>
                    <a:pt x="969" y="0"/>
                  </a:lnTo>
                  <a:lnTo>
                    <a:pt x="1036" y="4"/>
                  </a:lnTo>
                  <a:lnTo>
                    <a:pt x="1101" y="16"/>
                  </a:lnTo>
                  <a:lnTo>
                    <a:pt x="1164" y="34"/>
                  </a:lnTo>
                  <a:lnTo>
                    <a:pt x="1223" y="60"/>
                  </a:lnTo>
                  <a:lnTo>
                    <a:pt x="1279" y="91"/>
                  </a:lnTo>
                  <a:lnTo>
                    <a:pt x="1331" y="129"/>
                  </a:lnTo>
                  <a:lnTo>
                    <a:pt x="1379" y="171"/>
                  </a:lnTo>
                  <a:lnTo>
                    <a:pt x="1421" y="220"/>
                  </a:lnTo>
                  <a:lnTo>
                    <a:pt x="1459" y="272"/>
                  </a:lnTo>
                  <a:lnTo>
                    <a:pt x="1490" y="329"/>
                  </a:lnTo>
                  <a:lnTo>
                    <a:pt x="1516" y="388"/>
                  </a:lnTo>
                  <a:lnTo>
                    <a:pt x="1534" y="452"/>
                  </a:lnTo>
                  <a:lnTo>
                    <a:pt x="1545" y="517"/>
                  </a:lnTo>
                  <a:lnTo>
                    <a:pt x="1549" y="586"/>
                  </a:lnTo>
                  <a:lnTo>
                    <a:pt x="1549" y="1061"/>
                  </a:lnTo>
                  <a:lnTo>
                    <a:pt x="1547" y="1061"/>
                  </a:lnTo>
                  <a:lnTo>
                    <a:pt x="1516" y="1076"/>
                  </a:lnTo>
                  <a:lnTo>
                    <a:pt x="1510" y="1079"/>
                  </a:lnTo>
                  <a:lnTo>
                    <a:pt x="1496" y="1086"/>
                  </a:lnTo>
                  <a:lnTo>
                    <a:pt x="1475" y="1095"/>
                  </a:lnTo>
                  <a:lnTo>
                    <a:pt x="1447" y="1106"/>
                  </a:lnTo>
                  <a:lnTo>
                    <a:pt x="1413" y="1117"/>
                  </a:lnTo>
                  <a:lnTo>
                    <a:pt x="1372" y="1131"/>
                  </a:lnTo>
                  <a:lnTo>
                    <a:pt x="1326" y="1144"/>
                  </a:lnTo>
                  <a:lnTo>
                    <a:pt x="1272" y="1158"/>
                  </a:lnTo>
                  <a:lnTo>
                    <a:pt x="1212" y="1171"/>
                  </a:lnTo>
                  <a:lnTo>
                    <a:pt x="1147" y="1182"/>
                  </a:lnTo>
                  <a:lnTo>
                    <a:pt x="1075" y="1192"/>
                  </a:lnTo>
                  <a:lnTo>
                    <a:pt x="998" y="1199"/>
                  </a:lnTo>
                  <a:lnTo>
                    <a:pt x="914" y="1205"/>
                  </a:lnTo>
                  <a:lnTo>
                    <a:pt x="825" y="1207"/>
                  </a:lnTo>
                  <a:lnTo>
                    <a:pt x="741" y="1205"/>
                  </a:lnTo>
                  <a:lnTo>
                    <a:pt x="652" y="1201"/>
                  </a:lnTo>
                  <a:lnTo>
                    <a:pt x="559" y="1191"/>
                  </a:lnTo>
                  <a:lnTo>
                    <a:pt x="462" y="1178"/>
                  </a:lnTo>
                  <a:lnTo>
                    <a:pt x="361" y="1161"/>
                  </a:lnTo>
                  <a:lnTo>
                    <a:pt x="256" y="1139"/>
                  </a:lnTo>
                  <a:lnTo>
                    <a:pt x="147" y="1112"/>
                  </a:lnTo>
                  <a:lnTo>
                    <a:pt x="35" y="1078"/>
                  </a:lnTo>
                  <a:lnTo>
                    <a:pt x="1" y="1068"/>
                  </a:lnTo>
                  <a:lnTo>
                    <a:pt x="0" y="1061"/>
                  </a:lnTo>
                  <a:lnTo>
                    <a:pt x="0" y="586"/>
                  </a:lnTo>
                  <a:lnTo>
                    <a:pt x="4" y="517"/>
                  </a:lnTo>
                  <a:lnTo>
                    <a:pt x="15" y="452"/>
                  </a:lnTo>
                  <a:lnTo>
                    <a:pt x="35" y="388"/>
                  </a:lnTo>
                  <a:lnTo>
                    <a:pt x="60" y="329"/>
                  </a:lnTo>
                  <a:lnTo>
                    <a:pt x="91" y="272"/>
                  </a:lnTo>
                  <a:lnTo>
                    <a:pt x="129" y="220"/>
                  </a:lnTo>
                  <a:lnTo>
                    <a:pt x="171" y="171"/>
                  </a:lnTo>
                  <a:lnTo>
                    <a:pt x="219" y="129"/>
                  </a:lnTo>
                  <a:lnTo>
                    <a:pt x="271" y="91"/>
                  </a:lnTo>
                  <a:lnTo>
                    <a:pt x="327" y="60"/>
                  </a:lnTo>
                  <a:lnTo>
                    <a:pt x="386" y="34"/>
                  </a:lnTo>
                  <a:lnTo>
                    <a:pt x="450" y="16"/>
                  </a:lnTo>
                  <a:lnTo>
                    <a:pt x="514" y="4"/>
                  </a:lnTo>
                  <a:lnTo>
                    <a:pt x="58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42" name="Rectangle 41">
            <a:extLst>
              <a:ext uri="{FF2B5EF4-FFF2-40B4-BE49-F238E27FC236}">
                <a16:creationId xmlns:a16="http://schemas.microsoft.com/office/drawing/2014/main" id="{66BA88A4-4A8C-4406-A6CA-61F4BBEF3952}"/>
              </a:ext>
            </a:extLst>
          </p:cNvPr>
          <p:cNvSpPr/>
          <p:nvPr/>
        </p:nvSpPr>
        <p:spPr>
          <a:xfrm>
            <a:off x="308595" y="4528279"/>
            <a:ext cx="1445267" cy="400110"/>
          </a:xfrm>
          <a:prstGeom prst="rect">
            <a:avLst/>
          </a:prstGeom>
        </p:spPr>
        <p:txBody>
          <a:bodyPr wrap="none">
            <a:spAutoFit/>
          </a:bodyPr>
          <a:lstStyle/>
          <a:p>
            <a:r>
              <a:rPr lang="fr-FR" sz="2000" b="1" dirty="0">
                <a:solidFill>
                  <a:schemeClr val="accent1"/>
                </a:solidFill>
              </a:rPr>
              <a:t>Participants</a:t>
            </a:r>
          </a:p>
        </p:txBody>
      </p:sp>
      <p:cxnSp>
        <p:nvCxnSpPr>
          <p:cNvPr id="43" name="Connecteur droit 42">
            <a:extLst>
              <a:ext uri="{FF2B5EF4-FFF2-40B4-BE49-F238E27FC236}">
                <a16:creationId xmlns:a16="http://schemas.microsoft.com/office/drawing/2014/main" id="{8707EDE1-805D-446F-BE48-B3A8825B810F}"/>
              </a:ext>
            </a:extLst>
          </p:cNvPr>
          <p:cNvCxnSpPr/>
          <p:nvPr/>
        </p:nvCxnSpPr>
        <p:spPr>
          <a:xfrm>
            <a:off x="263352" y="5176351"/>
            <a:ext cx="11816012"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44" name="Group 1150">
            <a:extLst>
              <a:ext uri="{FF2B5EF4-FFF2-40B4-BE49-F238E27FC236}">
                <a16:creationId xmlns:a16="http://schemas.microsoft.com/office/drawing/2014/main" id="{F608F44E-ABD0-40D8-9099-B57E72F46A05}"/>
              </a:ext>
            </a:extLst>
          </p:cNvPr>
          <p:cNvGrpSpPr>
            <a:grpSpLocks noChangeAspect="1"/>
          </p:cNvGrpSpPr>
          <p:nvPr/>
        </p:nvGrpSpPr>
        <p:grpSpPr bwMode="auto">
          <a:xfrm>
            <a:off x="2037635" y="5326157"/>
            <a:ext cx="620293" cy="574033"/>
            <a:chOff x="-1658" y="2480"/>
            <a:chExt cx="952" cy="881"/>
          </a:xfrm>
          <a:solidFill>
            <a:schemeClr val="accent1"/>
          </a:solidFill>
        </p:grpSpPr>
        <p:sp>
          <p:nvSpPr>
            <p:cNvPr id="45" name="Freeform 1151">
              <a:extLst>
                <a:ext uri="{FF2B5EF4-FFF2-40B4-BE49-F238E27FC236}">
                  <a16:creationId xmlns:a16="http://schemas.microsoft.com/office/drawing/2014/main" id="{4591D1AF-713C-4F9D-BADD-7945B8EFD3C7}"/>
                </a:ext>
              </a:extLst>
            </p:cNvPr>
            <p:cNvSpPr>
              <a:spLocks/>
            </p:cNvSpPr>
            <p:nvPr/>
          </p:nvSpPr>
          <p:spPr bwMode="auto">
            <a:xfrm>
              <a:off x="-1658" y="2480"/>
              <a:ext cx="952" cy="881"/>
            </a:xfrm>
            <a:custGeom>
              <a:avLst/>
              <a:gdLst>
                <a:gd name="T0" fmla="*/ 219 w 400"/>
                <a:gd name="T1" fmla="*/ 0 h 370"/>
                <a:gd name="T2" fmla="*/ 218 w 400"/>
                <a:gd name="T3" fmla="*/ 0 h 370"/>
                <a:gd name="T4" fmla="*/ 200 w 400"/>
                <a:gd name="T5" fmla="*/ 20 h 370"/>
                <a:gd name="T6" fmla="*/ 220 w 400"/>
                <a:gd name="T7" fmla="*/ 39 h 370"/>
                <a:gd name="T8" fmla="*/ 220 w 400"/>
                <a:gd name="T9" fmla="*/ 39 h 370"/>
                <a:gd name="T10" fmla="*/ 363 w 400"/>
                <a:gd name="T11" fmla="*/ 185 h 370"/>
                <a:gd name="T12" fmla="*/ 216 w 400"/>
                <a:gd name="T13" fmla="*/ 331 h 370"/>
                <a:gd name="T14" fmla="*/ 71 w 400"/>
                <a:gd name="T15" fmla="*/ 197 h 370"/>
                <a:gd name="T16" fmla="*/ 104 w 400"/>
                <a:gd name="T17" fmla="*/ 197 h 370"/>
                <a:gd name="T18" fmla="*/ 52 w 400"/>
                <a:gd name="T19" fmla="*/ 111 h 370"/>
                <a:gd name="T20" fmla="*/ 0 w 400"/>
                <a:gd name="T21" fmla="*/ 197 h 370"/>
                <a:gd name="T22" fmla="*/ 32 w 400"/>
                <a:gd name="T23" fmla="*/ 197 h 370"/>
                <a:gd name="T24" fmla="*/ 216 w 400"/>
                <a:gd name="T25" fmla="*/ 370 h 370"/>
                <a:gd name="T26" fmla="*/ 400 w 400"/>
                <a:gd name="T27" fmla="*/ 185 h 370"/>
                <a:gd name="T28" fmla="*/ 219 w 400"/>
                <a:gd name="T2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0" h="370">
                  <a:moveTo>
                    <a:pt x="219" y="0"/>
                  </a:moveTo>
                  <a:cubicBezTo>
                    <a:pt x="219" y="0"/>
                    <a:pt x="219" y="0"/>
                    <a:pt x="218" y="0"/>
                  </a:cubicBezTo>
                  <a:cubicBezTo>
                    <a:pt x="208" y="0"/>
                    <a:pt x="200" y="9"/>
                    <a:pt x="200" y="20"/>
                  </a:cubicBezTo>
                  <a:cubicBezTo>
                    <a:pt x="200" y="30"/>
                    <a:pt x="204" y="39"/>
                    <a:pt x="220" y="39"/>
                  </a:cubicBezTo>
                  <a:cubicBezTo>
                    <a:pt x="220" y="39"/>
                    <a:pt x="220" y="39"/>
                    <a:pt x="220" y="39"/>
                  </a:cubicBezTo>
                  <a:cubicBezTo>
                    <a:pt x="296" y="40"/>
                    <a:pt x="363" y="105"/>
                    <a:pt x="363" y="185"/>
                  </a:cubicBezTo>
                  <a:cubicBezTo>
                    <a:pt x="363" y="265"/>
                    <a:pt x="297" y="331"/>
                    <a:pt x="216" y="331"/>
                  </a:cubicBezTo>
                  <a:cubicBezTo>
                    <a:pt x="140" y="331"/>
                    <a:pt x="76" y="273"/>
                    <a:pt x="71" y="197"/>
                  </a:cubicBezTo>
                  <a:cubicBezTo>
                    <a:pt x="104" y="197"/>
                    <a:pt x="104" y="197"/>
                    <a:pt x="104" y="197"/>
                  </a:cubicBezTo>
                  <a:cubicBezTo>
                    <a:pt x="52" y="111"/>
                    <a:pt x="52" y="111"/>
                    <a:pt x="52" y="111"/>
                  </a:cubicBezTo>
                  <a:cubicBezTo>
                    <a:pt x="0" y="197"/>
                    <a:pt x="0" y="197"/>
                    <a:pt x="0" y="197"/>
                  </a:cubicBezTo>
                  <a:cubicBezTo>
                    <a:pt x="32" y="197"/>
                    <a:pt x="32" y="197"/>
                    <a:pt x="32" y="197"/>
                  </a:cubicBezTo>
                  <a:cubicBezTo>
                    <a:pt x="38" y="293"/>
                    <a:pt x="118" y="370"/>
                    <a:pt x="216" y="370"/>
                  </a:cubicBezTo>
                  <a:cubicBezTo>
                    <a:pt x="317" y="370"/>
                    <a:pt x="400" y="287"/>
                    <a:pt x="400" y="185"/>
                  </a:cubicBezTo>
                  <a:cubicBezTo>
                    <a:pt x="400" y="85"/>
                    <a:pt x="319" y="2"/>
                    <a:pt x="2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1152">
              <a:extLst>
                <a:ext uri="{FF2B5EF4-FFF2-40B4-BE49-F238E27FC236}">
                  <a16:creationId xmlns:a16="http://schemas.microsoft.com/office/drawing/2014/main" id="{D58BB0A6-1B31-49F0-8DAB-AA8AF68AE677}"/>
                </a:ext>
              </a:extLst>
            </p:cNvPr>
            <p:cNvSpPr>
              <a:spLocks/>
            </p:cNvSpPr>
            <p:nvPr/>
          </p:nvSpPr>
          <p:spPr bwMode="auto">
            <a:xfrm>
              <a:off x="-1311" y="2654"/>
              <a:ext cx="214" cy="462"/>
            </a:xfrm>
            <a:custGeom>
              <a:avLst/>
              <a:gdLst>
                <a:gd name="T0" fmla="*/ 90 w 90"/>
                <a:gd name="T1" fmla="*/ 17 h 194"/>
                <a:gd name="T2" fmla="*/ 74 w 90"/>
                <a:gd name="T3" fmla="*/ 0 h 194"/>
                <a:gd name="T4" fmla="*/ 70 w 90"/>
                <a:gd name="T5" fmla="*/ 0 h 194"/>
                <a:gd name="T6" fmla="*/ 54 w 90"/>
                <a:gd name="T7" fmla="*/ 17 h 194"/>
                <a:gd name="T8" fmla="*/ 54 w 90"/>
                <a:gd name="T9" fmla="*/ 114 h 194"/>
                <a:gd name="T10" fmla="*/ 7 w 90"/>
                <a:gd name="T11" fmla="*/ 161 h 194"/>
                <a:gd name="T12" fmla="*/ 7 w 90"/>
                <a:gd name="T13" fmla="*/ 187 h 194"/>
                <a:gd name="T14" fmla="*/ 32 w 90"/>
                <a:gd name="T15" fmla="*/ 187 h 194"/>
                <a:gd name="T16" fmla="*/ 84 w 90"/>
                <a:gd name="T17" fmla="*/ 134 h 194"/>
                <a:gd name="T18" fmla="*/ 86 w 90"/>
                <a:gd name="T19" fmla="*/ 133 h 194"/>
                <a:gd name="T20" fmla="*/ 90 w 90"/>
                <a:gd name="T21" fmla="*/ 121 h 194"/>
                <a:gd name="T22" fmla="*/ 90 w 90"/>
                <a:gd name="T23" fmla="*/ 1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194">
                  <a:moveTo>
                    <a:pt x="90" y="17"/>
                  </a:moveTo>
                  <a:cubicBezTo>
                    <a:pt x="90" y="8"/>
                    <a:pt x="83" y="0"/>
                    <a:pt x="74" y="0"/>
                  </a:cubicBezTo>
                  <a:cubicBezTo>
                    <a:pt x="70" y="0"/>
                    <a:pt x="70" y="0"/>
                    <a:pt x="70" y="0"/>
                  </a:cubicBezTo>
                  <a:cubicBezTo>
                    <a:pt x="61" y="0"/>
                    <a:pt x="54" y="8"/>
                    <a:pt x="54" y="17"/>
                  </a:cubicBezTo>
                  <a:cubicBezTo>
                    <a:pt x="54" y="114"/>
                    <a:pt x="54" y="114"/>
                    <a:pt x="54" y="114"/>
                  </a:cubicBezTo>
                  <a:cubicBezTo>
                    <a:pt x="7" y="161"/>
                    <a:pt x="7" y="161"/>
                    <a:pt x="7" y="161"/>
                  </a:cubicBezTo>
                  <a:cubicBezTo>
                    <a:pt x="0" y="168"/>
                    <a:pt x="0" y="180"/>
                    <a:pt x="7" y="187"/>
                  </a:cubicBezTo>
                  <a:cubicBezTo>
                    <a:pt x="13" y="194"/>
                    <a:pt x="25" y="194"/>
                    <a:pt x="32" y="187"/>
                  </a:cubicBezTo>
                  <a:cubicBezTo>
                    <a:pt x="84" y="134"/>
                    <a:pt x="84" y="134"/>
                    <a:pt x="84" y="134"/>
                  </a:cubicBezTo>
                  <a:cubicBezTo>
                    <a:pt x="85" y="134"/>
                    <a:pt x="85" y="133"/>
                    <a:pt x="86" y="133"/>
                  </a:cubicBezTo>
                  <a:cubicBezTo>
                    <a:pt x="88" y="130"/>
                    <a:pt x="90" y="126"/>
                    <a:pt x="90" y="121"/>
                  </a:cubicBezTo>
                  <a:cubicBezTo>
                    <a:pt x="90" y="17"/>
                    <a:pt x="90" y="17"/>
                    <a:pt x="9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47" name="Group 4">
            <a:extLst>
              <a:ext uri="{FF2B5EF4-FFF2-40B4-BE49-F238E27FC236}">
                <a16:creationId xmlns:a16="http://schemas.microsoft.com/office/drawing/2014/main" id="{D09D8707-DDB5-4FF6-A37E-C87442794A53}"/>
              </a:ext>
            </a:extLst>
          </p:cNvPr>
          <p:cNvGrpSpPr>
            <a:grpSpLocks noChangeAspect="1"/>
          </p:cNvGrpSpPr>
          <p:nvPr/>
        </p:nvGrpSpPr>
        <p:grpSpPr bwMode="auto">
          <a:xfrm>
            <a:off x="2133625" y="3829534"/>
            <a:ext cx="562869" cy="545398"/>
            <a:chOff x="5589" y="2447"/>
            <a:chExt cx="741" cy="718"/>
          </a:xfrm>
          <a:solidFill>
            <a:schemeClr val="accent1"/>
          </a:solidFill>
        </p:grpSpPr>
        <p:sp>
          <p:nvSpPr>
            <p:cNvPr id="48" name="Rectangle 6">
              <a:extLst>
                <a:ext uri="{FF2B5EF4-FFF2-40B4-BE49-F238E27FC236}">
                  <a16:creationId xmlns:a16="http://schemas.microsoft.com/office/drawing/2014/main" id="{F4BEA90C-516B-48D1-8F41-BF663C586792}"/>
                </a:ext>
              </a:extLst>
            </p:cNvPr>
            <p:cNvSpPr>
              <a:spLocks noChangeArrowheads="1"/>
            </p:cNvSpPr>
            <p:nvPr/>
          </p:nvSpPr>
          <p:spPr bwMode="auto">
            <a:xfrm>
              <a:off x="6150" y="2796"/>
              <a:ext cx="119" cy="4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49" name="Freeform 7">
              <a:extLst>
                <a:ext uri="{FF2B5EF4-FFF2-40B4-BE49-F238E27FC236}">
                  <a16:creationId xmlns:a16="http://schemas.microsoft.com/office/drawing/2014/main" id="{C213E07B-0B2E-47C2-A60C-C38C03130678}"/>
                </a:ext>
              </a:extLst>
            </p:cNvPr>
            <p:cNvSpPr>
              <a:spLocks/>
            </p:cNvSpPr>
            <p:nvPr/>
          </p:nvSpPr>
          <p:spPr bwMode="auto">
            <a:xfrm>
              <a:off x="5658" y="2447"/>
              <a:ext cx="672" cy="450"/>
            </a:xfrm>
            <a:custGeom>
              <a:avLst/>
              <a:gdLst>
                <a:gd name="T0" fmla="*/ 0 w 3358"/>
                <a:gd name="T1" fmla="*/ 0 h 2251"/>
                <a:gd name="T2" fmla="*/ 3358 w 3358"/>
                <a:gd name="T3" fmla="*/ 0 h 2251"/>
                <a:gd name="T4" fmla="*/ 3358 w 3358"/>
                <a:gd name="T5" fmla="*/ 2251 h 2251"/>
                <a:gd name="T6" fmla="*/ 768 w 3358"/>
                <a:gd name="T7" fmla="*/ 2251 h 2251"/>
                <a:gd name="T8" fmla="*/ 776 w 3358"/>
                <a:gd name="T9" fmla="*/ 2098 h 2251"/>
                <a:gd name="T10" fmla="*/ 3206 w 3358"/>
                <a:gd name="T11" fmla="*/ 2098 h 2251"/>
                <a:gd name="T12" fmla="*/ 3206 w 3358"/>
                <a:gd name="T13" fmla="*/ 152 h 2251"/>
                <a:gd name="T14" fmla="*/ 152 w 3358"/>
                <a:gd name="T15" fmla="*/ 152 h 2251"/>
                <a:gd name="T16" fmla="*/ 152 w 3358"/>
                <a:gd name="T17" fmla="*/ 301 h 2251"/>
                <a:gd name="T18" fmla="*/ 0 w 3358"/>
                <a:gd name="T19" fmla="*/ 349 h 2251"/>
                <a:gd name="T20" fmla="*/ 0 w 3358"/>
                <a:gd name="T21" fmla="*/ 0 h 2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58" h="2251">
                  <a:moveTo>
                    <a:pt x="0" y="0"/>
                  </a:moveTo>
                  <a:lnTo>
                    <a:pt x="3358" y="0"/>
                  </a:lnTo>
                  <a:lnTo>
                    <a:pt x="3358" y="2251"/>
                  </a:lnTo>
                  <a:lnTo>
                    <a:pt x="768" y="2251"/>
                  </a:lnTo>
                  <a:lnTo>
                    <a:pt x="776" y="2098"/>
                  </a:lnTo>
                  <a:lnTo>
                    <a:pt x="3206" y="2098"/>
                  </a:lnTo>
                  <a:lnTo>
                    <a:pt x="3206" y="152"/>
                  </a:lnTo>
                  <a:lnTo>
                    <a:pt x="152" y="152"/>
                  </a:lnTo>
                  <a:lnTo>
                    <a:pt x="152" y="301"/>
                  </a:lnTo>
                  <a:lnTo>
                    <a:pt x="0" y="34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50" name="Freeform 8">
              <a:extLst>
                <a:ext uri="{FF2B5EF4-FFF2-40B4-BE49-F238E27FC236}">
                  <a16:creationId xmlns:a16="http://schemas.microsoft.com/office/drawing/2014/main" id="{28C89D90-94CB-4522-9384-8FE9F583B680}"/>
                </a:ext>
              </a:extLst>
            </p:cNvPr>
            <p:cNvSpPr>
              <a:spLocks/>
            </p:cNvSpPr>
            <p:nvPr/>
          </p:nvSpPr>
          <p:spPr bwMode="auto">
            <a:xfrm>
              <a:off x="5616" y="2523"/>
              <a:ext cx="181" cy="181"/>
            </a:xfrm>
            <a:custGeom>
              <a:avLst/>
              <a:gdLst>
                <a:gd name="T0" fmla="*/ 453 w 905"/>
                <a:gd name="T1" fmla="*/ 0 h 904"/>
                <a:gd name="T2" fmla="*/ 510 w 905"/>
                <a:gd name="T3" fmla="*/ 3 h 904"/>
                <a:gd name="T4" fmla="*/ 564 w 905"/>
                <a:gd name="T5" fmla="*/ 14 h 904"/>
                <a:gd name="T6" fmla="*/ 616 w 905"/>
                <a:gd name="T7" fmla="*/ 30 h 904"/>
                <a:gd name="T8" fmla="*/ 665 w 905"/>
                <a:gd name="T9" fmla="*/ 52 h 904"/>
                <a:gd name="T10" fmla="*/ 711 w 905"/>
                <a:gd name="T11" fmla="*/ 80 h 904"/>
                <a:gd name="T12" fmla="*/ 753 w 905"/>
                <a:gd name="T13" fmla="*/ 114 h 904"/>
                <a:gd name="T14" fmla="*/ 790 w 905"/>
                <a:gd name="T15" fmla="*/ 151 h 904"/>
                <a:gd name="T16" fmla="*/ 823 w 905"/>
                <a:gd name="T17" fmla="*/ 193 h 904"/>
                <a:gd name="T18" fmla="*/ 852 w 905"/>
                <a:gd name="T19" fmla="*/ 239 h 904"/>
                <a:gd name="T20" fmla="*/ 874 w 905"/>
                <a:gd name="T21" fmla="*/ 289 h 904"/>
                <a:gd name="T22" fmla="*/ 891 w 905"/>
                <a:gd name="T23" fmla="*/ 340 h 904"/>
                <a:gd name="T24" fmla="*/ 901 w 905"/>
                <a:gd name="T25" fmla="*/ 395 h 904"/>
                <a:gd name="T26" fmla="*/ 905 w 905"/>
                <a:gd name="T27" fmla="*/ 452 h 904"/>
                <a:gd name="T28" fmla="*/ 901 w 905"/>
                <a:gd name="T29" fmla="*/ 509 h 904"/>
                <a:gd name="T30" fmla="*/ 891 w 905"/>
                <a:gd name="T31" fmla="*/ 564 h 904"/>
                <a:gd name="T32" fmla="*/ 874 w 905"/>
                <a:gd name="T33" fmla="*/ 615 h 904"/>
                <a:gd name="T34" fmla="*/ 852 w 905"/>
                <a:gd name="T35" fmla="*/ 664 h 904"/>
                <a:gd name="T36" fmla="*/ 823 w 905"/>
                <a:gd name="T37" fmla="*/ 711 h 904"/>
                <a:gd name="T38" fmla="*/ 790 w 905"/>
                <a:gd name="T39" fmla="*/ 753 h 904"/>
                <a:gd name="T40" fmla="*/ 753 w 905"/>
                <a:gd name="T41" fmla="*/ 790 h 904"/>
                <a:gd name="T42" fmla="*/ 711 w 905"/>
                <a:gd name="T43" fmla="*/ 822 h 904"/>
                <a:gd name="T44" fmla="*/ 665 w 905"/>
                <a:gd name="T45" fmla="*/ 850 h 904"/>
                <a:gd name="T46" fmla="*/ 616 w 905"/>
                <a:gd name="T47" fmla="*/ 874 h 904"/>
                <a:gd name="T48" fmla="*/ 564 w 905"/>
                <a:gd name="T49" fmla="*/ 890 h 904"/>
                <a:gd name="T50" fmla="*/ 510 w 905"/>
                <a:gd name="T51" fmla="*/ 901 h 904"/>
                <a:gd name="T52" fmla="*/ 453 w 905"/>
                <a:gd name="T53" fmla="*/ 904 h 904"/>
                <a:gd name="T54" fmla="*/ 395 w 905"/>
                <a:gd name="T55" fmla="*/ 901 h 904"/>
                <a:gd name="T56" fmla="*/ 342 w 905"/>
                <a:gd name="T57" fmla="*/ 890 h 904"/>
                <a:gd name="T58" fmla="*/ 289 w 905"/>
                <a:gd name="T59" fmla="*/ 874 h 904"/>
                <a:gd name="T60" fmla="*/ 241 w 905"/>
                <a:gd name="T61" fmla="*/ 850 h 904"/>
                <a:gd name="T62" fmla="*/ 194 w 905"/>
                <a:gd name="T63" fmla="*/ 822 h 904"/>
                <a:gd name="T64" fmla="*/ 152 w 905"/>
                <a:gd name="T65" fmla="*/ 790 h 904"/>
                <a:gd name="T66" fmla="*/ 115 w 905"/>
                <a:gd name="T67" fmla="*/ 753 h 904"/>
                <a:gd name="T68" fmla="*/ 82 w 905"/>
                <a:gd name="T69" fmla="*/ 711 h 904"/>
                <a:gd name="T70" fmla="*/ 53 w 905"/>
                <a:gd name="T71" fmla="*/ 664 h 904"/>
                <a:gd name="T72" fmla="*/ 31 w 905"/>
                <a:gd name="T73" fmla="*/ 615 h 904"/>
                <a:gd name="T74" fmla="*/ 14 w 905"/>
                <a:gd name="T75" fmla="*/ 564 h 904"/>
                <a:gd name="T76" fmla="*/ 4 w 905"/>
                <a:gd name="T77" fmla="*/ 509 h 904"/>
                <a:gd name="T78" fmla="*/ 0 w 905"/>
                <a:gd name="T79" fmla="*/ 452 h 904"/>
                <a:gd name="T80" fmla="*/ 4 w 905"/>
                <a:gd name="T81" fmla="*/ 395 h 904"/>
                <a:gd name="T82" fmla="*/ 14 w 905"/>
                <a:gd name="T83" fmla="*/ 340 h 904"/>
                <a:gd name="T84" fmla="*/ 31 w 905"/>
                <a:gd name="T85" fmla="*/ 289 h 904"/>
                <a:gd name="T86" fmla="*/ 53 w 905"/>
                <a:gd name="T87" fmla="*/ 239 h 904"/>
                <a:gd name="T88" fmla="*/ 82 w 905"/>
                <a:gd name="T89" fmla="*/ 193 h 904"/>
                <a:gd name="T90" fmla="*/ 115 w 905"/>
                <a:gd name="T91" fmla="*/ 151 h 904"/>
                <a:gd name="T92" fmla="*/ 152 w 905"/>
                <a:gd name="T93" fmla="*/ 114 h 904"/>
                <a:gd name="T94" fmla="*/ 194 w 905"/>
                <a:gd name="T95" fmla="*/ 80 h 904"/>
                <a:gd name="T96" fmla="*/ 241 w 905"/>
                <a:gd name="T97" fmla="*/ 52 h 904"/>
                <a:gd name="T98" fmla="*/ 289 w 905"/>
                <a:gd name="T99" fmla="*/ 30 h 904"/>
                <a:gd name="T100" fmla="*/ 342 w 905"/>
                <a:gd name="T101" fmla="*/ 14 h 904"/>
                <a:gd name="T102" fmla="*/ 395 w 905"/>
                <a:gd name="T103" fmla="*/ 3 h 904"/>
                <a:gd name="T104" fmla="*/ 453 w 905"/>
                <a:gd name="T105" fmla="*/ 0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5" h="904">
                  <a:moveTo>
                    <a:pt x="453" y="0"/>
                  </a:moveTo>
                  <a:lnTo>
                    <a:pt x="510" y="3"/>
                  </a:lnTo>
                  <a:lnTo>
                    <a:pt x="564" y="14"/>
                  </a:lnTo>
                  <a:lnTo>
                    <a:pt x="616" y="30"/>
                  </a:lnTo>
                  <a:lnTo>
                    <a:pt x="665" y="52"/>
                  </a:lnTo>
                  <a:lnTo>
                    <a:pt x="711" y="80"/>
                  </a:lnTo>
                  <a:lnTo>
                    <a:pt x="753" y="114"/>
                  </a:lnTo>
                  <a:lnTo>
                    <a:pt x="790" y="151"/>
                  </a:lnTo>
                  <a:lnTo>
                    <a:pt x="823" y="193"/>
                  </a:lnTo>
                  <a:lnTo>
                    <a:pt x="852" y="239"/>
                  </a:lnTo>
                  <a:lnTo>
                    <a:pt x="874" y="289"/>
                  </a:lnTo>
                  <a:lnTo>
                    <a:pt x="891" y="340"/>
                  </a:lnTo>
                  <a:lnTo>
                    <a:pt x="901" y="395"/>
                  </a:lnTo>
                  <a:lnTo>
                    <a:pt x="905" y="452"/>
                  </a:lnTo>
                  <a:lnTo>
                    <a:pt x="901" y="509"/>
                  </a:lnTo>
                  <a:lnTo>
                    <a:pt x="891" y="564"/>
                  </a:lnTo>
                  <a:lnTo>
                    <a:pt x="874" y="615"/>
                  </a:lnTo>
                  <a:lnTo>
                    <a:pt x="852" y="664"/>
                  </a:lnTo>
                  <a:lnTo>
                    <a:pt x="823" y="711"/>
                  </a:lnTo>
                  <a:lnTo>
                    <a:pt x="790" y="753"/>
                  </a:lnTo>
                  <a:lnTo>
                    <a:pt x="753" y="790"/>
                  </a:lnTo>
                  <a:lnTo>
                    <a:pt x="711" y="822"/>
                  </a:lnTo>
                  <a:lnTo>
                    <a:pt x="665" y="850"/>
                  </a:lnTo>
                  <a:lnTo>
                    <a:pt x="616" y="874"/>
                  </a:lnTo>
                  <a:lnTo>
                    <a:pt x="564" y="890"/>
                  </a:lnTo>
                  <a:lnTo>
                    <a:pt x="510" y="901"/>
                  </a:lnTo>
                  <a:lnTo>
                    <a:pt x="453" y="904"/>
                  </a:lnTo>
                  <a:lnTo>
                    <a:pt x="395" y="901"/>
                  </a:lnTo>
                  <a:lnTo>
                    <a:pt x="342" y="890"/>
                  </a:lnTo>
                  <a:lnTo>
                    <a:pt x="289" y="874"/>
                  </a:lnTo>
                  <a:lnTo>
                    <a:pt x="241" y="850"/>
                  </a:lnTo>
                  <a:lnTo>
                    <a:pt x="194" y="822"/>
                  </a:lnTo>
                  <a:lnTo>
                    <a:pt x="152" y="790"/>
                  </a:lnTo>
                  <a:lnTo>
                    <a:pt x="115" y="753"/>
                  </a:lnTo>
                  <a:lnTo>
                    <a:pt x="82" y="711"/>
                  </a:lnTo>
                  <a:lnTo>
                    <a:pt x="53" y="664"/>
                  </a:lnTo>
                  <a:lnTo>
                    <a:pt x="31" y="615"/>
                  </a:lnTo>
                  <a:lnTo>
                    <a:pt x="14" y="564"/>
                  </a:lnTo>
                  <a:lnTo>
                    <a:pt x="4" y="509"/>
                  </a:lnTo>
                  <a:lnTo>
                    <a:pt x="0" y="452"/>
                  </a:lnTo>
                  <a:lnTo>
                    <a:pt x="4" y="395"/>
                  </a:lnTo>
                  <a:lnTo>
                    <a:pt x="14" y="340"/>
                  </a:lnTo>
                  <a:lnTo>
                    <a:pt x="31" y="289"/>
                  </a:lnTo>
                  <a:lnTo>
                    <a:pt x="53" y="239"/>
                  </a:lnTo>
                  <a:lnTo>
                    <a:pt x="82" y="193"/>
                  </a:lnTo>
                  <a:lnTo>
                    <a:pt x="115" y="151"/>
                  </a:lnTo>
                  <a:lnTo>
                    <a:pt x="152" y="114"/>
                  </a:lnTo>
                  <a:lnTo>
                    <a:pt x="194" y="80"/>
                  </a:lnTo>
                  <a:lnTo>
                    <a:pt x="241" y="52"/>
                  </a:lnTo>
                  <a:lnTo>
                    <a:pt x="289" y="30"/>
                  </a:lnTo>
                  <a:lnTo>
                    <a:pt x="342" y="14"/>
                  </a:lnTo>
                  <a:lnTo>
                    <a:pt x="395" y="3"/>
                  </a:lnTo>
                  <a:lnTo>
                    <a:pt x="4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51" name="Freeform 9">
              <a:extLst>
                <a:ext uri="{FF2B5EF4-FFF2-40B4-BE49-F238E27FC236}">
                  <a16:creationId xmlns:a16="http://schemas.microsoft.com/office/drawing/2014/main" id="{BCFFFDBB-6B37-4E14-802F-F0D851BD28FD}"/>
                </a:ext>
              </a:extLst>
            </p:cNvPr>
            <p:cNvSpPr>
              <a:spLocks/>
            </p:cNvSpPr>
            <p:nvPr/>
          </p:nvSpPr>
          <p:spPr bwMode="auto">
            <a:xfrm>
              <a:off x="5589" y="2556"/>
              <a:ext cx="522" cy="609"/>
            </a:xfrm>
            <a:custGeom>
              <a:avLst/>
              <a:gdLst>
                <a:gd name="T0" fmla="*/ 2575 w 2612"/>
                <a:gd name="T1" fmla="*/ 0 h 3048"/>
                <a:gd name="T2" fmla="*/ 2612 w 2612"/>
                <a:gd name="T3" fmla="*/ 65 h 3048"/>
                <a:gd name="T4" fmla="*/ 1778 w 2612"/>
                <a:gd name="T5" fmla="*/ 544 h 3048"/>
                <a:gd name="T6" fmla="*/ 1758 w 2612"/>
                <a:gd name="T7" fmla="*/ 510 h 3048"/>
                <a:gd name="T8" fmla="*/ 1823 w 2612"/>
                <a:gd name="T9" fmla="*/ 637 h 3048"/>
                <a:gd name="T10" fmla="*/ 1044 w 2612"/>
                <a:gd name="T11" fmla="*/ 1042 h 3048"/>
                <a:gd name="T12" fmla="*/ 1002 w 2612"/>
                <a:gd name="T13" fmla="*/ 1858 h 3048"/>
                <a:gd name="T14" fmla="*/ 973 w 2612"/>
                <a:gd name="T15" fmla="*/ 1858 h 3048"/>
                <a:gd name="T16" fmla="*/ 973 w 2612"/>
                <a:gd name="T17" fmla="*/ 2842 h 3048"/>
                <a:gd name="T18" fmla="*/ 1004 w 2612"/>
                <a:gd name="T19" fmla="*/ 2842 h 3048"/>
                <a:gd name="T20" fmla="*/ 1186 w 2612"/>
                <a:gd name="T21" fmla="*/ 2881 h 3048"/>
                <a:gd name="T22" fmla="*/ 1186 w 2612"/>
                <a:gd name="T23" fmla="*/ 3048 h 3048"/>
                <a:gd name="T24" fmla="*/ 1031 w 2612"/>
                <a:gd name="T25" fmla="*/ 3048 h 3048"/>
                <a:gd name="T26" fmla="*/ 851 w 2612"/>
                <a:gd name="T27" fmla="*/ 3019 h 3048"/>
                <a:gd name="T28" fmla="*/ 849 w 2612"/>
                <a:gd name="T29" fmla="*/ 3048 h 3048"/>
                <a:gd name="T30" fmla="*/ 650 w 2612"/>
                <a:gd name="T31" fmla="*/ 3048 h 3048"/>
                <a:gd name="T32" fmla="*/ 650 w 2612"/>
                <a:gd name="T33" fmla="*/ 2037 h 3048"/>
                <a:gd name="T34" fmla="*/ 536 w 2612"/>
                <a:gd name="T35" fmla="*/ 2037 h 3048"/>
                <a:gd name="T36" fmla="*/ 536 w 2612"/>
                <a:gd name="T37" fmla="*/ 3048 h 3048"/>
                <a:gd name="T38" fmla="*/ 336 w 2612"/>
                <a:gd name="T39" fmla="*/ 3048 h 3048"/>
                <a:gd name="T40" fmla="*/ 334 w 2612"/>
                <a:gd name="T41" fmla="*/ 3019 h 3048"/>
                <a:gd name="T42" fmla="*/ 154 w 2612"/>
                <a:gd name="T43" fmla="*/ 3048 h 3048"/>
                <a:gd name="T44" fmla="*/ 0 w 2612"/>
                <a:gd name="T45" fmla="*/ 3048 h 3048"/>
                <a:gd name="T46" fmla="*/ 0 w 2612"/>
                <a:gd name="T47" fmla="*/ 2881 h 3048"/>
                <a:gd name="T48" fmla="*/ 182 w 2612"/>
                <a:gd name="T49" fmla="*/ 2842 h 3048"/>
                <a:gd name="T50" fmla="*/ 213 w 2612"/>
                <a:gd name="T51" fmla="*/ 2842 h 3048"/>
                <a:gd name="T52" fmla="*/ 213 w 2612"/>
                <a:gd name="T53" fmla="*/ 1858 h 3048"/>
                <a:gd name="T54" fmla="*/ 189 w 2612"/>
                <a:gd name="T55" fmla="*/ 1858 h 3048"/>
                <a:gd name="T56" fmla="*/ 181 w 2612"/>
                <a:gd name="T57" fmla="*/ 1689 h 3048"/>
                <a:gd name="T58" fmla="*/ 26 w 2612"/>
                <a:gd name="T59" fmla="*/ 1689 h 3048"/>
                <a:gd name="T60" fmla="*/ 49 w 2612"/>
                <a:gd name="T61" fmla="*/ 877 h 3048"/>
                <a:gd name="T62" fmla="*/ 415 w 2612"/>
                <a:gd name="T63" fmla="*/ 809 h 3048"/>
                <a:gd name="T64" fmla="*/ 581 w 2612"/>
                <a:gd name="T65" fmla="*/ 1009 h 3048"/>
                <a:gd name="T66" fmla="*/ 754 w 2612"/>
                <a:gd name="T67" fmla="*/ 809 h 3048"/>
                <a:gd name="T68" fmla="*/ 1009 w 2612"/>
                <a:gd name="T69" fmla="*/ 809 h 3048"/>
                <a:gd name="T70" fmla="*/ 1722 w 2612"/>
                <a:gd name="T71" fmla="*/ 439 h 3048"/>
                <a:gd name="T72" fmla="*/ 1741 w 2612"/>
                <a:gd name="T73" fmla="*/ 477 h 3048"/>
                <a:gd name="T74" fmla="*/ 2575 w 2612"/>
                <a:gd name="T75" fmla="*/ 0 h 3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12" h="3048">
                  <a:moveTo>
                    <a:pt x="2575" y="0"/>
                  </a:moveTo>
                  <a:lnTo>
                    <a:pt x="2612" y="65"/>
                  </a:lnTo>
                  <a:lnTo>
                    <a:pt x="1778" y="544"/>
                  </a:lnTo>
                  <a:lnTo>
                    <a:pt x="1758" y="510"/>
                  </a:lnTo>
                  <a:lnTo>
                    <a:pt x="1823" y="637"/>
                  </a:lnTo>
                  <a:lnTo>
                    <a:pt x="1044" y="1042"/>
                  </a:lnTo>
                  <a:lnTo>
                    <a:pt x="1002" y="1858"/>
                  </a:lnTo>
                  <a:lnTo>
                    <a:pt x="973" y="1858"/>
                  </a:lnTo>
                  <a:lnTo>
                    <a:pt x="973" y="2842"/>
                  </a:lnTo>
                  <a:lnTo>
                    <a:pt x="1004" y="2842"/>
                  </a:lnTo>
                  <a:lnTo>
                    <a:pt x="1186" y="2881"/>
                  </a:lnTo>
                  <a:lnTo>
                    <a:pt x="1186" y="3048"/>
                  </a:lnTo>
                  <a:lnTo>
                    <a:pt x="1031" y="3048"/>
                  </a:lnTo>
                  <a:lnTo>
                    <a:pt x="851" y="3019"/>
                  </a:lnTo>
                  <a:lnTo>
                    <a:pt x="849" y="3048"/>
                  </a:lnTo>
                  <a:lnTo>
                    <a:pt x="650" y="3048"/>
                  </a:lnTo>
                  <a:lnTo>
                    <a:pt x="650" y="2037"/>
                  </a:lnTo>
                  <a:lnTo>
                    <a:pt x="536" y="2037"/>
                  </a:lnTo>
                  <a:lnTo>
                    <a:pt x="536" y="3048"/>
                  </a:lnTo>
                  <a:lnTo>
                    <a:pt x="336" y="3048"/>
                  </a:lnTo>
                  <a:lnTo>
                    <a:pt x="334" y="3019"/>
                  </a:lnTo>
                  <a:lnTo>
                    <a:pt x="154" y="3048"/>
                  </a:lnTo>
                  <a:lnTo>
                    <a:pt x="0" y="3048"/>
                  </a:lnTo>
                  <a:lnTo>
                    <a:pt x="0" y="2881"/>
                  </a:lnTo>
                  <a:lnTo>
                    <a:pt x="182" y="2842"/>
                  </a:lnTo>
                  <a:lnTo>
                    <a:pt x="213" y="2842"/>
                  </a:lnTo>
                  <a:lnTo>
                    <a:pt x="213" y="1858"/>
                  </a:lnTo>
                  <a:lnTo>
                    <a:pt x="189" y="1858"/>
                  </a:lnTo>
                  <a:lnTo>
                    <a:pt x="181" y="1689"/>
                  </a:lnTo>
                  <a:lnTo>
                    <a:pt x="26" y="1689"/>
                  </a:lnTo>
                  <a:lnTo>
                    <a:pt x="49" y="877"/>
                  </a:lnTo>
                  <a:lnTo>
                    <a:pt x="415" y="809"/>
                  </a:lnTo>
                  <a:lnTo>
                    <a:pt x="581" y="1009"/>
                  </a:lnTo>
                  <a:lnTo>
                    <a:pt x="754" y="809"/>
                  </a:lnTo>
                  <a:lnTo>
                    <a:pt x="1009" y="809"/>
                  </a:lnTo>
                  <a:lnTo>
                    <a:pt x="1722" y="439"/>
                  </a:lnTo>
                  <a:lnTo>
                    <a:pt x="1741" y="477"/>
                  </a:lnTo>
                  <a:lnTo>
                    <a:pt x="25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grpSp>
        <p:nvGrpSpPr>
          <p:cNvPr id="52" name="Group 55">
            <a:extLst>
              <a:ext uri="{FF2B5EF4-FFF2-40B4-BE49-F238E27FC236}">
                <a16:creationId xmlns:a16="http://schemas.microsoft.com/office/drawing/2014/main" id="{90A69446-B6AA-443E-8374-854ADCA234C2}"/>
              </a:ext>
            </a:extLst>
          </p:cNvPr>
          <p:cNvGrpSpPr>
            <a:grpSpLocks noChangeAspect="1"/>
          </p:cNvGrpSpPr>
          <p:nvPr/>
        </p:nvGrpSpPr>
        <p:grpSpPr bwMode="auto">
          <a:xfrm>
            <a:off x="2107384" y="3038727"/>
            <a:ext cx="563329" cy="548360"/>
            <a:chOff x="2029" y="515"/>
            <a:chExt cx="3622" cy="3290"/>
          </a:xfrm>
          <a:solidFill>
            <a:schemeClr val="accent1"/>
          </a:solidFill>
        </p:grpSpPr>
        <p:sp>
          <p:nvSpPr>
            <p:cNvPr id="53" name="Freeform 56">
              <a:extLst>
                <a:ext uri="{FF2B5EF4-FFF2-40B4-BE49-F238E27FC236}">
                  <a16:creationId xmlns:a16="http://schemas.microsoft.com/office/drawing/2014/main" id="{35CA2D0B-FCE6-4A97-86D4-5E38EA39259C}"/>
                </a:ext>
              </a:extLst>
            </p:cNvPr>
            <p:cNvSpPr>
              <a:spLocks/>
            </p:cNvSpPr>
            <p:nvPr/>
          </p:nvSpPr>
          <p:spPr bwMode="auto">
            <a:xfrm>
              <a:off x="2783" y="555"/>
              <a:ext cx="397" cy="240"/>
            </a:xfrm>
            <a:custGeom>
              <a:avLst/>
              <a:gdLst>
                <a:gd name="T0" fmla="*/ 80 w 397"/>
                <a:gd name="T1" fmla="*/ 228 h 240"/>
                <a:gd name="T2" fmla="*/ 80 w 397"/>
                <a:gd name="T3" fmla="*/ 228 h 240"/>
                <a:gd name="T4" fmla="*/ 110 w 397"/>
                <a:gd name="T5" fmla="*/ 216 h 240"/>
                <a:gd name="T6" fmla="*/ 136 w 397"/>
                <a:gd name="T7" fmla="*/ 202 h 240"/>
                <a:gd name="T8" fmla="*/ 159 w 397"/>
                <a:gd name="T9" fmla="*/ 188 h 240"/>
                <a:gd name="T10" fmla="*/ 179 w 397"/>
                <a:gd name="T11" fmla="*/ 172 h 240"/>
                <a:gd name="T12" fmla="*/ 197 w 397"/>
                <a:gd name="T13" fmla="*/ 156 h 240"/>
                <a:gd name="T14" fmla="*/ 215 w 397"/>
                <a:gd name="T15" fmla="*/ 138 h 240"/>
                <a:gd name="T16" fmla="*/ 253 w 397"/>
                <a:gd name="T17" fmla="*/ 100 h 240"/>
                <a:gd name="T18" fmla="*/ 253 w 397"/>
                <a:gd name="T19" fmla="*/ 100 h 240"/>
                <a:gd name="T20" fmla="*/ 219 w 397"/>
                <a:gd name="T21" fmla="*/ 140 h 240"/>
                <a:gd name="T22" fmla="*/ 201 w 397"/>
                <a:gd name="T23" fmla="*/ 158 h 240"/>
                <a:gd name="T24" fmla="*/ 183 w 397"/>
                <a:gd name="T25" fmla="*/ 176 h 240"/>
                <a:gd name="T26" fmla="*/ 165 w 397"/>
                <a:gd name="T27" fmla="*/ 192 h 240"/>
                <a:gd name="T28" fmla="*/ 142 w 397"/>
                <a:gd name="T29" fmla="*/ 208 h 240"/>
                <a:gd name="T30" fmla="*/ 94 w 397"/>
                <a:gd name="T31" fmla="*/ 240 h 240"/>
                <a:gd name="T32" fmla="*/ 94 w 397"/>
                <a:gd name="T33" fmla="*/ 240 h 240"/>
                <a:gd name="T34" fmla="*/ 124 w 397"/>
                <a:gd name="T35" fmla="*/ 240 h 240"/>
                <a:gd name="T36" fmla="*/ 153 w 397"/>
                <a:gd name="T37" fmla="*/ 238 h 240"/>
                <a:gd name="T38" fmla="*/ 181 w 397"/>
                <a:gd name="T39" fmla="*/ 232 h 240"/>
                <a:gd name="T40" fmla="*/ 209 w 397"/>
                <a:gd name="T41" fmla="*/ 224 h 240"/>
                <a:gd name="T42" fmla="*/ 233 w 397"/>
                <a:gd name="T43" fmla="*/ 212 h 240"/>
                <a:gd name="T44" fmla="*/ 245 w 397"/>
                <a:gd name="T45" fmla="*/ 206 h 240"/>
                <a:gd name="T46" fmla="*/ 257 w 397"/>
                <a:gd name="T47" fmla="*/ 196 h 240"/>
                <a:gd name="T48" fmla="*/ 269 w 397"/>
                <a:gd name="T49" fmla="*/ 186 h 240"/>
                <a:gd name="T50" fmla="*/ 279 w 397"/>
                <a:gd name="T51" fmla="*/ 174 h 240"/>
                <a:gd name="T52" fmla="*/ 291 w 397"/>
                <a:gd name="T53" fmla="*/ 162 h 240"/>
                <a:gd name="T54" fmla="*/ 301 w 397"/>
                <a:gd name="T55" fmla="*/ 146 h 240"/>
                <a:gd name="T56" fmla="*/ 397 w 397"/>
                <a:gd name="T57" fmla="*/ 0 h 240"/>
                <a:gd name="T58" fmla="*/ 397 w 397"/>
                <a:gd name="T59" fmla="*/ 0 h 240"/>
                <a:gd name="T60" fmla="*/ 371 w 397"/>
                <a:gd name="T61" fmla="*/ 12 h 240"/>
                <a:gd name="T62" fmla="*/ 345 w 397"/>
                <a:gd name="T63" fmla="*/ 20 h 240"/>
                <a:gd name="T64" fmla="*/ 295 w 397"/>
                <a:gd name="T65" fmla="*/ 32 h 240"/>
                <a:gd name="T66" fmla="*/ 245 w 397"/>
                <a:gd name="T67" fmla="*/ 42 h 240"/>
                <a:gd name="T68" fmla="*/ 199 w 397"/>
                <a:gd name="T69" fmla="*/ 52 h 240"/>
                <a:gd name="T70" fmla="*/ 177 w 397"/>
                <a:gd name="T71" fmla="*/ 58 h 240"/>
                <a:gd name="T72" fmla="*/ 155 w 397"/>
                <a:gd name="T73" fmla="*/ 66 h 240"/>
                <a:gd name="T74" fmla="*/ 134 w 397"/>
                <a:gd name="T75" fmla="*/ 74 h 240"/>
                <a:gd name="T76" fmla="*/ 114 w 397"/>
                <a:gd name="T77" fmla="*/ 86 h 240"/>
                <a:gd name="T78" fmla="*/ 94 w 397"/>
                <a:gd name="T79" fmla="*/ 98 h 240"/>
                <a:gd name="T80" fmla="*/ 76 w 397"/>
                <a:gd name="T81" fmla="*/ 114 h 240"/>
                <a:gd name="T82" fmla="*/ 58 w 397"/>
                <a:gd name="T83" fmla="*/ 134 h 240"/>
                <a:gd name="T84" fmla="*/ 42 w 397"/>
                <a:gd name="T85" fmla="*/ 156 h 240"/>
                <a:gd name="T86" fmla="*/ 42 w 397"/>
                <a:gd name="T87" fmla="*/ 156 h 240"/>
                <a:gd name="T88" fmla="*/ 22 w 397"/>
                <a:gd name="T89" fmla="*/ 186 h 240"/>
                <a:gd name="T90" fmla="*/ 10 w 397"/>
                <a:gd name="T91" fmla="*/ 212 h 240"/>
                <a:gd name="T92" fmla="*/ 0 w 397"/>
                <a:gd name="T93" fmla="*/ 234 h 240"/>
                <a:gd name="T94" fmla="*/ 0 w 397"/>
                <a:gd name="T95" fmla="*/ 234 h 240"/>
                <a:gd name="T96" fmla="*/ 50 w 397"/>
                <a:gd name="T97" fmla="*/ 238 h 240"/>
                <a:gd name="T98" fmla="*/ 50 w 397"/>
                <a:gd name="T99" fmla="*/ 238 h 240"/>
                <a:gd name="T100" fmla="*/ 64 w 397"/>
                <a:gd name="T101" fmla="*/ 234 h 240"/>
                <a:gd name="T102" fmla="*/ 80 w 397"/>
                <a:gd name="T103" fmla="*/ 228 h 240"/>
                <a:gd name="T104" fmla="*/ 80 w 397"/>
                <a:gd name="T105"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7" h="240">
                  <a:moveTo>
                    <a:pt x="80" y="228"/>
                  </a:moveTo>
                  <a:lnTo>
                    <a:pt x="80" y="228"/>
                  </a:lnTo>
                  <a:lnTo>
                    <a:pt x="110" y="216"/>
                  </a:lnTo>
                  <a:lnTo>
                    <a:pt x="136" y="202"/>
                  </a:lnTo>
                  <a:lnTo>
                    <a:pt x="159" y="188"/>
                  </a:lnTo>
                  <a:lnTo>
                    <a:pt x="179" y="172"/>
                  </a:lnTo>
                  <a:lnTo>
                    <a:pt x="197" y="156"/>
                  </a:lnTo>
                  <a:lnTo>
                    <a:pt x="215" y="138"/>
                  </a:lnTo>
                  <a:lnTo>
                    <a:pt x="253" y="100"/>
                  </a:lnTo>
                  <a:lnTo>
                    <a:pt x="253" y="100"/>
                  </a:lnTo>
                  <a:lnTo>
                    <a:pt x="219" y="140"/>
                  </a:lnTo>
                  <a:lnTo>
                    <a:pt x="201" y="158"/>
                  </a:lnTo>
                  <a:lnTo>
                    <a:pt x="183" y="176"/>
                  </a:lnTo>
                  <a:lnTo>
                    <a:pt x="165" y="192"/>
                  </a:lnTo>
                  <a:lnTo>
                    <a:pt x="142" y="208"/>
                  </a:lnTo>
                  <a:lnTo>
                    <a:pt x="94" y="240"/>
                  </a:lnTo>
                  <a:lnTo>
                    <a:pt x="94" y="240"/>
                  </a:lnTo>
                  <a:lnTo>
                    <a:pt x="124" y="240"/>
                  </a:lnTo>
                  <a:lnTo>
                    <a:pt x="153" y="238"/>
                  </a:lnTo>
                  <a:lnTo>
                    <a:pt x="181" y="232"/>
                  </a:lnTo>
                  <a:lnTo>
                    <a:pt x="209" y="224"/>
                  </a:lnTo>
                  <a:lnTo>
                    <a:pt x="233" y="212"/>
                  </a:lnTo>
                  <a:lnTo>
                    <a:pt x="245" y="206"/>
                  </a:lnTo>
                  <a:lnTo>
                    <a:pt x="257" y="196"/>
                  </a:lnTo>
                  <a:lnTo>
                    <a:pt x="269" y="186"/>
                  </a:lnTo>
                  <a:lnTo>
                    <a:pt x="279" y="174"/>
                  </a:lnTo>
                  <a:lnTo>
                    <a:pt x="291" y="162"/>
                  </a:lnTo>
                  <a:lnTo>
                    <a:pt x="301" y="146"/>
                  </a:lnTo>
                  <a:lnTo>
                    <a:pt x="397" y="0"/>
                  </a:lnTo>
                  <a:lnTo>
                    <a:pt x="397" y="0"/>
                  </a:lnTo>
                  <a:lnTo>
                    <a:pt x="371" y="12"/>
                  </a:lnTo>
                  <a:lnTo>
                    <a:pt x="345" y="20"/>
                  </a:lnTo>
                  <a:lnTo>
                    <a:pt x="295" y="32"/>
                  </a:lnTo>
                  <a:lnTo>
                    <a:pt x="245" y="42"/>
                  </a:lnTo>
                  <a:lnTo>
                    <a:pt x="199" y="52"/>
                  </a:lnTo>
                  <a:lnTo>
                    <a:pt x="177" y="58"/>
                  </a:lnTo>
                  <a:lnTo>
                    <a:pt x="155" y="66"/>
                  </a:lnTo>
                  <a:lnTo>
                    <a:pt x="134" y="74"/>
                  </a:lnTo>
                  <a:lnTo>
                    <a:pt x="114" y="86"/>
                  </a:lnTo>
                  <a:lnTo>
                    <a:pt x="94" y="98"/>
                  </a:lnTo>
                  <a:lnTo>
                    <a:pt x="76" y="114"/>
                  </a:lnTo>
                  <a:lnTo>
                    <a:pt x="58" y="134"/>
                  </a:lnTo>
                  <a:lnTo>
                    <a:pt x="42" y="156"/>
                  </a:lnTo>
                  <a:lnTo>
                    <a:pt x="42" y="156"/>
                  </a:lnTo>
                  <a:lnTo>
                    <a:pt x="22" y="186"/>
                  </a:lnTo>
                  <a:lnTo>
                    <a:pt x="10" y="212"/>
                  </a:lnTo>
                  <a:lnTo>
                    <a:pt x="0" y="234"/>
                  </a:lnTo>
                  <a:lnTo>
                    <a:pt x="0" y="234"/>
                  </a:lnTo>
                  <a:lnTo>
                    <a:pt x="50" y="238"/>
                  </a:lnTo>
                  <a:lnTo>
                    <a:pt x="50" y="238"/>
                  </a:lnTo>
                  <a:lnTo>
                    <a:pt x="64" y="234"/>
                  </a:lnTo>
                  <a:lnTo>
                    <a:pt x="80" y="228"/>
                  </a:lnTo>
                  <a:lnTo>
                    <a:pt x="80"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54" name="Freeform 57">
              <a:extLst>
                <a:ext uri="{FF2B5EF4-FFF2-40B4-BE49-F238E27FC236}">
                  <a16:creationId xmlns:a16="http://schemas.microsoft.com/office/drawing/2014/main" id="{4791F99F-1059-4EB9-9CA1-B39E955190ED}"/>
                </a:ext>
              </a:extLst>
            </p:cNvPr>
            <p:cNvSpPr>
              <a:spLocks/>
            </p:cNvSpPr>
            <p:nvPr/>
          </p:nvSpPr>
          <p:spPr bwMode="auto">
            <a:xfrm>
              <a:off x="2621" y="825"/>
              <a:ext cx="429" cy="176"/>
            </a:xfrm>
            <a:custGeom>
              <a:avLst/>
              <a:gdLst>
                <a:gd name="T0" fmla="*/ 266 w 429"/>
                <a:gd name="T1" fmla="*/ 10 h 176"/>
                <a:gd name="T2" fmla="*/ 266 w 429"/>
                <a:gd name="T3" fmla="*/ 10 h 176"/>
                <a:gd name="T4" fmla="*/ 236 w 429"/>
                <a:gd name="T5" fmla="*/ 2 h 176"/>
                <a:gd name="T6" fmla="*/ 210 w 429"/>
                <a:gd name="T7" fmla="*/ 0 h 176"/>
                <a:gd name="T8" fmla="*/ 186 w 429"/>
                <a:gd name="T9" fmla="*/ 2 h 176"/>
                <a:gd name="T10" fmla="*/ 164 w 429"/>
                <a:gd name="T11" fmla="*/ 6 h 176"/>
                <a:gd name="T12" fmla="*/ 142 w 429"/>
                <a:gd name="T13" fmla="*/ 14 h 176"/>
                <a:gd name="T14" fmla="*/ 122 w 429"/>
                <a:gd name="T15" fmla="*/ 24 h 176"/>
                <a:gd name="T16" fmla="*/ 102 w 429"/>
                <a:gd name="T17" fmla="*/ 36 h 176"/>
                <a:gd name="T18" fmla="*/ 84 w 429"/>
                <a:gd name="T19" fmla="*/ 50 h 176"/>
                <a:gd name="T20" fmla="*/ 84 w 429"/>
                <a:gd name="T21" fmla="*/ 50 h 176"/>
                <a:gd name="T22" fmla="*/ 106 w 429"/>
                <a:gd name="T23" fmla="*/ 50 h 176"/>
                <a:gd name="T24" fmla="*/ 128 w 429"/>
                <a:gd name="T25" fmla="*/ 50 h 176"/>
                <a:gd name="T26" fmla="*/ 148 w 429"/>
                <a:gd name="T27" fmla="*/ 50 h 176"/>
                <a:gd name="T28" fmla="*/ 166 w 429"/>
                <a:gd name="T29" fmla="*/ 54 h 176"/>
                <a:gd name="T30" fmla="*/ 184 w 429"/>
                <a:gd name="T31" fmla="*/ 58 h 176"/>
                <a:gd name="T32" fmla="*/ 202 w 429"/>
                <a:gd name="T33" fmla="*/ 62 h 176"/>
                <a:gd name="T34" fmla="*/ 240 w 429"/>
                <a:gd name="T35" fmla="*/ 78 h 176"/>
                <a:gd name="T36" fmla="*/ 240 w 429"/>
                <a:gd name="T37" fmla="*/ 78 h 176"/>
                <a:gd name="T38" fmla="*/ 198 w 429"/>
                <a:gd name="T39" fmla="*/ 66 h 176"/>
                <a:gd name="T40" fmla="*/ 178 w 429"/>
                <a:gd name="T41" fmla="*/ 62 h 176"/>
                <a:gd name="T42" fmla="*/ 158 w 429"/>
                <a:gd name="T43" fmla="*/ 60 h 176"/>
                <a:gd name="T44" fmla="*/ 138 w 429"/>
                <a:gd name="T45" fmla="*/ 58 h 176"/>
                <a:gd name="T46" fmla="*/ 116 w 429"/>
                <a:gd name="T47" fmla="*/ 60 h 176"/>
                <a:gd name="T48" fmla="*/ 90 w 429"/>
                <a:gd name="T49" fmla="*/ 64 h 176"/>
                <a:gd name="T50" fmla="*/ 64 w 429"/>
                <a:gd name="T51" fmla="*/ 72 h 176"/>
                <a:gd name="T52" fmla="*/ 58 w 429"/>
                <a:gd name="T53" fmla="*/ 74 h 176"/>
                <a:gd name="T54" fmla="*/ 58 w 429"/>
                <a:gd name="T55" fmla="*/ 74 h 176"/>
                <a:gd name="T56" fmla="*/ 30 w 429"/>
                <a:gd name="T57" fmla="*/ 104 h 176"/>
                <a:gd name="T58" fmla="*/ 0 w 429"/>
                <a:gd name="T59" fmla="*/ 136 h 176"/>
                <a:gd name="T60" fmla="*/ 0 w 429"/>
                <a:gd name="T61" fmla="*/ 136 h 176"/>
                <a:gd name="T62" fmla="*/ 22 w 429"/>
                <a:gd name="T63" fmla="*/ 146 h 176"/>
                <a:gd name="T64" fmla="*/ 46 w 429"/>
                <a:gd name="T65" fmla="*/ 156 h 176"/>
                <a:gd name="T66" fmla="*/ 80 w 429"/>
                <a:gd name="T67" fmla="*/ 168 h 176"/>
                <a:gd name="T68" fmla="*/ 80 w 429"/>
                <a:gd name="T69" fmla="*/ 168 h 176"/>
                <a:gd name="T70" fmla="*/ 106 w 429"/>
                <a:gd name="T71" fmla="*/ 174 h 176"/>
                <a:gd name="T72" fmla="*/ 132 w 429"/>
                <a:gd name="T73" fmla="*/ 176 h 176"/>
                <a:gd name="T74" fmla="*/ 156 w 429"/>
                <a:gd name="T75" fmla="*/ 176 h 176"/>
                <a:gd name="T76" fmla="*/ 178 w 429"/>
                <a:gd name="T77" fmla="*/ 174 h 176"/>
                <a:gd name="T78" fmla="*/ 198 w 429"/>
                <a:gd name="T79" fmla="*/ 170 h 176"/>
                <a:gd name="T80" fmla="*/ 220 w 429"/>
                <a:gd name="T81" fmla="*/ 162 h 176"/>
                <a:gd name="T82" fmla="*/ 240 w 429"/>
                <a:gd name="T83" fmla="*/ 154 h 176"/>
                <a:gd name="T84" fmla="*/ 258 w 429"/>
                <a:gd name="T85" fmla="*/ 144 h 176"/>
                <a:gd name="T86" fmla="*/ 298 w 429"/>
                <a:gd name="T87" fmla="*/ 122 h 176"/>
                <a:gd name="T88" fmla="*/ 339 w 429"/>
                <a:gd name="T89" fmla="*/ 98 h 176"/>
                <a:gd name="T90" fmla="*/ 381 w 429"/>
                <a:gd name="T91" fmla="*/ 76 h 176"/>
                <a:gd name="T92" fmla="*/ 405 w 429"/>
                <a:gd name="T93" fmla="*/ 66 h 176"/>
                <a:gd name="T94" fmla="*/ 429 w 429"/>
                <a:gd name="T95" fmla="*/ 56 h 176"/>
                <a:gd name="T96" fmla="*/ 266 w 429"/>
                <a:gd name="T97" fmla="*/ 1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9" h="176">
                  <a:moveTo>
                    <a:pt x="266" y="10"/>
                  </a:moveTo>
                  <a:lnTo>
                    <a:pt x="266" y="10"/>
                  </a:lnTo>
                  <a:lnTo>
                    <a:pt x="236" y="2"/>
                  </a:lnTo>
                  <a:lnTo>
                    <a:pt x="210" y="0"/>
                  </a:lnTo>
                  <a:lnTo>
                    <a:pt x="186" y="2"/>
                  </a:lnTo>
                  <a:lnTo>
                    <a:pt x="164" y="6"/>
                  </a:lnTo>
                  <a:lnTo>
                    <a:pt x="142" y="14"/>
                  </a:lnTo>
                  <a:lnTo>
                    <a:pt x="122" y="24"/>
                  </a:lnTo>
                  <a:lnTo>
                    <a:pt x="102" y="36"/>
                  </a:lnTo>
                  <a:lnTo>
                    <a:pt x="84" y="50"/>
                  </a:lnTo>
                  <a:lnTo>
                    <a:pt x="84" y="50"/>
                  </a:lnTo>
                  <a:lnTo>
                    <a:pt x="106" y="50"/>
                  </a:lnTo>
                  <a:lnTo>
                    <a:pt x="128" y="50"/>
                  </a:lnTo>
                  <a:lnTo>
                    <a:pt x="148" y="50"/>
                  </a:lnTo>
                  <a:lnTo>
                    <a:pt x="166" y="54"/>
                  </a:lnTo>
                  <a:lnTo>
                    <a:pt x="184" y="58"/>
                  </a:lnTo>
                  <a:lnTo>
                    <a:pt x="202" y="62"/>
                  </a:lnTo>
                  <a:lnTo>
                    <a:pt x="240" y="78"/>
                  </a:lnTo>
                  <a:lnTo>
                    <a:pt x="240" y="78"/>
                  </a:lnTo>
                  <a:lnTo>
                    <a:pt x="198" y="66"/>
                  </a:lnTo>
                  <a:lnTo>
                    <a:pt x="178" y="62"/>
                  </a:lnTo>
                  <a:lnTo>
                    <a:pt x="158" y="60"/>
                  </a:lnTo>
                  <a:lnTo>
                    <a:pt x="138" y="58"/>
                  </a:lnTo>
                  <a:lnTo>
                    <a:pt x="116" y="60"/>
                  </a:lnTo>
                  <a:lnTo>
                    <a:pt x="90" y="64"/>
                  </a:lnTo>
                  <a:lnTo>
                    <a:pt x="64" y="72"/>
                  </a:lnTo>
                  <a:lnTo>
                    <a:pt x="58" y="74"/>
                  </a:lnTo>
                  <a:lnTo>
                    <a:pt x="58" y="74"/>
                  </a:lnTo>
                  <a:lnTo>
                    <a:pt x="30" y="104"/>
                  </a:lnTo>
                  <a:lnTo>
                    <a:pt x="0" y="136"/>
                  </a:lnTo>
                  <a:lnTo>
                    <a:pt x="0" y="136"/>
                  </a:lnTo>
                  <a:lnTo>
                    <a:pt x="22" y="146"/>
                  </a:lnTo>
                  <a:lnTo>
                    <a:pt x="46" y="156"/>
                  </a:lnTo>
                  <a:lnTo>
                    <a:pt x="80" y="168"/>
                  </a:lnTo>
                  <a:lnTo>
                    <a:pt x="80" y="168"/>
                  </a:lnTo>
                  <a:lnTo>
                    <a:pt x="106" y="174"/>
                  </a:lnTo>
                  <a:lnTo>
                    <a:pt x="132" y="176"/>
                  </a:lnTo>
                  <a:lnTo>
                    <a:pt x="156" y="176"/>
                  </a:lnTo>
                  <a:lnTo>
                    <a:pt x="178" y="174"/>
                  </a:lnTo>
                  <a:lnTo>
                    <a:pt x="198" y="170"/>
                  </a:lnTo>
                  <a:lnTo>
                    <a:pt x="220" y="162"/>
                  </a:lnTo>
                  <a:lnTo>
                    <a:pt x="240" y="154"/>
                  </a:lnTo>
                  <a:lnTo>
                    <a:pt x="258" y="144"/>
                  </a:lnTo>
                  <a:lnTo>
                    <a:pt x="298" y="122"/>
                  </a:lnTo>
                  <a:lnTo>
                    <a:pt x="339" y="98"/>
                  </a:lnTo>
                  <a:lnTo>
                    <a:pt x="381" y="76"/>
                  </a:lnTo>
                  <a:lnTo>
                    <a:pt x="405" y="66"/>
                  </a:lnTo>
                  <a:lnTo>
                    <a:pt x="429" y="56"/>
                  </a:lnTo>
                  <a:lnTo>
                    <a:pt x="26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55" name="Freeform 58">
              <a:extLst>
                <a:ext uri="{FF2B5EF4-FFF2-40B4-BE49-F238E27FC236}">
                  <a16:creationId xmlns:a16="http://schemas.microsoft.com/office/drawing/2014/main" id="{2B6E7BD3-2F4E-4ABC-82C3-C9CDFE3E035F}"/>
                </a:ext>
              </a:extLst>
            </p:cNvPr>
            <p:cNvSpPr>
              <a:spLocks/>
            </p:cNvSpPr>
            <p:nvPr/>
          </p:nvSpPr>
          <p:spPr bwMode="auto">
            <a:xfrm>
              <a:off x="2579" y="515"/>
              <a:ext cx="196" cy="398"/>
            </a:xfrm>
            <a:custGeom>
              <a:avLst/>
              <a:gdLst>
                <a:gd name="T0" fmla="*/ 12 w 196"/>
                <a:gd name="T1" fmla="*/ 398 h 398"/>
                <a:gd name="T2" fmla="*/ 12 w 196"/>
                <a:gd name="T3" fmla="*/ 398 h 398"/>
                <a:gd name="T4" fmla="*/ 64 w 196"/>
                <a:gd name="T5" fmla="*/ 368 h 398"/>
                <a:gd name="T6" fmla="*/ 64 w 196"/>
                <a:gd name="T7" fmla="*/ 368 h 398"/>
                <a:gd name="T8" fmla="*/ 74 w 196"/>
                <a:gd name="T9" fmla="*/ 354 h 398"/>
                <a:gd name="T10" fmla="*/ 74 w 196"/>
                <a:gd name="T11" fmla="*/ 354 h 398"/>
                <a:gd name="T12" fmla="*/ 92 w 196"/>
                <a:gd name="T13" fmla="*/ 326 h 398"/>
                <a:gd name="T14" fmla="*/ 106 w 196"/>
                <a:gd name="T15" fmla="*/ 300 h 398"/>
                <a:gd name="T16" fmla="*/ 116 w 196"/>
                <a:gd name="T17" fmla="*/ 276 h 398"/>
                <a:gd name="T18" fmla="*/ 124 w 196"/>
                <a:gd name="T19" fmla="*/ 252 h 398"/>
                <a:gd name="T20" fmla="*/ 130 w 196"/>
                <a:gd name="T21" fmla="*/ 230 h 398"/>
                <a:gd name="T22" fmla="*/ 134 w 196"/>
                <a:gd name="T23" fmla="*/ 204 h 398"/>
                <a:gd name="T24" fmla="*/ 146 w 196"/>
                <a:gd name="T25" fmla="*/ 152 h 398"/>
                <a:gd name="T26" fmla="*/ 146 w 196"/>
                <a:gd name="T27" fmla="*/ 152 h 398"/>
                <a:gd name="T28" fmla="*/ 140 w 196"/>
                <a:gd name="T29" fmla="*/ 202 h 398"/>
                <a:gd name="T30" fmla="*/ 130 w 196"/>
                <a:gd name="T31" fmla="*/ 250 h 398"/>
                <a:gd name="T32" fmla="*/ 124 w 196"/>
                <a:gd name="T33" fmla="*/ 274 h 398"/>
                <a:gd name="T34" fmla="*/ 116 w 196"/>
                <a:gd name="T35" fmla="*/ 298 h 398"/>
                <a:gd name="T36" fmla="*/ 96 w 196"/>
                <a:gd name="T37" fmla="*/ 348 h 398"/>
                <a:gd name="T38" fmla="*/ 96 w 196"/>
                <a:gd name="T39" fmla="*/ 348 h 398"/>
                <a:gd name="T40" fmla="*/ 118 w 196"/>
                <a:gd name="T41" fmla="*/ 334 h 398"/>
                <a:gd name="T42" fmla="*/ 138 w 196"/>
                <a:gd name="T43" fmla="*/ 316 h 398"/>
                <a:gd name="T44" fmla="*/ 156 w 196"/>
                <a:gd name="T45" fmla="*/ 298 h 398"/>
                <a:gd name="T46" fmla="*/ 170 w 196"/>
                <a:gd name="T47" fmla="*/ 278 h 398"/>
                <a:gd name="T48" fmla="*/ 182 w 196"/>
                <a:gd name="T49" fmla="*/ 256 h 398"/>
                <a:gd name="T50" fmla="*/ 190 w 196"/>
                <a:gd name="T51" fmla="*/ 230 h 398"/>
                <a:gd name="T52" fmla="*/ 196 w 196"/>
                <a:gd name="T53" fmla="*/ 202 h 398"/>
                <a:gd name="T54" fmla="*/ 196 w 196"/>
                <a:gd name="T55" fmla="*/ 170 h 398"/>
                <a:gd name="T56" fmla="*/ 188 w 196"/>
                <a:gd name="T57" fmla="*/ 0 h 398"/>
                <a:gd name="T58" fmla="*/ 188 w 196"/>
                <a:gd name="T59" fmla="*/ 0 h 398"/>
                <a:gd name="T60" fmla="*/ 174 w 196"/>
                <a:gd name="T61" fmla="*/ 22 h 398"/>
                <a:gd name="T62" fmla="*/ 158 w 196"/>
                <a:gd name="T63" fmla="*/ 42 h 398"/>
                <a:gd name="T64" fmla="*/ 126 w 196"/>
                <a:gd name="T65" fmla="*/ 78 h 398"/>
                <a:gd name="T66" fmla="*/ 94 w 196"/>
                <a:gd name="T67" fmla="*/ 112 h 398"/>
                <a:gd name="T68" fmla="*/ 64 w 196"/>
                <a:gd name="T69" fmla="*/ 144 h 398"/>
                <a:gd name="T70" fmla="*/ 50 w 196"/>
                <a:gd name="T71" fmla="*/ 162 h 398"/>
                <a:gd name="T72" fmla="*/ 36 w 196"/>
                <a:gd name="T73" fmla="*/ 178 h 398"/>
                <a:gd name="T74" fmla="*/ 26 w 196"/>
                <a:gd name="T75" fmla="*/ 196 h 398"/>
                <a:gd name="T76" fmla="*/ 16 w 196"/>
                <a:gd name="T77" fmla="*/ 216 h 398"/>
                <a:gd name="T78" fmla="*/ 8 w 196"/>
                <a:gd name="T79" fmla="*/ 238 h 398"/>
                <a:gd name="T80" fmla="*/ 2 w 196"/>
                <a:gd name="T81" fmla="*/ 260 h 398"/>
                <a:gd name="T82" fmla="*/ 0 w 196"/>
                <a:gd name="T83" fmla="*/ 286 h 398"/>
                <a:gd name="T84" fmla="*/ 0 w 196"/>
                <a:gd name="T85" fmla="*/ 312 h 398"/>
                <a:gd name="T86" fmla="*/ 0 w 196"/>
                <a:gd name="T87" fmla="*/ 312 h 398"/>
                <a:gd name="T88" fmla="*/ 2 w 196"/>
                <a:gd name="T89" fmla="*/ 348 h 398"/>
                <a:gd name="T90" fmla="*/ 6 w 196"/>
                <a:gd name="T91" fmla="*/ 374 h 398"/>
                <a:gd name="T92" fmla="*/ 12 w 196"/>
                <a:gd name="T93" fmla="*/ 398 h 398"/>
                <a:gd name="T94" fmla="*/ 12 w 196"/>
                <a:gd name="T95" fmla="*/ 39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6" h="398">
                  <a:moveTo>
                    <a:pt x="12" y="398"/>
                  </a:moveTo>
                  <a:lnTo>
                    <a:pt x="12" y="398"/>
                  </a:lnTo>
                  <a:lnTo>
                    <a:pt x="64" y="368"/>
                  </a:lnTo>
                  <a:lnTo>
                    <a:pt x="64" y="368"/>
                  </a:lnTo>
                  <a:lnTo>
                    <a:pt x="74" y="354"/>
                  </a:lnTo>
                  <a:lnTo>
                    <a:pt x="74" y="354"/>
                  </a:lnTo>
                  <a:lnTo>
                    <a:pt x="92" y="326"/>
                  </a:lnTo>
                  <a:lnTo>
                    <a:pt x="106" y="300"/>
                  </a:lnTo>
                  <a:lnTo>
                    <a:pt x="116" y="276"/>
                  </a:lnTo>
                  <a:lnTo>
                    <a:pt x="124" y="252"/>
                  </a:lnTo>
                  <a:lnTo>
                    <a:pt x="130" y="230"/>
                  </a:lnTo>
                  <a:lnTo>
                    <a:pt x="134" y="204"/>
                  </a:lnTo>
                  <a:lnTo>
                    <a:pt x="146" y="152"/>
                  </a:lnTo>
                  <a:lnTo>
                    <a:pt x="146" y="152"/>
                  </a:lnTo>
                  <a:lnTo>
                    <a:pt x="140" y="202"/>
                  </a:lnTo>
                  <a:lnTo>
                    <a:pt x="130" y="250"/>
                  </a:lnTo>
                  <a:lnTo>
                    <a:pt x="124" y="274"/>
                  </a:lnTo>
                  <a:lnTo>
                    <a:pt x="116" y="298"/>
                  </a:lnTo>
                  <a:lnTo>
                    <a:pt x="96" y="348"/>
                  </a:lnTo>
                  <a:lnTo>
                    <a:pt x="96" y="348"/>
                  </a:lnTo>
                  <a:lnTo>
                    <a:pt x="118" y="334"/>
                  </a:lnTo>
                  <a:lnTo>
                    <a:pt x="138" y="316"/>
                  </a:lnTo>
                  <a:lnTo>
                    <a:pt x="156" y="298"/>
                  </a:lnTo>
                  <a:lnTo>
                    <a:pt x="170" y="278"/>
                  </a:lnTo>
                  <a:lnTo>
                    <a:pt x="182" y="256"/>
                  </a:lnTo>
                  <a:lnTo>
                    <a:pt x="190" y="230"/>
                  </a:lnTo>
                  <a:lnTo>
                    <a:pt x="196" y="202"/>
                  </a:lnTo>
                  <a:lnTo>
                    <a:pt x="196" y="170"/>
                  </a:lnTo>
                  <a:lnTo>
                    <a:pt x="188" y="0"/>
                  </a:lnTo>
                  <a:lnTo>
                    <a:pt x="188" y="0"/>
                  </a:lnTo>
                  <a:lnTo>
                    <a:pt x="174" y="22"/>
                  </a:lnTo>
                  <a:lnTo>
                    <a:pt x="158" y="42"/>
                  </a:lnTo>
                  <a:lnTo>
                    <a:pt x="126" y="78"/>
                  </a:lnTo>
                  <a:lnTo>
                    <a:pt x="94" y="112"/>
                  </a:lnTo>
                  <a:lnTo>
                    <a:pt x="64" y="144"/>
                  </a:lnTo>
                  <a:lnTo>
                    <a:pt x="50" y="162"/>
                  </a:lnTo>
                  <a:lnTo>
                    <a:pt x="36" y="178"/>
                  </a:lnTo>
                  <a:lnTo>
                    <a:pt x="26" y="196"/>
                  </a:lnTo>
                  <a:lnTo>
                    <a:pt x="16" y="216"/>
                  </a:lnTo>
                  <a:lnTo>
                    <a:pt x="8" y="238"/>
                  </a:lnTo>
                  <a:lnTo>
                    <a:pt x="2" y="260"/>
                  </a:lnTo>
                  <a:lnTo>
                    <a:pt x="0" y="286"/>
                  </a:lnTo>
                  <a:lnTo>
                    <a:pt x="0" y="312"/>
                  </a:lnTo>
                  <a:lnTo>
                    <a:pt x="0" y="312"/>
                  </a:lnTo>
                  <a:lnTo>
                    <a:pt x="2" y="348"/>
                  </a:lnTo>
                  <a:lnTo>
                    <a:pt x="6" y="374"/>
                  </a:lnTo>
                  <a:lnTo>
                    <a:pt x="12" y="398"/>
                  </a:lnTo>
                  <a:lnTo>
                    <a:pt x="12" y="3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56" name="Freeform 59">
              <a:extLst>
                <a:ext uri="{FF2B5EF4-FFF2-40B4-BE49-F238E27FC236}">
                  <a16:creationId xmlns:a16="http://schemas.microsoft.com/office/drawing/2014/main" id="{2F5A2DF0-9EE6-4EA1-BB11-579FB3DEE22D}"/>
                </a:ext>
              </a:extLst>
            </p:cNvPr>
            <p:cNvSpPr>
              <a:spLocks/>
            </p:cNvSpPr>
            <p:nvPr/>
          </p:nvSpPr>
          <p:spPr bwMode="auto">
            <a:xfrm>
              <a:off x="2337" y="1358"/>
              <a:ext cx="408" cy="414"/>
            </a:xfrm>
            <a:custGeom>
              <a:avLst/>
              <a:gdLst>
                <a:gd name="T0" fmla="*/ 36 w 408"/>
                <a:gd name="T1" fmla="*/ 300 h 414"/>
                <a:gd name="T2" fmla="*/ 36 w 408"/>
                <a:gd name="T3" fmla="*/ 300 h 414"/>
                <a:gd name="T4" fmla="*/ 12 w 408"/>
                <a:gd name="T5" fmla="*/ 340 h 414"/>
                <a:gd name="T6" fmla="*/ 12 w 408"/>
                <a:gd name="T7" fmla="*/ 340 h 414"/>
                <a:gd name="T8" fmla="*/ 0 w 408"/>
                <a:gd name="T9" fmla="*/ 414 h 414"/>
                <a:gd name="T10" fmla="*/ 0 w 408"/>
                <a:gd name="T11" fmla="*/ 414 h 414"/>
                <a:gd name="T12" fmla="*/ 30 w 408"/>
                <a:gd name="T13" fmla="*/ 408 h 414"/>
                <a:gd name="T14" fmla="*/ 66 w 408"/>
                <a:gd name="T15" fmla="*/ 400 h 414"/>
                <a:gd name="T16" fmla="*/ 110 w 408"/>
                <a:gd name="T17" fmla="*/ 384 h 414"/>
                <a:gd name="T18" fmla="*/ 110 w 408"/>
                <a:gd name="T19" fmla="*/ 384 h 414"/>
                <a:gd name="T20" fmla="*/ 142 w 408"/>
                <a:gd name="T21" fmla="*/ 370 h 414"/>
                <a:gd name="T22" fmla="*/ 172 w 408"/>
                <a:gd name="T23" fmla="*/ 354 h 414"/>
                <a:gd name="T24" fmla="*/ 198 w 408"/>
                <a:gd name="T25" fmla="*/ 336 h 414"/>
                <a:gd name="T26" fmla="*/ 220 w 408"/>
                <a:gd name="T27" fmla="*/ 316 h 414"/>
                <a:gd name="T28" fmla="*/ 240 w 408"/>
                <a:gd name="T29" fmla="*/ 296 h 414"/>
                <a:gd name="T30" fmla="*/ 256 w 408"/>
                <a:gd name="T31" fmla="*/ 272 h 414"/>
                <a:gd name="T32" fmla="*/ 272 w 408"/>
                <a:gd name="T33" fmla="*/ 248 h 414"/>
                <a:gd name="T34" fmla="*/ 286 w 408"/>
                <a:gd name="T35" fmla="*/ 224 h 414"/>
                <a:gd name="T36" fmla="*/ 314 w 408"/>
                <a:gd name="T37" fmla="*/ 170 h 414"/>
                <a:gd name="T38" fmla="*/ 340 w 408"/>
                <a:gd name="T39" fmla="*/ 114 h 414"/>
                <a:gd name="T40" fmla="*/ 354 w 408"/>
                <a:gd name="T41" fmla="*/ 86 h 414"/>
                <a:gd name="T42" fmla="*/ 370 w 408"/>
                <a:gd name="T43" fmla="*/ 58 h 414"/>
                <a:gd name="T44" fmla="*/ 388 w 408"/>
                <a:gd name="T45" fmla="*/ 30 h 414"/>
                <a:gd name="T46" fmla="*/ 408 w 408"/>
                <a:gd name="T47" fmla="*/ 0 h 414"/>
                <a:gd name="T48" fmla="*/ 196 w 408"/>
                <a:gd name="T49" fmla="*/ 78 h 414"/>
                <a:gd name="T50" fmla="*/ 196 w 408"/>
                <a:gd name="T51" fmla="*/ 78 h 414"/>
                <a:gd name="T52" fmla="*/ 178 w 408"/>
                <a:gd name="T53" fmla="*/ 86 h 414"/>
                <a:gd name="T54" fmla="*/ 160 w 408"/>
                <a:gd name="T55" fmla="*/ 94 h 414"/>
                <a:gd name="T56" fmla="*/ 144 w 408"/>
                <a:gd name="T57" fmla="*/ 102 h 414"/>
                <a:gd name="T58" fmla="*/ 128 w 408"/>
                <a:gd name="T59" fmla="*/ 112 h 414"/>
                <a:gd name="T60" fmla="*/ 114 w 408"/>
                <a:gd name="T61" fmla="*/ 122 h 414"/>
                <a:gd name="T62" fmla="*/ 102 w 408"/>
                <a:gd name="T63" fmla="*/ 134 h 414"/>
                <a:gd name="T64" fmla="*/ 80 w 408"/>
                <a:gd name="T65" fmla="*/ 156 h 414"/>
                <a:gd name="T66" fmla="*/ 62 w 408"/>
                <a:gd name="T67" fmla="*/ 182 h 414"/>
                <a:gd name="T68" fmla="*/ 48 w 408"/>
                <a:gd name="T69" fmla="*/ 208 h 414"/>
                <a:gd name="T70" fmla="*/ 36 w 408"/>
                <a:gd name="T71" fmla="*/ 238 h 414"/>
                <a:gd name="T72" fmla="*/ 28 w 408"/>
                <a:gd name="T73" fmla="*/ 268 h 414"/>
                <a:gd name="T74" fmla="*/ 28 w 408"/>
                <a:gd name="T75" fmla="*/ 268 h 414"/>
                <a:gd name="T76" fmla="*/ 52 w 408"/>
                <a:gd name="T77" fmla="*/ 248 h 414"/>
                <a:gd name="T78" fmla="*/ 76 w 408"/>
                <a:gd name="T79" fmla="*/ 230 h 414"/>
                <a:gd name="T80" fmla="*/ 100 w 408"/>
                <a:gd name="T81" fmla="*/ 218 h 414"/>
                <a:gd name="T82" fmla="*/ 124 w 408"/>
                <a:gd name="T83" fmla="*/ 206 h 414"/>
                <a:gd name="T84" fmla="*/ 148 w 408"/>
                <a:gd name="T85" fmla="*/ 198 h 414"/>
                <a:gd name="T86" fmla="*/ 174 w 408"/>
                <a:gd name="T87" fmla="*/ 190 h 414"/>
                <a:gd name="T88" fmla="*/ 200 w 408"/>
                <a:gd name="T89" fmla="*/ 186 h 414"/>
                <a:gd name="T90" fmla="*/ 230 w 408"/>
                <a:gd name="T91" fmla="*/ 182 h 414"/>
                <a:gd name="T92" fmla="*/ 230 w 408"/>
                <a:gd name="T93" fmla="*/ 182 h 414"/>
                <a:gd name="T94" fmla="*/ 174 w 408"/>
                <a:gd name="T95" fmla="*/ 200 h 414"/>
                <a:gd name="T96" fmla="*/ 150 w 408"/>
                <a:gd name="T97" fmla="*/ 208 h 414"/>
                <a:gd name="T98" fmla="*/ 126 w 408"/>
                <a:gd name="T99" fmla="*/ 216 h 414"/>
                <a:gd name="T100" fmla="*/ 102 w 408"/>
                <a:gd name="T101" fmla="*/ 230 h 414"/>
                <a:gd name="T102" fmla="*/ 80 w 408"/>
                <a:gd name="T103" fmla="*/ 246 h 414"/>
                <a:gd name="T104" fmla="*/ 70 w 408"/>
                <a:gd name="T105" fmla="*/ 256 h 414"/>
                <a:gd name="T106" fmla="*/ 58 w 408"/>
                <a:gd name="T107" fmla="*/ 270 h 414"/>
                <a:gd name="T108" fmla="*/ 48 w 408"/>
                <a:gd name="T109" fmla="*/ 284 h 414"/>
                <a:gd name="T110" fmla="*/ 36 w 408"/>
                <a:gd name="T111" fmla="*/ 300 h 414"/>
                <a:gd name="T112" fmla="*/ 36 w 408"/>
                <a:gd name="T113" fmla="*/ 30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8" h="414">
                  <a:moveTo>
                    <a:pt x="36" y="300"/>
                  </a:moveTo>
                  <a:lnTo>
                    <a:pt x="36" y="300"/>
                  </a:lnTo>
                  <a:lnTo>
                    <a:pt x="12" y="340"/>
                  </a:lnTo>
                  <a:lnTo>
                    <a:pt x="12" y="340"/>
                  </a:lnTo>
                  <a:lnTo>
                    <a:pt x="0" y="414"/>
                  </a:lnTo>
                  <a:lnTo>
                    <a:pt x="0" y="414"/>
                  </a:lnTo>
                  <a:lnTo>
                    <a:pt x="30" y="408"/>
                  </a:lnTo>
                  <a:lnTo>
                    <a:pt x="66" y="400"/>
                  </a:lnTo>
                  <a:lnTo>
                    <a:pt x="110" y="384"/>
                  </a:lnTo>
                  <a:lnTo>
                    <a:pt x="110" y="384"/>
                  </a:lnTo>
                  <a:lnTo>
                    <a:pt x="142" y="370"/>
                  </a:lnTo>
                  <a:lnTo>
                    <a:pt x="172" y="354"/>
                  </a:lnTo>
                  <a:lnTo>
                    <a:pt x="198" y="336"/>
                  </a:lnTo>
                  <a:lnTo>
                    <a:pt x="220" y="316"/>
                  </a:lnTo>
                  <a:lnTo>
                    <a:pt x="240" y="296"/>
                  </a:lnTo>
                  <a:lnTo>
                    <a:pt x="256" y="272"/>
                  </a:lnTo>
                  <a:lnTo>
                    <a:pt x="272" y="248"/>
                  </a:lnTo>
                  <a:lnTo>
                    <a:pt x="286" y="224"/>
                  </a:lnTo>
                  <a:lnTo>
                    <a:pt x="314" y="170"/>
                  </a:lnTo>
                  <a:lnTo>
                    <a:pt x="340" y="114"/>
                  </a:lnTo>
                  <a:lnTo>
                    <a:pt x="354" y="86"/>
                  </a:lnTo>
                  <a:lnTo>
                    <a:pt x="370" y="58"/>
                  </a:lnTo>
                  <a:lnTo>
                    <a:pt x="388" y="30"/>
                  </a:lnTo>
                  <a:lnTo>
                    <a:pt x="408" y="0"/>
                  </a:lnTo>
                  <a:lnTo>
                    <a:pt x="196" y="78"/>
                  </a:lnTo>
                  <a:lnTo>
                    <a:pt x="196" y="78"/>
                  </a:lnTo>
                  <a:lnTo>
                    <a:pt x="178" y="86"/>
                  </a:lnTo>
                  <a:lnTo>
                    <a:pt x="160" y="94"/>
                  </a:lnTo>
                  <a:lnTo>
                    <a:pt x="144" y="102"/>
                  </a:lnTo>
                  <a:lnTo>
                    <a:pt x="128" y="112"/>
                  </a:lnTo>
                  <a:lnTo>
                    <a:pt x="114" y="122"/>
                  </a:lnTo>
                  <a:lnTo>
                    <a:pt x="102" y="134"/>
                  </a:lnTo>
                  <a:lnTo>
                    <a:pt x="80" y="156"/>
                  </a:lnTo>
                  <a:lnTo>
                    <a:pt x="62" y="182"/>
                  </a:lnTo>
                  <a:lnTo>
                    <a:pt x="48" y="208"/>
                  </a:lnTo>
                  <a:lnTo>
                    <a:pt x="36" y="238"/>
                  </a:lnTo>
                  <a:lnTo>
                    <a:pt x="28" y="268"/>
                  </a:lnTo>
                  <a:lnTo>
                    <a:pt x="28" y="268"/>
                  </a:lnTo>
                  <a:lnTo>
                    <a:pt x="52" y="248"/>
                  </a:lnTo>
                  <a:lnTo>
                    <a:pt x="76" y="230"/>
                  </a:lnTo>
                  <a:lnTo>
                    <a:pt x="100" y="218"/>
                  </a:lnTo>
                  <a:lnTo>
                    <a:pt x="124" y="206"/>
                  </a:lnTo>
                  <a:lnTo>
                    <a:pt x="148" y="198"/>
                  </a:lnTo>
                  <a:lnTo>
                    <a:pt x="174" y="190"/>
                  </a:lnTo>
                  <a:lnTo>
                    <a:pt x="200" y="186"/>
                  </a:lnTo>
                  <a:lnTo>
                    <a:pt x="230" y="182"/>
                  </a:lnTo>
                  <a:lnTo>
                    <a:pt x="230" y="182"/>
                  </a:lnTo>
                  <a:lnTo>
                    <a:pt x="174" y="200"/>
                  </a:lnTo>
                  <a:lnTo>
                    <a:pt x="150" y="208"/>
                  </a:lnTo>
                  <a:lnTo>
                    <a:pt x="126" y="216"/>
                  </a:lnTo>
                  <a:lnTo>
                    <a:pt x="102" y="230"/>
                  </a:lnTo>
                  <a:lnTo>
                    <a:pt x="80" y="246"/>
                  </a:lnTo>
                  <a:lnTo>
                    <a:pt x="70" y="256"/>
                  </a:lnTo>
                  <a:lnTo>
                    <a:pt x="58" y="270"/>
                  </a:lnTo>
                  <a:lnTo>
                    <a:pt x="48" y="284"/>
                  </a:lnTo>
                  <a:lnTo>
                    <a:pt x="36" y="300"/>
                  </a:lnTo>
                  <a:lnTo>
                    <a:pt x="36"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57" name="Freeform 60">
              <a:extLst>
                <a:ext uri="{FF2B5EF4-FFF2-40B4-BE49-F238E27FC236}">
                  <a16:creationId xmlns:a16="http://schemas.microsoft.com/office/drawing/2014/main" id="{58BED731-18E8-4889-A6C5-1C9A5A0467E3}"/>
                </a:ext>
              </a:extLst>
            </p:cNvPr>
            <p:cNvSpPr>
              <a:spLocks/>
            </p:cNvSpPr>
            <p:nvPr/>
          </p:nvSpPr>
          <p:spPr bwMode="auto">
            <a:xfrm>
              <a:off x="2141" y="1175"/>
              <a:ext cx="214" cy="565"/>
            </a:xfrm>
            <a:custGeom>
              <a:avLst/>
              <a:gdLst>
                <a:gd name="T0" fmla="*/ 72 w 214"/>
                <a:gd name="T1" fmla="*/ 485 h 565"/>
                <a:gd name="T2" fmla="*/ 72 w 214"/>
                <a:gd name="T3" fmla="*/ 485 h 565"/>
                <a:gd name="T4" fmla="*/ 102 w 214"/>
                <a:gd name="T5" fmla="*/ 519 h 565"/>
                <a:gd name="T6" fmla="*/ 128 w 214"/>
                <a:gd name="T7" fmla="*/ 545 h 565"/>
                <a:gd name="T8" fmla="*/ 152 w 214"/>
                <a:gd name="T9" fmla="*/ 565 h 565"/>
                <a:gd name="T10" fmla="*/ 152 w 214"/>
                <a:gd name="T11" fmla="*/ 565 h 565"/>
                <a:gd name="T12" fmla="*/ 176 w 214"/>
                <a:gd name="T13" fmla="*/ 505 h 565"/>
                <a:gd name="T14" fmla="*/ 176 w 214"/>
                <a:gd name="T15" fmla="*/ 505 h 565"/>
                <a:gd name="T16" fmla="*/ 176 w 214"/>
                <a:gd name="T17" fmla="*/ 487 h 565"/>
                <a:gd name="T18" fmla="*/ 174 w 214"/>
                <a:gd name="T19" fmla="*/ 467 h 565"/>
                <a:gd name="T20" fmla="*/ 174 w 214"/>
                <a:gd name="T21" fmla="*/ 467 h 565"/>
                <a:gd name="T22" fmla="*/ 170 w 214"/>
                <a:gd name="T23" fmla="*/ 419 h 565"/>
                <a:gd name="T24" fmla="*/ 162 w 214"/>
                <a:gd name="T25" fmla="*/ 377 h 565"/>
                <a:gd name="T26" fmla="*/ 150 w 214"/>
                <a:gd name="T27" fmla="*/ 339 h 565"/>
                <a:gd name="T28" fmla="*/ 138 w 214"/>
                <a:gd name="T29" fmla="*/ 303 h 565"/>
                <a:gd name="T30" fmla="*/ 122 w 214"/>
                <a:gd name="T31" fmla="*/ 269 h 565"/>
                <a:gd name="T32" fmla="*/ 106 w 214"/>
                <a:gd name="T33" fmla="*/ 235 h 565"/>
                <a:gd name="T34" fmla="*/ 70 w 214"/>
                <a:gd name="T35" fmla="*/ 158 h 565"/>
                <a:gd name="T36" fmla="*/ 70 w 214"/>
                <a:gd name="T37" fmla="*/ 158 h 565"/>
                <a:gd name="T38" fmla="*/ 92 w 214"/>
                <a:gd name="T39" fmla="*/ 195 h 565"/>
                <a:gd name="T40" fmla="*/ 110 w 214"/>
                <a:gd name="T41" fmla="*/ 229 h 565"/>
                <a:gd name="T42" fmla="*/ 128 w 214"/>
                <a:gd name="T43" fmla="*/ 263 h 565"/>
                <a:gd name="T44" fmla="*/ 142 w 214"/>
                <a:gd name="T45" fmla="*/ 297 h 565"/>
                <a:gd name="T46" fmla="*/ 156 w 214"/>
                <a:gd name="T47" fmla="*/ 333 h 565"/>
                <a:gd name="T48" fmla="*/ 170 w 214"/>
                <a:gd name="T49" fmla="*/ 369 h 565"/>
                <a:gd name="T50" fmla="*/ 182 w 214"/>
                <a:gd name="T51" fmla="*/ 409 h 565"/>
                <a:gd name="T52" fmla="*/ 194 w 214"/>
                <a:gd name="T53" fmla="*/ 453 h 565"/>
                <a:gd name="T54" fmla="*/ 194 w 214"/>
                <a:gd name="T55" fmla="*/ 453 h 565"/>
                <a:gd name="T56" fmla="*/ 204 w 214"/>
                <a:gd name="T57" fmla="*/ 417 h 565"/>
                <a:gd name="T58" fmla="*/ 210 w 214"/>
                <a:gd name="T59" fmla="*/ 383 h 565"/>
                <a:gd name="T60" fmla="*/ 214 w 214"/>
                <a:gd name="T61" fmla="*/ 349 h 565"/>
                <a:gd name="T62" fmla="*/ 214 w 214"/>
                <a:gd name="T63" fmla="*/ 331 h 565"/>
                <a:gd name="T64" fmla="*/ 214 w 214"/>
                <a:gd name="T65" fmla="*/ 315 h 565"/>
                <a:gd name="T66" fmla="*/ 212 w 214"/>
                <a:gd name="T67" fmla="*/ 297 h 565"/>
                <a:gd name="T68" fmla="*/ 208 w 214"/>
                <a:gd name="T69" fmla="*/ 281 h 565"/>
                <a:gd name="T70" fmla="*/ 202 w 214"/>
                <a:gd name="T71" fmla="*/ 263 h 565"/>
                <a:gd name="T72" fmla="*/ 196 w 214"/>
                <a:gd name="T73" fmla="*/ 247 h 565"/>
                <a:gd name="T74" fmla="*/ 188 w 214"/>
                <a:gd name="T75" fmla="*/ 229 h 565"/>
                <a:gd name="T76" fmla="*/ 178 w 214"/>
                <a:gd name="T77" fmla="*/ 211 h 565"/>
                <a:gd name="T78" fmla="*/ 166 w 214"/>
                <a:gd name="T79" fmla="*/ 193 h 565"/>
                <a:gd name="T80" fmla="*/ 152 w 214"/>
                <a:gd name="T81" fmla="*/ 175 h 565"/>
                <a:gd name="T82" fmla="*/ 8 w 214"/>
                <a:gd name="T83" fmla="*/ 0 h 565"/>
                <a:gd name="T84" fmla="*/ 8 w 214"/>
                <a:gd name="T85" fmla="*/ 0 h 565"/>
                <a:gd name="T86" fmla="*/ 10 w 214"/>
                <a:gd name="T87" fmla="*/ 36 h 565"/>
                <a:gd name="T88" fmla="*/ 12 w 214"/>
                <a:gd name="T89" fmla="*/ 68 h 565"/>
                <a:gd name="T90" fmla="*/ 12 w 214"/>
                <a:gd name="T91" fmla="*/ 102 h 565"/>
                <a:gd name="T92" fmla="*/ 10 w 214"/>
                <a:gd name="T93" fmla="*/ 134 h 565"/>
                <a:gd name="T94" fmla="*/ 4 w 214"/>
                <a:gd name="T95" fmla="*/ 195 h 565"/>
                <a:gd name="T96" fmla="*/ 0 w 214"/>
                <a:gd name="T97" fmla="*/ 255 h 565"/>
                <a:gd name="T98" fmla="*/ 0 w 214"/>
                <a:gd name="T99" fmla="*/ 285 h 565"/>
                <a:gd name="T100" fmla="*/ 2 w 214"/>
                <a:gd name="T101" fmla="*/ 313 h 565"/>
                <a:gd name="T102" fmla="*/ 4 w 214"/>
                <a:gd name="T103" fmla="*/ 341 h 565"/>
                <a:gd name="T104" fmla="*/ 10 w 214"/>
                <a:gd name="T105" fmla="*/ 369 h 565"/>
                <a:gd name="T106" fmla="*/ 20 w 214"/>
                <a:gd name="T107" fmla="*/ 397 h 565"/>
                <a:gd name="T108" fmla="*/ 32 w 214"/>
                <a:gd name="T109" fmla="*/ 427 h 565"/>
                <a:gd name="T110" fmla="*/ 50 w 214"/>
                <a:gd name="T111" fmla="*/ 455 h 565"/>
                <a:gd name="T112" fmla="*/ 72 w 214"/>
                <a:gd name="T113" fmla="*/ 485 h 565"/>
                <a:gd name="T114" fmla="*/ 72 w 214"/>
                <a:gd name="T115" fmla="*/ 485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4" h="565">
                  <a:moveTo>
                    <a:pt x="72" y="485"/>
                  </a:moveTo>
                  <a:lnTo>
                    <a:pt x="72" y="485"/>
                  </a:lnTo>
                  <a:lnTo>
                    <a:pt x="102" y="519"/>
                  </a:lnTo>
                  <a:lnTo>
                    <a:pt x="128" y="545"/>
                  </a:lnTo>
                  <a:lnTo>
                    <a:pt x="152" y="565"/>
                  </a:lnTo>
                  <a:lnTo>
                    <a:pt x="152" y="565"/>
                  </a:lnTo>
                  <a:lnTo>
                    <a:pt x="176" y="505"/>
                  </a:lnTo>
                  <a:lnTo>
                    <a:pt x="176" y="505"/>
                  </a:lnTo>
                  <a:lnTo>
                    <a:pt x="176" y="487"/>
                  </a:lnTo>
                  <a:lnTo>
                    <a:pt x="174" y="467"/>
                  </a:lnTo>
                  <a:lnTo>
                    <a:pt x="174" y="467"/>
                  </a:lnTo>
                  <a:lnTo>
                    <a:pt x="170" y="419"/>
                  </a:lnTo>
                  <a:lnTo>
                    <a:pt x="162" y="377"/>
                  </a:lnTo>
                  <a:lnTo>
                    <a:pt x="150" y="339"/>
                  </a:lnTo>
                  <a:lnTo>
                    <a:pt x="138" y="303"/>
                  </a:lnTo>
                  <a:lnTo>
                    <a:pt x="122" y="269"/>
                  </a:lnTo>
                  <a:lnTo>
                    <a:pt x="106" y="235"/>
                  </a:lnTo>
                  <a:lnTo>
                    <a:pt x="70" y="158"/>
                  </a:lnTo>
                  <a:lnTo>
                    <a:pt x="70" y="158"/>
                  </a:lnTo>
                  <a:lnTo>
                    <a:pt x="92" y="195"/>
                  </a:lnTo>
                  <a:lnTo>
                    <a:pt x="110" y="229"/>
                  </a:lnTo>
                  <a:lnTo>
                    <a:pt x="128" y="263"/>
                  </a:lnTo>
                  <a:lnTo>
                    <a:pt x="142" y="297"/>
                  </a:lnTo>
                  <a:lnTo>
                    <a:pt x="156" y="333"/>
                  </a:lnTo>
                  <a:lnTo>
                    <a:pt x="170" y="369"/>
                  </a:lnTo>
                  <a:lnTo>
                    <a:pt x="182" y="409"/>
                  </a:lnTo>
                  <a:lnTo>
                    <a:pt x="194" y="453"/>
                  </a:lnTo>
                  <a:lnTo>
                    <a:pt x="194" y="453"/>
                  </a:lnTo>
                  <a:lnTo>
                    <a:pt x="204" y="417"/>
                  </a:lnTo>
                  <a:lnTo>
                    <a:pt x="210" y="383"/>
                  </a:lnTo>
                  <a:lnTo>
                    <a:pt x="214" y="349"/>
                  </a:lnTo>
                  <a:lnTo>
                    <a:pt x="214" y="331"/>
                  </a:lnTo>
                  <a:lnTo>
                    <a:pt x="214" y="315"/>
                  </a:lnTo>
                  <a:lnTo>
                    <a:pt x="212" y="297"/>
                  </a:lnTo>
                  <a:lnTo>
                    <a:pt x="208" y="281"/>
                  </a:lnTo>
                  <a:lnTo>
                    <a:pt x="202" y="263"/>
                  </a:lnTo>
                  <a:lnTo>
                    <a:pt x="196" y="247"/>
                  </a:lnTo>
                  <a:lnTo>
                    <a:pt x="188" y="229"/>
                  </a:lnTo>
                  <a:lnTo>
                    <a:pt x="178" y="211"/>
                  </a:lnTo>
                  <a:lnTo>
                    <a:pt x="166" y="193"/>
                  </a:lnTo>
                  <a:lnTo>
                    <a:pt x="152" y="175"/>
                  </a:lnTo>
                  <a:lnTo>
                    <a:pt x="8" y="0"/>
                  </a:lnTo>
                  <a:lnTo>
                    <a:pt x="8" y="0"/>
                  </a:lnTo>
                  <a:lnTo>
                    <a:pt x="10" y="36"/>
                  </a:lnTo>
                  <a:lnTo>
                    <a:pt x="12" y="68"/>
                  </a:lnTo>
                  <a:lnTo>
                    <a:pt x="12" y="102"/>
                  </a:lnTo>
                  <a:lnTo>
                    <a:pt x="10" y="134"/>
                  </a:lnTo>
                  <a:lnTo>
                    <a:pt x="4" y="195"/>
                  </a:lnTo>
                  <a:lnTo>
                    <a:pt x="0" y="255"/>
                  </a:lnTo>
                  <a:lnTo>
                    <a:pt x="0" y="285"/>
                  </a:lnTo>
                  <a:lnTo>
                    <a:pt x="2" y="313"/>
                  </a:lnTo>
                  <a:lnTo>
                    <a:pt x="4" y="341"/>
                  </a:lnTo>
                  <a:lnTo>
                    <a:pt x="10" y="369"/>
                  </a:lnTo>
                  <a:lnTo>
                    <a:pt x="20" y="397"/>
                  </a:lnTo>
                  <a:lnTo>
                    <a:pt x="32" y="427"/>
                  </a:lnTo>
                  <a:lnTo>
                    <a:pt x="50" y="455"/>
                  </a:lnTo>
                  <a:lnTo>
                    <a:pt x="72" y="485"/>
                  </a:lnTo>
                  <a:lnTo>
                    <a:pt x="72" y="4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58" name="Freeform 61">
              <a:extLst>
                <a:ext uri="{FF2B5EF4-FFF2-40B4-BE49-F238E27FC236}">
                  <a16:creationId xmlns:a16="http://schemas.microsoft.com/office/drawing/2014/main" id="{653E54EC-4B68-4C53-868A-D1389FAD9D47}"/>
                </a:ext>
              </a:extLst>
            </p:cNvPr>
            <p:cNvSpPr>
              <a:spLocks/>
            </p:cNvSpPr>
            <p:nvPr/>
          </p:nvSpPr>
          <p:spPr bwMode="auto">
            <a:xfrm>
              <a:off x="2311" y="1778"/>
              <a:ext cx="392" cy="450"/>
            </a:xfrm>
            <a:custGeom>
              <a:avLst/>
              <a:gdLst>
                <a:gd name="T0" fmla="*/ 18 w 392"/>
                <a:gd name="T1" fmla="*/ 350 h 450"/>
                <a:gd name="T2" fmla="*/ 18 w 392"/>
                <a:gd name="T3" fmla="*/ 350 h 450"/>
                <a:gd name="T4" fmla="*/ 8 w 392"/>
                <a:gd name="T5" fmla="*/ 378 h 450"/>
                <a:gd name="T6" fmla="*/ 8 w 392"/>
                <a:gd name="T7" fmla="*/ 378 h 450"/>
                <a:gd name="T8" fmla="*/ 0 w 392"/>
                <a:gd name="T9" fmla="*/ 450 h 450"/>
                <a:gd name="T10" fmla="*/ 0 w 392"/>
                <a:gd name="T11" fmla="*/ 450 h 450"/>
                <a:gd name="T12" fmla="*/ 32 w 392"/>
                <a:gd name="T13" fmla="*/ 442 h 450"/>
                <a:gd name="T14" fmla="*/ 68 w 392"/>
                <a:gd name="T15" fmla="*/ 430 h 450"/>
                <a:gd name="T16" fmla="*/ 112 w 392"/>
                <a:gd name="T17" fmla="*/ 412 h 450"/>
                <a:gd name="T18" fmla="*/ 112 w 392"/>
                <a:gd name="T19" fmla="*/ 412 h 450"/>
                <a:gd name="T20" fmla="*/ 146 w 392"/>
                <a:gd name="T21" fmla="*/ 396 h 450"/>
                <a:gd name="T22" fmla="*/ 174 w 392"/>
                <a:gd name="T23" fmla="*/ 378 h 450"/>
                <a:gd name="T24" fmla="*/ 198 w 392"/>
                <a:gd name="T25" fmla="*/ 358 h 450"/>
                <a:gd name="T26" fmla="*/ 220 w 392"/>
                <a:gd name="T27" fmla="*/ 336 h 450"/>
                <a:gd name="T28" fmla="*/ 240 w 392"/>
                <a:gd name="T29" fmla="*/ 312 h 450"/>
                <a:gd name="T30" fmla="*/ 256 w 392"/>
                <a:gd name="T31" fmla="*/ 288 h 450"/>
                <a:gd name="T32" fmla="*/ 270 w 392"/>
                <a:gd name="T33" fmla="*/ 262 h 450"/>
                <a:gd name="T34" fmla="*/ 282 w 392"/>
                <a:gd name="T35" fmla="*/ 236 h 450"/>
                <a:gd name="T36" fmla="*/ 306 w 392"/>
                <a:gd name="T37" fmla="*/ 180 h 450"/>
                <a:gd name="T38" fmla="*/ 330 w 392"/>
                <a:gd name="T39" fmla="*/ 120 h 450"/>
                <a:gd name="T40" fmla="*/ 342 w 392"/>
                <a:gd name="T41" fmla="*/ 90 h 450"/>
                <a:gd name="T42" fmla="*/ 358 w 392"/>
                <a:gd name="T43" fmla="*/ 60 h 450"/>
                <a:gd name="T44" fmla="*/ 374 w 392"/>
                <a:gd name="T45" fmla="*/ 30 h 450"/>
                <a:gd name="T46" fmla="*/ 392 w 392"/>
                <a:gd name="T47" fmla="*/ 0 h 450"/>
                <a:gd name="T48" fmla="*/ 180 w 392"/>
                <a:gd name="T49" fmla="*/ 92 h 450"/>
                <a:gd name="T50" fmla="*/ 180 w 392"/>
                <a:gd name="T51" fmla="*/ 92 h 450"/>
                <a:gd name="T52" fmla="*/ 162 w 392"/>
                <a:gd name="T53" fmla="*/ 102 h 450"/>
                <a:gd name="T54" fmla="*/ 144 w 392"/>
                <a:gd name="T55" fmla="*/ 112 h 450"/>
                <a:gd name="T56" fmla="*/ 128 w 392"/>
                <a:gd name="T57" fmla="*/ 122 h 450"/>
                <a:gd name="T58" fmla="*/ 114 w 392"/>
                <a:gd name="T59" fmla="*/ 132 h 450"/>
                <a:gd name="T60" fmla="*/ 100 w 392"/>
                <a:gd name="T61" fmla="*/ 144 h 450"/>
                <a:gd name="T62" fmla="*/ 88 w 392"/>
                <a:gd name="T63" fmla="*/ 156 h 450"/>
                <a:gd name="T64" fmla="*/ 68 w 392"/>
                <a:gd name="T65" fmla="*/ 180 h 450"/>
                <a:gd name="T66" fmla="*/ 50 w 392"/>
                <a:gd name="T67" fmla="*/ 208 h 450"/>
                <a:gd name="T68" fmla="*/ 38 w 392"/>
                <a:gd name="T69" fmla="*/ 236 h 450"/>
                <a:gd name="T70" fmla="*/ 28 w 392"/>
                <a:gd name="T71" fmla="*/ 266 h 450"/>
                <a:gd name="T72" fmla="*/ 20 w 392"/>
                <a:gd name="T73" fmla="*/ 298 h 450"/>
                <a:gd name="T74" fmla="*/ 20 w 392"/>
                <a:gd name="T75" fmla="*/ 298 h 450"/>
                <a:gd name="T76" fmla="*/ 46 w 392"/>
                <a:gd name="T77" fmla="*/ 270 h 450"/>
                <a:gd name="T78" fmla="*/ 70 w 392"/>
                <a:gd name="T79" fmla="*/ 246 h 450"/>
                <a:gd name="T80" fmla="*/ 96 w 392"/>
                <a:gd name="T81" fmla="*/ 222 h 450"/>
                <a:gd name="T82" fmla="*/ 124 w 392"/>
                <a:gd name="T83" fmla="*/ 202 h 450"/>
                <a:gd name="T84" fmla="*/ 152 w 392"/>
                <a:gd name="T85" fmla="*/ 184 h 450"/>
                <a:gd name="T86" fmla="*/ 180 w 392"/>
                <a:gd name="T87" fmla="*/ 166 h 450"/>
                <a:gd name="T88" fmla="*/ 212 w 392"/>
                <a:gd name="T89" fmla="*/ 148 h 450"/>
                <a:gd name="T90" fmla="*/ 248 w 392"/>
                <a:gd name="T91" fmla="*/ 132 h 450"/>
                <a:gd name="T92" fmla="*/ 248 w 392"/>
                <a:gd name="T93" fmla="*/ 132 h 450"/>
                <a:gd name="T94" fmla="*/ 212 w 392"/>
                <a:gd name="T95" fmla="*/ 154 h 450"/>
                <a:gd name="T96" fmla="*/ 178 w 392"/>
                <a:gd name="T97" fmla="*/ 176 h 450"/>
                <a:gd name="T98" fmla="*/ 148 w 392"/>
                <a:gd name="T99" fmla="*/ 198 h 450"/>
                <a:gd name="T100" fmla="*/ 118 w 392"/>
                <a:gd name="T101" fmla="*/ 220 h 450"/>
                <a:gd name="T102" fmla="*/ 90 w 392"/>
                <a:gd name="T103" fmla="*/ 244 h 450"/>
                <a:gd name="T104" fmla="*/ 78 w 392"/>
                <a:gd name="T105" fmla="*/ 258 h 450"/>
                <a:gd name="T106" fmla="*/ 64 w 392"/>
                <a:gd name="T107" fmla="*/ 274 h 450"/>
                <a:gd name="T108" fmla="*/ 52 w 392"/>
                <a:gd name="T109" fmla="*/ 290 h 450"/>
                <a:gd name="T110" fmla="*/ 40 w 392"/>
                <a:gd name="T111" fmla="*/ 308 h 450"/>
                <a:gd name="T112" fmla="*/ 30 w 392"/>
                <a:gd name="T113" fmla="*/ 328 h 450"/>
                <a:gd name="T114" fmla="*/ 18 w 392"/>
                <a:gd name="T115" fmla="*/ 350 h 450"/>
                <a:gd name="T116" fmla="*/ 18 w 392"/>
                <a:gd name="T117" fmla="*/ 3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 h="450">
                  <a:moveTo>
                    <a:pt x="18" y="350"/>
                  </a:moveTo>
                  <a:lnTo>
                    <a:pt x="18" y="350"/>
                  </a:lnTo>
                  <a:lnTo>
                    <a:pt x="8" y="378"/>
                  </a:lnTo>
                  <a:lnTo>
                    <a:pt x="8" y="378"/>
                  </a:lnTo>
                  <a:lnTo>
                    <a:pt x="0" y="450"/>
                  </a:lnTo>
                  <a:lnTo>
                    <a:pt x="0" y="450"/>
                  </a:lnTo>
                  <a:lnTo>
                    <a:pt x="32" y="442"/>
                  </a:lnTo>
                  <a:lnTo>
                    <a:pt x="68" y="430"/>
                  </a:lnTo>
                  <a:lnTo>
                    <a:pt x="112" y="412"/>
                  </a:lnTo>
                  <a:lnTo>
                    <a:pt x="112" y="412"/>
                  </a:lnTo>
                  <a:lnTo>
                    <a:pt x="146" y="396"/>
                  </a:lnTo>
                  <a:lnTo>
                    <a:pt x="174" y="378"/>
                  </a:lnTo>
                  <a:lnTo>
                    <a:pt x="198" y="358"/>
                  </a:lnTo>
                  <a:lnTo>
                    <a:pt x="220" y="336"/>
                  </a:lnTo>
                  <a:lnTo>
                    <a:pt x="240" y="312"/>
                  </a:lnTo>
                  <a:lnTo>
                    <a:pt x="256" y="288"/>
                  </a:lnTo>
                  <a:lnTo>
                    <a:pt x="270" y="262"/>
                  </a:lnTo>
                  <a:lnTo>
                    <a:pt x="282" y="236"/>
                  </a:lnTo>
                  <a:lnTo>
                    <a:pt x="306" y="180"/>
                  </a:lnTo>
                  <a:lnTo>
                    <a:pt x="330" y="120"/>
                  </a:lnTo>
                  <a:lnTo>
                    <a:pt x="342" y="90"/>
                  </a:lnTo>
                  <a:lnTo>
                    <a:pt x="358" y="60"/>
                  </a:lnTo>
                  <a:lnTo>
                    <a:pt x="374" y="30"/>
                  </a:lnTo>
                  <a:lnTo>
                    <a:pt x="392" y="0"/>
                  </a:lnTo>
                  <a:lnTo>
                    <a:pt x="180" y="92"/>
                  </a:lnTo>
                  <a:lnTo>
                    <a:pt x="180" y="92"/>
                  </a:lnTo>
                  <a:lnTo>
                    <a:pt x="162" y="102"/>
                  </a:lnTo>
                  <a:lnTo>
                    <a:pt x="144" y="112"/>
                  </a:lnTo>
                  <a:lnTo>
                    <a:pt x="128" y="122"/>
                  </a:lnTo>
                  <a:lnTo>
                    <a:pt x="114" y="132"/>
                  </a:lnTo>
                  <a:lnTo>
                    <a:pt x="100" y="144"/>
                  </a:lnTo>
                  <a:lnTo>
                    <a:pt x="88" y="156"/>
                  </a:lnTo>
                  <a:lnTo>
                    <a:pt x="68" y="180"/>
                  </a:lnTo>
                  <a:lnTo>
                    <a:pt x="50" y="208"/>
                  </a:lnTo>
                  <a:lnTo>
                    <a:pt x="38" y="236"/>
                  </a:lnTo>
                  <a:lnTo>
                    <a:pt x="28" y="266"/>
                  </a:lnTo>
                  <a:lnTo>
                    <a:pt x="20" y="298"/>
                  </a:lnTo>
                  <a:lnTo>
                    <a:pt x="20" y="298"/>
                  </a:lnTo>
                  <a:lnTo>
                    <a:pt x="46" y="270"/>
                  </a:lnTo>
                  <a:lnTo>
                    <a:pt x="70" y="246"/>
                  </a:lnTo>
                  <a:lnTo>
                    <a:pt x="96" y="222"/>
                  </a:lnTo>
                  <a:lnTo>
                    <a:pt x="124" y="202"/>
                  </a:lnTo>
                  <a:lnTo>
                    <a:pt x="152" y="184"/>
                  </a:lnTo>
                  <a:lnTo>
                    <a:pt x="180" y="166"/>
                  </a:lnTo>
                  <a:lnTo>
                    <a:pt x="212" y="148"/>
                  </a:lnTo>
                  <a:lnTo>
                    <a:pt x="248" y="132"/>
                  </a:lnTo>
                  <a:lnTo>
                    <a:pt x="248" y="132"/>
                  </a:lnTo>
                  <a:lnTo>
                    <a:pt x="212" y="154"/>
                  </a:lnTo>
                  <a:lnTo>
                    <a:pt x="178" y="176"/>
                  </a:lnTo>
                  <a:lnTo>
                    <a:pt x="148" y="198"/>
                  </a:lnTo>
                  <a:lnTo>
                    <a:pt x="118" y="220"/>
                  </a:lnTo>
                  <a:lnTo>
                    <a:pt x="90" y="244"/>
                  </a:lnTo>
                  <a:lnTo>
                    <a:pt x="78" y="258"/>
                  </a:lnTo>
                  <a:lnTo>
                    <a:pt x="64" y="274"/>
                  </a:lnTo>
                  <a:lnTo>
                    <a:pt x="52" y="290"/>
                  </a:lnTo>
                  <a:lnTo>
                    <a:pt x="40" y="308"/>
                  </a:lnTo>
                  <a:lnTo>
                    <a:pt x="30" y="328"/>
                  </a:lnTo>
                  <a:lnTo>
                    <a:pt x="18" y="350"/>
                  </a:lnTo>
                  <a:lnTo>
                    <a:pt x="18" y="3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59" name="Freeform 62">
              <a:extLst>
                <a:ext uri="{FF2B5EF4-FFF2-40B4-BE49-F238E27FC236}">
                  <a16:creationId xmlns:a16="http://schemas.microsoft.com/office/drawing/2014/main" id="{A56ACF73-F547-49E8-9247-996F08DC799D}"/>
                </a:ext>
              </a:extLst>
            </p:cNvPr>
            <p:cNvSpPr>
              <a:spLocks/>
            </p:cNvSpPr>
            <p:nvPr/>
          </p:nvSpPr>
          <p:spPr bwMode="auto">
            <a:xfrm>
              <a:off x="2029" y="1658"/>
              <a:ext cx="252" cy="558"/>
            </a:xfrm>
            <a:custGeom>
              <a:avLst/>
              <a:gdLst>
                <a:gd name="T0" fmla="*/ 230 w 252"/>
                <a:gd name="T1" fmla="*/ 558 h 558"/>
                <a:gd name="T2" fmla="*/ 230 w 252"/>
                <a:gd name="T3" fmla="*/ 558 h 558"/>
                <a:gd name="T4" fmla="*/ 236 w 252"/>
                <a:gd name="T5" fmla="*/ 534 h 558"/>
                <a:gd name="T6" fmla="*/ 232 w 252"/>
                <a:gd name="T7" fmla="*/ 538 h 558"/>
                <a:gd name="T8" fmla="*/ 232 w 252"/>
                <a:gd name="T9" fmla="*/ 538 h 558"/>
                <a:gd name="T10" fmla="*/ 228 w 252"/>
                <a:gd name="T11" fmla="*/ 510 h 558"/>
                <a:gd name="T12" fmla="*/ 222 w 252"/>
                <a:gd name="T13" fmla="*/ 484 h 558"/>
                <a:gd name="T14" fmla="*/ 222 w 252"/>
                <a:gd name="T15" fmla="*/ 484 h 558"/>
                <a:gd name="T16" fmla="*/ 206 w 252"/>
                <a:gd name="T17" fmla="*/ 436 h 558"/>
                <a:gd name="T18" fmla="*/ 192 w 252"/>
                <a:gd name="T19" fmla="*/ 398 h 558"/>
                <a:gd name="T20" fmla="*/ 174 w 252"/>
                <a:gd name="T21" fmla="*/ 364 h 558"/>
                <a:gd name="T22" fmla="*/ 156 w 252"/>
                <a:gd name="T23" fmla="*/ 336 h 558"/>
                <a:gd name="T24" fmla="*/ 134 w 252"/>
                <a:gd name="T25" fmla="*/ 308 h 558"/>
                <a:gd name="T26" fmla="*/ 110 w 252"/>
                <a:gd name="T27" fmla="*/ 282 h 558"/>
                <a:gd name="T28" fmla="*/ 52 w 252"/>
                <a:gd name="T29" fmla="*/ 222 h 558"/>
                <a:gd name="T30" fmla="*/ 52 w 252"/>
                <a:gd name="T31" fmla="*/ 222 h 558"/>
                <a:gd name="T32" fmla="*/ 88 w 252"/>
                <a:gd name="T33" fmla="*/ 248 h 558"/>
                <a:gd name="T34" fmla="*/ 116 w 252"/>
                <a:gd name="T35" fmla="*/ 276 h 558"/>
                <a:gd name="T36" fmla="*/ 142 w 252"/>
                <a:gd name="T37" fmla="*/ 302 h 558"/>
                <a:gd name="T38" fmla="*/ 164 w 252"/>
                <a:gd name="T39" fmla="*/ 328 h 558"/>
                <a:gd name="T40" fmla="*/ 186 w 252"/>
                <a:gd name="T41" fmla="*/ 358 h 558"/>
                <a:gd name="T42" fmla="*/ 206 w 252"/>
                <a:gd name="T43" fmla="*/ 390 h 558"/>
                <a:gd name="T44" fmla="*/ 226 w 252"/>
                <a:gd name="T45" fmla="*/ 426 h 558"/>
                <a:gd name="T46" fmla="*/ 248 w 252"/>
                <a:gd name="T47" fmla="*/ 466 h 558"/>
                <a:gd name="T48" fmla="*/ 248 w 252"/>
                <a:gd name="T49" fmla="*/ 466 h 558"/>
                <a:gd name="T50" fmla="*/ 250 w 252"/>
                <a:gd name="T51" fmla="*/ 442 h 558"/>
                <a:gd name="T52" fmla="*/ 250 w 252"/>
                <a:gd name="T53" fmla="*/ 442 h 558"/>
                <a:gd name="T54" fmla="*/ 252 w 252"/>
                <a:gd name="T55" fmla="*/ 406 h 558"/>
                <a:gd name="T56" fmla="*/ 248 w 252"/>
                <a:gd name="T57" fmla="*/ 372 h 558"/>
                <a:gd name="T58" fmla="*/ 242 w 252"/>
                <a:gd name="T59" fmla="*/ 340 h 558"/>
                <a:gd name="T60" fmla="*/ 234 w 252"/>
                <a:gd name="T61" fmla="*/ 310 h 558"/>
                <a:gd name="T62" fmla="*/ 222 w 252"/>
                <a:gd name="T63" fmla="*/ 284 h 558"/>
                <a:gd name="T64" fmla="*/ 208 w 252"/>
                <a:gd name="T65" fmla="*/ 258 h 558"/>
                <a:gd name="T66" fmla="*/ 192 w 252"/>
                <a:gd name="T67" fmla="*/ 232 h 558"/>
                <a:gd name="T68" fmla="*/ 174 w 252"/>
                <a:gd name="T69" fmla="*/ 208 h 558"/>
                <a:gd name="T70" fmla="*/ 136 w 252"/>
                <a:gd name="T71" fmla="*/ 162 h 558"/>
                <a:gd name="T72" fmla="*/ 96 w 252"/>
                <a:gd name="T73" fmla="*/ 114 h 558"/>
                <a:gd name="T74" fmla="*/ 74 w 252"/>
                <a:gd name="T75" fmla="*/ 88 h 558"/>
                <a:gd name="T76" fmla="*/ 56 w 252"/>
                <a:gd name="T77" fmla="*/ 60 h 558"/>
                <a:gd name="T78" fmla="*/ 36 w 252"/>
                <a:gd name="T79" fmla="*/ 32 h 558"/>
                <a:gd name="T80" fmla="*/ 18 w 252"/>
                <a:gd name="T81" fmla="*/ 0 h 558"/>
                <a:gd name="T82" fmla="*/ 0 w 252"/>
                <a:gd name="T83" fmla="*/ 232 h 558"/>
                <a:gd name="T84" fmla="*/ 0 w 252"/>
                <a:gd name="T85" fmla="*/ 232 h 558"/>
                <a:gd name="T86" fmla="*/ 0 w 252"/>
                <a:gd name="T87" fmla="*/ 264 h 558"/>
                <a:gd name="T88" fmla="*/ 2 w 252"/>
                <a:gd name="T89" fmla="*/ 294 h 558"/>
                <a:gd name="T90" fmla="*/ 6 w 252"/>
                <a:gd name="T91" fmla="*/ 320 h 558"/>
                <a:gd name="T92" fmla="*/ 14 w 252"/>
                <a:gd name="T93" fmla="*/ 346 h 558"/>
                <a:gd name="T94" fmla="*/ 22 w 252"/>
                <a:gd name="T95" fmla="*/ 368 h 558"/>
                <a:gd name="T96" fmla="*/ 34 w 252"/>
                <a:gd name="T97" fmla="*/ 390 h 558"/>
                <a:gd name="T98" fmla="*/ 48 w 252"/>
                <a:gd name="T99" fmla="*/ 410 h 558"/>
                <a:gd name="T100" fmla="*/ 62 w 252"/>
                <a:gd name="T101" fmla="*/ 428 h 558"/>
                <a:gd name="T102" fmla="*/ 80 w 252"/>
                <a:gd name="T103" fmla="*/ 446 h 558"/>
                <a:gd name="T104" fmla="*/ 98 w 252"/>
                <a:gd name="T105" fmla="*/ 464 h 558"/>
                <a:gd name="T106" fmla="*/ 140 w 252"/>
                <a:gd name="T107" fmla="*/ 496 h 558"/>
                <a:gd name="T108" fmla="*/ 184 w 252"/>
                <a:gd name="T109" fmla="*/ 526 h 558"/>
                <a:gd name="T110" fmla="*/ 230 w 252"/>
                <a:gd name="T111" fmla="*/ 558 h 558"/>
                <a:gd name="T112" fmla="*/ 230 w 252"/>
                <a:gd name="T113" fmla="*/ 55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2" h="558">
                  <a:moveTo>
                    <a:pt x="230" y="558"/>
                  </a:moveTo>
                  <a:lnTo>
                    <a:pt x="230" y="558"/>
                  </a:lnTo>
                  <a:lnTo>
                    <a:pt x="236" y="534"/>
                  </a:lnTo>
                  <a:lnTo>
                    <a:pt x="232" y="538"/>
                  </a:lnTo>
                  <a:lnTo>
                    <a:pt x="232" y="538"/>
                  </a:lnTo>
                  <a:lnTo>
                    <a:pt x="228" y="510"/>
                  </a:lnTo>
                  <a:lnTo>
                    <a:pt x="222" y="484"/>
                  </a:lnTo>
                  <a:lnTo>
                    <a:pt x="222" y="484"/>
                  </a:lnTo>
                  <a:lnTo>
                    <a:pt x="206" y="436"/>
                  </a:lnTo>
                  <a:lnTo>
                    <a:pt x="192" y="398"/>
                  </a:lnTo>
                  <a:lnTo>
                    <a:pt x="174" y="364"/>
                  </a:lnTo>
                  <a:lnTo>
                    <a:pt x="156" y="336"/>
                  </a:lnTo>
                  <a:lnTo>
                    <a:pt x="134" y="308"/>
                  </a:lnTo>
                  <a:lnTo>
                    <a:pt x="110" y="282"/>
                  </a:lnTo>
                  <a:lnTo>
                    <a:pt x="52" y="222"/>
                  </a:lnTo>
                  <a:lnTo>
                    <a:pt x="52" y="222"/>
                  </a:lnTo>
                  <a:lnTo>
                    <a:pt x="88" y="248"/>
                  </a:lnTo>
                  <a:lnTo>
                    <a:pt x="116" y="276"/>
                  </a:lnTo>
                  <a:lnTo>
                    <a:pt x="142" y="302"/>
                  </a:lnTo>
                  <a:lnTo>
                    <a:pt x="164" y="328"/>
                  </a:lnTo>
                  <a:lnTo>
                    <a:pt x="186" y="358"/>
                  </a:lnTo>
                  <a:lnTo>
                    <a:pt x="206" y="390"/>
                  </a:lnTo>
                  <a:lnTo>
                    <a:pt x="226" y="426"/>
                  </a:lnTo>
                  <a:lnTo>
                    <a:pt x="248" y="466"/>
                  </a:lnTo>
                  <a:lnTo>
                    <a:pt x="248" y="466"/>
                  </a:lnTo>
                  <a:lnTo>
                    <a:pt x="250" y="442"/>
                  </a:lnTo>
                  <a:lnTo>
                    <a:pt x="250" y="442"/>
                  </a:lnTo>
                  <a:lnTo>
                    <a:pt x="252" y="406"/>
                  </a:lnTo>
                  <a:lnTo>
                    <a:pt x="248" y="372"/>
                  </a:lnTo>
                  <a:lnTo>
                    <a:pt x="242" y="340"/>
                  </a:lnTo>
                  <a:lnTo>
                    <a:pt x="234" y="310"/>
                  </a:lnTo>
                  <a:lnTo>
                    <a:pt x="222" y="284"/>
                  </a:lnTo>
                  <a:lnTo>
                    <a:pt x="208" y="258"/>
                  </a:lnTo>
                  <a:lnTo>
                    <a:pt x="192" y="232"/>
                  </a:lnTo>
                  <a:lnTo>
                    <a:pt x="174" y="208"/>
                  </a:lnTo>
                  <a:lnTo>
                    <a:pt x="136" y="162"/>
                  </a:lnTo>
                  <a:lnTo>
                    <a:pt x="96" y="114"/>
                  </a:lnTo>
                  <a:lnTo>
                    <a:pt x="74" y="88"/>
                  </a:lnTo>
                  <a:lnTo>
                    <a:pt x="56" y="60"/>
                  </a:lnTo>
                  <a:lnTo>
                    <a:pt x="36" y="32"/>
                  </a:lnTo>
                  <a:lnTo>
                    <a:pt x="18" y="0"/>
                  </a:lnTo>
                  <a:lnTo>
                    <a:pt x="0" y="232"/>
                  </a:lnTo>
                  <a:lnTo>
                    <a:pt x="0" y="232"/>
                  </a:lnTo>
                  <a:lnTo>
                    <a:pt x="0" y="264"/>
                  </a:lnTo>
                  <a:lnTo>
                    <a:pt x="2" y="294"/>
                  </a:lnTo>
                  <a:lnTo>
                    <a:pt x="6" y="320"/>
                  </a:lnTo>
                  <a:lnTo>
                    <a:pt x="14" y="346"/>
                  </a:lnTo>
                  <a:lnTo>
                    <a:pt x="22" y="368"/>
                  </a:lnTo>
                  <a:lnTo>
                    <a:pt x="34" y="390"/>
                  </a:lnTo>
                  <a:lnTo>
                    <a:pt x="48" y="410"/>
                  </a:lnTo>
                  <a:lnTo>
                    <a:pt x="62" y="428"/>
                  </a:lnTo>
                  <a:lnTo>
                    <a:pt x="80" y="446"/>
                  </a:lnTo>
                  <a:lnTo>
                    <a:pt x="98" y="464"/>
                  </a:lnTo>
                  <a:lnTo>
                    <a:pt x="140" y="496"/>
                  </a:lnTo>
                  <a:lnTo>
                    <a:pt x="184" y="526"/>
                  </a:lnTo>
                  <a:lnTo>
                    <a:pt x="230" y="558"/>
                  </a:lnTo>
                  <a:lnTo>
                    <a:pt x="230" y="5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60" name="Freeform 63">
              <a:extLst>
                <a:ext uri="{FF2B5EF4-FFF2-40B4-BE49-F238E27FC236}">
                  <a16:creationId xmlns:a16="http://schemas.microsoft.com/office/drawing/2014/main" id="{766221FE-3B37-4F04-B449-62E7C2915CD5}"/>
                </a:ext>
              </a:extLst>
            </p:cNvPr>
            <p:cNvSpPr>
              <a:spLocks/>
            </p:cNvSpPr>
            <p:nvPr/>
          </p:nvSpPr>
          <p:spPr bwMode="auto">
            <a:xfrm>
              <a:off x="2045" y="2274"/>
              <a:ext cx="462" cy="448"/>
            </a:xfrm>
            <a:custGeom>
              <a:avLst/>
              <a:gdLst>
                <a:gd name="T0" fmla="*/ 408 w 462"/>
                <a:gd name="T1" fmla="*/ 346 h 448"/>
                <a:gd name="T2" fmla="*/ 408 w 462"/>
                <a:gd name="T3" fmla="*/ 346 h 448"/>
                <a:gd name="T4" fmla="*/ 396 w 462"/>
                <a:gd name="T5" fmla="*/ 330 h 448"/>
                <a:gd name="T6" fmla="*/ 382 w 462"/>
                <a:gd name="T7" fmla="*/ 316 h 448"/>
                <a:gd name="T8" fmla="*/ 352 w 462"/>
                <a:gd name="T9" fmla="*/ 290 h 448"/>
                <a:gd name="T10" fmla="*/ 324 w 462"/>
                <a:gd name="T11" fmla="*/ 268 h 448"/>
                <a:gd name="T12" fmla="*/ 292 w 462"/>
                <a:gd name="T13" fmla="*/ 250 h 448"/>
                <a:gd name="T14" fmla="*/ 260 w 462"/>
                <a:gd name="T15" fmla="*/ 234 h 448"/>
                <a:gd name="T16" fmla="*/ 226 w 462"/>
                <a:gd name="T17" fmla="*/ 218 h 448"/>
                <a:gd name="T18" fmla="*/ 152 w 462"/>
                <a:gd name="T19" fmla="*/ 184 h 448"/>
                <a:gd name="T20" fmla="*/ 152 w 462"/>
                <a:gd name="T21" fmla="*/ 184 h 448"/>
                <a:gd name="T22" fmla="*/ 220 w 462"/>
                <a:gd name="T23" fmla="*/ 206 h 448"/>
                <a:gd name="T24" fmla="*/ 250 w 462"/>
                <a:gd name="T25" fmla="*/ 218 h 448"/>
                <a:gd name="T26" fmla="*/ 280 w 462"/>
                <a:gd name="T27" fmla="*/ 232 h 448"/>
                <a:gd name="T28" fmla="*/ 308 w 462"/>
                <a:gd name="T29" fmla="*/ 246 h 448"/>
                <a:gd name="T30" fmla="*/ 334 w 462"/>
                <a:gd name="T31" fmla="*/ 262 h 448"/>
                <a:gd name="T32" fmla="*/ 362 w 462"/>
                <a:gd name="T33" fmla="*/ 278 h 448"/>
                <a:gd name="T34" fmla="*/ 390 w 462"/>
                <a:gd name="T35" fmla="*/ 298 h 448"/>
                <a:gd name="T36" fmla="*/ 390 w 462"/>
                <a:gd name="T37" fmla="*/ 298 h 448"/>
                <a:gd name="T38" fmla="*/ 374 w 462"/>
                <a:gd name="T39" fmla="*/ 264 h 448"/>
                <a:gd name="T40" fmla="*/ 358 w 462"/>
                <a:gd name="T41" fmla="*/ 236 h 448"/>
                <a:gd name="T42" fmla="*/ 340 w 462"/>
                <a:gd name="T43" fmla="*/ 212 h 448"/>
                <a:gd name="T44" fmla="*/ 318 w 462"/>
                <a:gd name="T45" fmla="*/ 190 h 448"/>
                <a:gd name="T46" fmla="*/ 298 w 462"/>
                <a:gd name="T47" fmla="*/ 170 h 448"/>
                <a:gd name="T48" fmla="*/ 274 w 462"/>
                <a:gd name="T49" fmla="*/ 152 h 448"/>
                <a:gd name="T50" fmla="*/ 250 w 462"/>
                <a:gd name="T51" fmla="*/ 136 h 448"/>
                <a:gd name="T52" fmla="*/ 224 w 462"/>
                <a:gd name="T53" fmla="*/ 122 h 448"/>
                <a:gd name="T54" fmla="*/ 170 w 462"/>
                <a:gd name="T55" fmla="*/ 96 h 448"/>
                <a:gd name="T56" fmla="*/ 114 w 462"/>
                <a:gd name="T57" fmla="*/ 70 h 448"/>
                <a:gd name="T58" fmla="*/ 86 w 462"/>
                <a:gd name="T59" fmla="*/ 54 h 448"/>
                <a:gd name="T60" fmla="*/ 56 w 462"/>
                <a:gd name="T61" fmla="*/ 38 h 448"/>
                <a:gd name="T62" fmla="*/ 28 w 462"/>
                <a:gd name="T63" fmla="*/ 20 h 448"/>
                <a:gd name="T64" fmla="*/ 0 w 462"/>
                <a:gd name="T65" fmla="*/ 0 h 448"/>
                <a:gd name="T66" fmla="*/ 78 w 462"/>
                <a:gd name="T67" fmla="*/ 216 h 448"/>
                <a:gd name="T68" fmla="*/ 78 w 462"/>
                <a:gd name="T69" fmla="*/ 216 h 448"/>
                <a:gd name="T70" fmla="*/ 90 w 462"/>
                <a:gd name="T71" fmla="*/ 246 h 448"/>
                <a:gd name="T72" fmla="*/ 106 w 462"/>
                <a:gd name="T73" fmla="*/ 274 h 448"/>
                <a:gd name="T74" fmla="*/ 124 w 462"/>
                <a:gd name="T75" fmla="*/ 298 h 448"/>
                <a:gd name="T76" fmla="*/ 142 w 462"/>
                <a:gd name="T77" fmla="*/ 320 h 448"/>
                <a:gd name="T78" fmla="*/ 164 w 462"/>
                <a:gd name="T79" fmla="*/ 340 h 448"/>
                <a:gd name="T80" fmla="*/ 186 w 462"/>
                <a:gd name="T81" fmla="*/ 356 h 448"/>
                <a:gd name="T82" fmla="*/ 210 w 462"/>
                <a:gd name="T83" fmla="*/ 372 h 448"/>
                <a:gd name="T84" fmla="*/ 236 w 462"/>
                <a:gd name="T85" fmla="*/ 384 h 448"/>
                <a:gd name="T86" fmla="*/ 262 w 462"/>
                <a:gd name="T87" fmla="*/ 396 h 448"/>
                <a:gd name="T88" fmla="*/ 290 w 462"/>
                <a:gd name="T89" fmla="*/ 408 h 448"/>
                <a:gd name="T90" fmla="*/ 318 w 462"/>
                <a:gd name="T91" fmla="*/ 416 h 448"/>
                <a:gd name="T92" fmla="*/ 346 w 462"/>
                <a:gd name="T93" fmla="*/ 424 h 448"/>
                <a:gd name="T94" fmla="*/ 404 w 462"/>
                <a:gd name="T95" fmla="*/ 438 h 448"/>
                <a:gd name="T96" fmla="*/ 462 w 462"/>
                <a:gd name="T97" fmla="*/ 448 h 448"/>
                <a:gd name="T98" fmla="*/ 462 w 462"/>
                <a:gd name="T99" fmla="*/ 448 h 448"/>
                <a:gd name="T100" fmla="*/ 444 w 462"/>
                <a:gd name="T101" fmla="*/ 418 h 448"/>
                <a:gd name="T102" fmla="*/ 428 w 462"/>
                <a:gd name="T103" fmla="*/ 384 h 448"/>
                <a:gd name="T104" fmla="*/ 408 w 462"/>
                <a:gd name="T105" fmla="*/ 346 h 448"/>
                <a:gd name="T106" fmla="*/ 408 w 462"/>
                <a:gd name="T107" fmla="*/ 346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2" h="448">
                  <a:moveTo>
                    <a:pt x="408" y="346"/>
                  </a:moveTo>
                  <a:lnTo>
                    <a:pt x="408" y="346"/>
                  </a:lnTo>
                  <a:lnTo>
                    <a:pt x="396" y="330"/>
                  </a:lnTo>
                  <a:lnTo>
                    <a:pt x="382" y="316"/>
                  </a:lnTo>
                  <a:lnTo>
                    <a:pt x="352" y="290"/>
                  </a:lnTo>
                  <a:lnTo>
                    <a:pt x="324" y="268"/>
                  </a:lnTo>
                  <a:lnTo>
                    <a:pt x="292" y="250"/>
                  </a:lnTo>
                  <a:lnTo>
                    <a:pt x="260" y="234"/>
                  </a:lnTo>
                  <a:lnTo>
                    <a:pt x="226" y="218"/>
                  </a:lnTo>
                  <a:lnTo>
                    <a:pt x="152" y="184"/>
                  </a:lnTo>
                  <a:lnTo>
                    <a:pt x="152" y="184"/>
                  </a:lnTo>
                  <a:lnTo>
                    <a:pt x="220" y="206"/>
                  </a:lnTo>
                  <a:lnTo>
                    <a:pt x="250" y="218"/>
                  </a:lnTo>
                  <a:lnTo>
                    <a:pt x="280" y="232"/>
                  </a:lnTo>
                  <a:lnTo>
                    <a:pt x="308" y="246"/>
                  </a:lnTo>
                  <a:lnTo>
                    <a:pt x="334" y="262"/>
                  </a:lnTo>
                  <a:lnTo>
                    <a:pt x="362" y="278"/>
                  </a:lnTo>
                  <a:lnTo>
                    <a:pt x="390" y="298"/>
                  </a:lnTo>
                  <a:lnTo>
                    <a:pt x="390" y="298"/>
                  </a:lnTo>
                  <a:lnTo>
                    <a:pt x="374" y="264"/>
                  </a:lnTo>
                  <a:lnTo>
                    <a:pt x="358" y="236"/>
                  </a:lnTo>
                  <a:lnTo>
                    <a:pt x="340" y="212"/>
                  </a:lnTo>
                  <a:lnTo>
                    <a:pt x="318" y="190"/>
                  </a:lnTo>
                  <a:lnTo>
                    <a:pt x="298" y="170"/>
                  </a:lnTo>
                  <a:lnTo>
                    <a:pt x="274" y="152"/>
                  </a:lnTo>
                  <a:lnTo>
                    <a:pt x="250" y="136"/>
                  </a:lnTo>
                  <a:lnTo>
                    <a:pt x="224" y="122"/>
                  </a:lnTo>
                  <a:lnTo>
                    <a:pt x="170" y="96"/>
                  </a:lnTo>
                  <a:lnTo>
                    <a:pt x="114" y="70"/>
                  </a:lnTo>
                  <a:lnTo>
                    <a:pt x="86" y="54"/>
                  </a:lnTo>
                  <a:lnTo>
                    <a:pt x="56" y="38"/>
                  </a:lnTo>
                  <a:lnTo>
                    <a:pt x="28" y="20"/>
                  </a:lnTo>
                  <a:lnTo>
                    <a:pt x="0" y="0"/>
                  </a:lnTo>
                  <a:lnTo>
                    <a:pt x="78" y="216"/>
                  </a:lnTo>
                  <a:lnTo>
                    <a:pt x="78" y="216"/>
                  </a:lnTo>
                  <a:lnTo>
                    <a:pt x="90" y="246"/>
                  </a:lnTo>
                  <a:lnTo>
                    <a:pt x="106" y="274"/>
                  </a:lnTo>
                  <a:lnTo>
                    <a:pt x="124" y="298"/>
                  </a:lnTo>
                  <a:lnTo>
                    <a:pt x="142" y="320"/>
                  </a:lnTo>
                  <a:lnTo>
                    <a:pt x="164" y="340"/>
                  </a:lnTo>
                  <a:lnTo>
                    <a:pt x="186" y="356"/>
                  </a:lnTo>
                  <a:lnTo>
                    <a:pt x="210" y="372"/>
                  </a:lnTo>
                  <a:lnTo>
                    <a:pt x="236" y="384"/>
                  </a:lnTo>
                  <a:lnTo>
                    <a:pt x="262" y="396"/>
                  </a:lnTo>
                  <a:lnTo>
                    <a:pt x="290" y="408"/>
                  </a:lnTo>
                  <a:lnTo>
                    <a:pt x="318" y="416"/>
                  </a:lnTo>
                  <a:lnTo>
                    <a:pt x="346" y="424"/>
                  </a:lnTo>
                  <a:lnTo>
                    <a:pt x="404" y="438"/>
                  </a:lnTo>
                  <a:lnTo>
                    <a:pt x="462" y="448"/>
                  </a:lnTo>
                  <a:lnTo>
                    <a:pt x="462" y="448"/>
                  </a:lnTo>
                  <a:lnTo>
                    <a:pt x="444" y="418"/>
                  </a:lnTo>
                  <a:lnTo>
                    <a:pt x="428" y="384"/>
                  </a:lnTo>
                  <a:lnTo>
                    <a:pt x="408" y="346"/>
                  </a:lnTo>
                  <a:lnTo>
                    <a:pt x="408" y="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61" name="Freeform 64">
              <a:extLst>
                <a:ext uri="{FF2B5EF4-FFF2-40B4-BE49-F238E27FC236}">
                  <a16:creationId xmlns:a16="http://schemas.microsoft.com/office/drawing/2014/main" id="{21D76BAB-899A-4966-A1C5-A68C7A3CC223}"/>
                </a:ext>
              </a:extLst>
            </p:cNvPr>
            <p:cNvSpPr>
              <a:spLocks/>
            </p:cNvSpPr>
            <p:nvPr/>
          </p:nvSpPr>
          <p:spPr bwMode="auto">
            <a:xfrm>
              <a:off x="2505" y="2088"/>
              <a:ext cx="256" cy="630"/>
            </a:xfrm>
            <a:custGeom>
              <a:avLst/>
              <a:gdLst>
                <a:gd name="T0" fmla="*/ 38 w 256"/>
                <a:gd name="T1" fmla="*/ 566 h 630"/>
                <a:gd name="T2" fmla="*/ 38 w 256"/>
                <a:gd name="T3" fmla="*/ 566 h 630"/>
                <a:gd name="T4" fmla="*/ 62 w 256"/>
                <a:gd name="T5" fmla="*/ 630 h 630"/>
                <a:gd name="T6" fmla="*/ 62 w 256"/>
                <a:gd name="T7" fmla="*/ 630 h 630"/>
                <a:gd name="T8" fmla="*/ 74 w 256"/>
                <a:gd name="T9" fmla="*/ 622 h 630"/>
                <a:gd name="T10" fmla="*/ 106 w 256"/>
                <a:gd name="T11" fmla="*/ 600 h 630"/>
                <a:gd name="T12" fmla="*/ 146 w 256"/>
                <a:gd name="T13" fmla="*/ 566 h 630"/>
                <a:gd name="T14" fmla="*/ 166 w 256"/>
                <a:gd name="T15" fmla="*/ 548 h 630"/>
                <a:gd name="T16" fmla="*/ 184 w 256"/>
                <a:gd name="T17" fmla="*/ 530 h 630"/>
                <a:gd name="T18" fmla="*/ 184 w 256"/>
                <a:gd name="T19" fmla="*/ 530 h 630"/>
                <a:gd name="T20" fmla="*/ 208 w 256"/>
                <a:gd name="T21" fmla="*/ 500 h 630"/>
                <a:gd name="T22" fmla="*/ 226 w 256"/>
                <a:gd name="T23" fmla="*/ 470 h 630"/>
                <a:gd name="T24" fmla="*/ 238 w 256"/>
                <a:gd name="T25" fmla="*/ 440 h 630"/>
                <a:gd name="T26" fmla="*/ 248 w 256"/>
                <a:gd name="T27" fmla="*/ 410 h 630"/>
                <a:gd name="T28" fmla="*/ 254 w 256"/>
                <a:gd name="T29" fmla="*/ 380 h 630"/>
                <a:gd name="T30" fmla="*/ 256 w 256"/>
                <a:gd name="T31" fmla="*/ 348 h 630"/>
                <a:gd name="T32" fmla="*/ 256 w 256"/>
                <a:gd name="T33" fmla="*/ 316 h 630"/>
                <a:gd name="T34" fmla="*/ 254 w 256"/>
                <a:gd name="T35" fmla="*/ 284 h 630"/>
                <a:gd name="T36" fmla="*/ 246 w 256"/>
                <a:gd name="T37" fmla="*/ 218 h 630"/>
                <a:gd name="T38" fmla="*/ 236 w 256"/>
                <a:gd name="T39" fmla="*/ 148 h 630"/>
                <a:gd name="T40" fmla="*/ 232 w 256"/>
                <a:gd name="T41" fmla="*/ 112 h 630"/>
                <a:gd name="T42" fmla="*/ 230 w 256"/>
                <a:gd name="T43" fmla="*/ 76 h 630"/>
                <a:gd name="T44" fmla="*/ 230 w 256"/>
                <a:gd name="T45" fmla="*/ 38 h 630"/>
                <a:gd name="T46" fmla="*/ 232 w 256"/>
                <a:gd name="T47" fmla="*/ 0 h 630"/>
                <a:gd name="T48" fmla="*/ 78 w 256"/>
                <a:gd name="T49" fmla="*/ 174 h 630"/>
                <a:gd name="T50" fmla="*/ 78 w 256"/>
                <a:gd name="T51" fmla="*/ 174 h 630"/>
                <a:gd name="T52" fmla="*/ 62 w 256"/>
                <a:gd name="T53" fmla="*/ 192 h 630"/>
                <a:gd name="T54" fmla="*/ 50 w 256"/>
                <a:gd name="T55" fmla="*/ 210 h 630"/>
                <a:gd name="T56" fmla="*/ 38 w 256"/>
                <a:gd name="T57" fmla="*/ 228 h 630"/>
                <a:gd name="T58" fmla="*/ 28 w 256"/>
                <a:gd name="T59" fmla="*/ 248 h 630"/>
                <a:gd name="T60" fmla="*/ 20 w 256"/>
                <a:gd name="T61" fmla="*/ 266 h 630"/>
                <a:gd name="T62" fmla="*/ 14 w 256"/>
                <a:gd name="T63" fmla="*/ 286 h 630"/>
                <a:gd name="T64" fmla="*/ 8 w 256"/>
                <a:gd name="T65" fmla="*/ 306 h 630"/>
                <a:gd name="T66" fmla="*/ 4 w 256"/>
                <a:gd name="T67" fmla="*/ 326 h 630"/>
                <a:gd name="T68" fmla="*/ 2 w 256"/>
                <a:gd name="T69" fmla="*/ 346 h 630"/>
                <a:gd name="T70" fmla="*/ 0 w 256"/>
                <a:gd name="T71" fmla="*/ 366 h 630"/>
                <a:gd name="T72" fmla="*/ 2 w 256"/>
                <a:gd name="T73" fmla="*/ 408 h 630"/>
                <a:gd name="T74" fmla="*/ 6 w 256"/>
                <a:gd name="T75" fmla="*/ 450 h 630"/>
                <a:gd name="T76" fmla="*/ 16 w 256"/>
                <a:gd name="T77" fmla="*/ 494 h 630"/>
                <a:gd name="T78" fmla="*/ 16 w 256"/>
                <a:gd name="T79" fmla="*/ 494 h 630"/>
                <a:gd name="T80" fmla="*/ 36 w 256"/>
                <a:gd name="T81" fmla="*/ 454 h 630"/>
                <a:gd name="T82" fmla="*/ 56 w 256"/>
                <a:gd name="T83" fmla="*/ 418 h 630"/>
                <a:gd name="T84" fmla="*/ 76 w 256"/>
                <a:gd name="T85" fmla="*/ 384 h 630"/>
                <a:gd name="T86" fmla="*/ 98 w 256"/>
                <a:gd name="T87" fmla="*/ 352 h 630"/>
                <a:gd name="T88" fmla="*/ 124 w 256"/>
                <a:gd name="T89" fmla="*/ 324 h 630"/>
                <a:gd name="T90" fmla="*/ 150 w 256"/>
                <a:gd name="T91" fmla="*/ 294 h 630"/>
                <a:gd name="T92" fmla="*/ 180 w 256"/>
                <a:gd name="T93" fmla="*/ 266 h 630"/>
                <a:gd name="T94" fmla="*/ 212 w 256"/>
                <a:gd name="T95" fmla="*/ 236 h 630"/>
                <a:gd name="T96" fmla="*/ 212 w 256"/>
                <a:gd name="T97" fmla="*/ 236 h 630"/>
                <a:gd name="T98" fmla="*/ 156 w 256"/>
                <a:gd name="T99" fmla="*/ 302 h 630"/>
                <a:gd name="T100" fmla="*/ 130 w 256"/>
                <a:gd name="T101" fmla="*/ 332 h 630"/>
                <a:gd name="T102" fmla="*/ 106 w 256"/>
                <a:gd name="T103" fmla="*/ 362 h 630"/>
                <a:gd name="T104" fmla="*/ 84 w 256"/>
                <a:gd name="T105" fmla="*/ 394 h 630"/>
                <a:gd name="T106" fmla="*/ 74 w 256"/>
                <a:gd name="T107" fmla="*/ 410 h 630"/>
                <a:gd name="T108" fmla="*/ 66 w 256"/>
                <a:gd name="T109" fmla="*/ 430 h 630"/>
                <a:gd name="T110" fmla="*/ 58 w 256"/>
                <a:gd name="T111" fmla="*/ 448 h 630"/>
                <a:gd name="T112" fmla="*/ 52 w 256"/>
                <a:gd name="T113" fmla="*/ 470 h 630"/>
                <a:gd name="T114" fmla="*/ 46 w 256"/>
                <a:gd name="T115" fmla="*/ 492 h 630"/>
                <a:gd name="T116" fmla="*/ 40 w 256"/>
                <a:gd name="T117" fmla="*/ 516 h 630"/>
                <a:gd name="T118" fmla="*/ 40 w 256"/>
                <a:gd name="T119" fmla="*/ 516 h 630"/>
                <a:gd name="T120" fmla="*/ 38 w 256"/>
                <a:gd name="T121" fmla="*/ 542 h 630"/>
                <a:gd name="T122" fmla="*/ 38 w 256"/>
                <a:gd name="T123" fmla="*/ 566 h 630"/>
                <a:gd name="T124" fmla="*/ 38 w 256"/>
                <a:gd name="T125" fmla="*/ 566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6" h="630">
                  <a:moveTo>
                    <a:pt x="38" y="566"/>
                  </a:moveTo>
                  <a:lnTo>
                    <a:pt x="38" y="566"/>
                  </a:lnTo>
                  <a:lnTo>
                    <a:pt x="62" y="630"/>
                  </a:lnTo>
                  <a:lnTo>
                    <a:pt x="62" y="630"/>
                  </a:lnTo>
                  <a:lnTo>
                    <a:pt x="74" y="622"/>
                  </a:lnTo>
                  <a:lnTo>
                    <a:pt x="106" y="600"/>
                  </a:lnTo>
                  <a:lnTo>
                    <a:pt x="146" y="566"/>
                  </a:lnTo>
                  <a:lnTo>
                    <a:pt x="166" y="548"/>
                  </a:lnTo>
                  <a:lnTo>
                    <a:pt x="184" y="530"/>
                  </a:lnTo>
                  <a:lnTo>
                    <a:pt x="184" y="530"/>
                  </a:lnTo>
                  <a:lnTo>
                    <a:pt x="208" y="500"/>
                  </a:lnTo>
                  <a:lnTo>
                    <a:pt x="226" y="470"/>
                  </a:lnTo>
                  <a:lnTo>
                    <a:pt x="238" y="440"/>
                  </a:lnTo>
                  <a:lnTo>
                    <a:pt x="248" y="410"/>
                  </a:lnTo>
                  <a:lnTo>
                    <a:pt x="254" y="380"/>
                  </a:lnTo>
                  <a:lnTo>
                    <a:pt x="256" y="348"/>
                  </a:lnTo>
                  <a:lnTo>
                    <a:pt x="256" y="316"/>
                  </a:lnTo>
                  <a:lnTo>
                    <a:pt x="254" y="284"/>
                  </a:lnTo>
                  <a:lnTo>
                    <a:pt x="246" y="218"/>
                  </a:lnTo>
                  <a:lnTo>
                    <a:pt x="236" y="148"/>
                  </a:lnTo>
                  <a:lnTo>
                    <a:pt x="232" y="112"/>
                  </a:lnTo>
                  <a:lnTo>
                    <a:pt x="230" y="76"/>
                  </a:lnTo>
                  <a:lnTo>
                    <a:pt x="230" y="38"/>
                  </a:lnTo>
                  <a:lnTo>
                    <a:pt x="232" y="0"/>
                  </a:lnTo>
                  <a:lnTo>
                    <a:pt x="78" y="174"/>
                  </a:lnTo>
                  <a:lnTo>
                    <a:pt x="78" y="174"/>
                  </a:lnTo>
                  <a:lnTo>
                    <a:pt x="62" y="192"/>
                  </a:lnTo>
                  <a:lnTo>
                    <a:pt x="50" y="210"/>
                  </a:lnTo>
                  <a:lnTo>
                    <a:pt x="38" y="228"/>
                  </a:lnTo>
                  <a:lnTo>
                    <a:pt x="28" y="248"/>
                  </a:lnTo>
                  <a:lnTo>
                    <a:pt x="20" y="266"/>
                  </a:lnTo>
                  <a:lnTo>
                    <a:pt x="14" y="286"/>
                  </a:lnTo>
                  <a:lnTo>
                    <a:pt x="8" y="306"/>
                  </a:lnTo>
                  <a:lnTo>
                    <a:pt x="4" y="326"/>
                  </a:lnTo>
                  <a:lnTo>
                    <a:pt x="2" y="346"/>
                  </a:lnTo>
                  <a:lnTo>
                    <a:pt x="0" y="366"/>
                  </a:lnTo>
                  <a:lnTo>
                    <a:pt x="2" y="408"/>
                  </a:lnTo>
                  <a:lnTo>
                    <a:pt x="6" y="450"/>
                  </a:lnTo>
                  <a:lnTo>
                    <a:pt x="16" y="494"/>
                  </a:lnTo>
                  <a:lnTo>
                    <a:pt x="16" y="494"/>
                  </a:lnTo>
                  <a:lnTo>
                    <a:pt x="36" y="454"/>
                  </a:lnTo>
                  <a:lnTo>
                    <a:pt x="56" y="418"/>
                  </a:lnTo>
                  <a:lnTo>
                    <a:pt x="76" y="384"/>
                  </a:lnTo>
                  <a:lnTo>
                    <a:pt x="98" y="352"/>
                  </a:lnTo>
                  <a:lnTo>
                    <a:pt x="124" y="324"/>
                  </a:lnTo>
                  <a:lnTo>
                    <a:pt x="150" y="294"/>
                  </a:lnTo>
                  <a:lnTo>
                    <a:pt x="180" y="266"/>
                  </a:lnTo>
                  <a:lnTo>
                    <a:pt x="212" y="236"/>
                  </a:lnTo>
                  <a:lnTo>
                    <a:pt x="212" y="236"/>
                  </a:lnTo>
                  <a:lnTo>
                    <a:pt x="156" y="302"/>
                  </a:lnTo>
                  <a:lnTo>
                    <a:pt x="130" y="332"/>
                  </a:lnTo>
                  <a:lnTo>
                    <a:pt x="106" y="362"/>
                  </a:lnTo>
                  <a:lnTo>
                    <a:pt x="84" y="394"/>
                  </a:lnTo>
                  <a:lnTo>
                    <a:pt x="74" y="410"/>
                  </a:lnTo>
                  <a:lnTo>
                    <a:pt x="66" y="430"/>
                  </a:lnTo>
                  <a:lnTo>
                    <a:pt x="58" y="448"/>
                  </a:lnTo>
                  <a:lnTo>
                    <a:pt x="52" y="470"/>
                  </a:lnTo>
                  <a:lnTo>
                    <a:pt x="46" y="492"/>
                  </a:lnTo>
                  <a:lnTo>
                    <a:pt x="40" y="516"/>
                  </a:lnTo>
                  <a:lnTo>
                    <a:pt x="40" y="516"/>
                  </a:lnTo>
                  <a:lnTo>
                    <a:pt x="38" y="542"/>
                  </a:lnTo>
                  <a:lnTo>
                    <a:pt x="38" y="566"/>
                  </a:lnTo>
                  <a:lnTo>
                    <a:pt x="38" y="5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62" name="Freeform 65">
              <a:extLst>
                <a:ext uri="{FF2B5EF4-FFF2-40B4-BE49-F238E27FC236}">
                  <a16:creationId xmlns:a16="http://schemas.microsoft.com/office/drawing/2014/main" id="{4CA256B1-33F4-4B03-B7B6-2906A6A32259}"/>
                </a:ext>
              </a:extLst>
            </p:cNvPr>
            <p:cNvSpPr>
              <a:spLocks/>
            </p:cNvSpPr>
            <p:nvPr/>
          </p:nvSpPr>
          <p:spPr bwMode="auto">
            <a:xfrm>
              <a:off x="2289" y="2904"/>
              <a:ext cx="677" cy="241"/>
            </a:xfrm>
            <a:custGeom>
              <a:avLst/>
              <a:gdLst>
                <a:gd name="T0" fmla="*/ 677 w 677"/>
                <a:gd name="T1" fmla="*/ 219 h 241"/>
                <a:gd name="T2" fmla="*/ 624 w 677"/>
                <a:gd name="T3" fmla="*/ 165 h 241"/>
                <a:gd name="T4" fmla="*/ 610 w 677"/>
                <a:gd name="T5" fmla="*/ 157 h 241"/>
                <a:gd name="T6" fmla="*/ 590 w 677"/>
                <a:gd name="T7" fmla="*/ 145 h 241"/>
                <a:gd name="T8" fmla="*/ 548 w 677"/>
                <a:gd name="T9" fmla="*/ 129 h 241"/>
                <a:gd name="T10" fmla="*/ 508 w 677"/>
                <a:gd name="T11" fmla="*/ 119 h 241"/>
                <a:gd name="T12" fmla="*/ 448 w 677"/>
                <a:gd name="T13" fmla="*/ 113 h 241"/>
                <a:gd name="T14" fmla="*/ 366 w 677"/>
                <a:gd name="T15" fmla="*/ 119 h 241"/>
                <a:gd name="T16" fmla="*/ 272 w 677"/>
                <a:gd name="T17" fmla="*/ 127 h 241"/>
                <a:gd name="T18" fmla="*/ 316 w 677"/>
                <a:gd name="T19" fmla="*/ 119 h 241"/>
                <a:gd name="T20" fmla="*/ 394 w 677"/>
                <a:gd name="T21" fmla="*/ 107 h 241"/>
                <a:gd name="T22" fmla="*/ 466 w 677"/>
                <a:gd name="T23" fmla="*/ 103 h 241"/>
                <a:gd name="T24" fmla="*/ 540 w 677"/>
                <a:gd name="T25" fmla="*/ 107 h 241"/>
                <a:gd name="T26" fmla="*/ 574 w 677"/>
                <a:gd name="T27" fmla="*/ 107 h 241"/>
                <a:gd name="T28" fmla="*/ 560 w 677"/>
                <a:gd name="T29" fmla="*/ 93 h 241"/>
                <a:gd name="T30" fmla="*/ 534 w 677"/>
                <a:gd name="T31" fmla="*/ 68 h 241"/>
                <a:gd name="T32" fmla="*/ 504 w 677"/>
                <a:gd name="T33" fmla="*/ 48 h 241"/>
                <a:gd name="T34" fmla="*/ 452 w 677"/>
                <a:gd name="T35" fmla="*/ 24 h 241"/>
                <a:gd name="T36" fmla="*/ 378 w 677"/>
                <a:gd name="T37" fmla="*/ 6 h 241"/>
                <a:gd name="T38" fmla="*/ 300 w 677"/>
                <a:gd name="T39" fmla="*/ 0 h 241"/>
                <a:gd name="T40" fmla="*/ 220 w 677"/>
                <a:gd name="T41" fmla="*/ 0 h 241"/>
                <a:gd name="T42" fmla="*/ 140 w 677"/>
                <a:gd name="T43" fmla="*/ 8 h 241"/>
                <a:gd name="T44" fmla="*/ 0 w 677"/>
                <a:gd name="T45" fmla="*/ 30 h 241"/>
                <a:gd name="T46" fmla="*/ 40 w 677"/>
                <a:gd name="T47" fmla="*/ 58 h 241"/>
                <a:gd name="T48" fmla="*/ 124 w 677"/>
                <a:gd name="T49" fmla="*/ 117 h 241"/>
                <a:gd name="T50" fmla="*/ 196 w 677"/>
                <a:gd name="T51" fmla="*/ 159 h 241"/>
                <a:gd name="T52" fmla="*/ 280 w 677"/>
                <a:gd name="T53" fmla="*/ 197 h 241"/>
                <a:gd name="T54" fmla="*/ 378 w 677"/>
                <a:gd name="T55" fmla="*/ 227 h 241"/>
                <a:gd name="T56" fmla="*/ 460 w 677"/>
                <a:gd name="T57" fmla="*/ 239 h 241"/>
                <a:gd name="T58" fmla="*/ 518 w 677"/>
                <a:gd name="T59" fmla="*/ 241 h 241"/>
                <a:gd name="T60" fmla="*/ 578 w 677"/>
                <a:gd name="T61" fmla="*/ 237 h 241"/>
                <a:gd name="T62" fmla="*/ 644 w 677"/>
                <a:gd name="T63" fmla="*/ 227 h 241"/>
                <a:gd name="T64" fmla="*/ 677 w 677"/>
                <a:gd name="T65" fmla="*/ 21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7" h="241">
                  <a:moveTo>
                    <a:pt x="677" y="219"/>
                  </a:moveTo>
                  <a:lnTo>
                    <a:pt x="677" y="219"/>
                  </a:lnTo>
                  <a:lnTo>
                    <a:pt x="663" y="203"/>
                  </a:lnTo>
                  <a:lnTo>
                    <a:pt x="624" y="165"/>
                  </a:lnTo>
                  <a:lnTo>
                    <a:pt x="624" y="165"/>
                  </a:lnTo>
                  <a:lnTo>
                    <a:pt x="610" y="157"/>
                  </a:lnTo>
                  <a:lnTo>
                    <a:pt x="610" y="157"/>
                  </a:lnTo>
                  <a:lnTo>
                    <a:pt x="590" y="145"/>
                  </a:lnTo>
                  <a:lnTo>
                    <a:pt x="568" y="135"/>
                  </a:lnTo>
                  <a:lnTo>
                    <a:pt x="548" y="129"/>
                  </a:lnTo>
                  <a:lnTo>
                    <a:pt x="528" y="123"/>
                  </a:lnTo>
                  <a:lnTo>
                    <a:pt x="508" y="119"/>
                  </a:lnTo>
                  <a:lnTo>
                    <a:pt x="488" y="115"/>
                  </a:lnTo>
                  <a:lnTo>
                    <a:pt x="448" y="113"/>
                  </a:lnTo>
                  <a:lnTo>
                    <a:pt x="408" y="115"/>
                  </a:lnTo>
                  <a:lnTo>
                    <a:pt x="366" y="119"/>
                  </a:lnTo>
                  <a:lnTo>
                    <a:pt x="320" y="123"/>
                  </a:lnTo>
                  <a:lnTo>
                    <a:pt x="272" y="127"/>
                  </a:lnTo>
                  <a:lnTo>
                    <a:pt x="272" y="127"/>
                  </a:lnTo>
                  <a:lnTo>
                    <a:pt x="316" y="119"/>
                  </a:lnTo>
                  <a:lnTo>
                    <a:pt x="356" y="111"/>
                  </a:lnTo>
                  <a:lnTo>
                    <a:pt x="394" y="107"/>
                  </a:lnTo>
                  <a:lnTo>
                    <a:pt x="430" y="103"/>
                  </a:lnTo>
                  <a:lnTo>
                    <a:pt x="466" y="103"/>
                  </a:lnTo>
                  <a:lnTo>
                    <a:pt x="502" y="103"/>
                  </a:lnTo>
                  <a:lnTo>
                    <a:pt x="540" y="107"/>
                  </a:lnTo>
                  <a:lnTo>
                    <a:pt x="578" y="111"/>
                  </a:lnTo>
                  <a:lnTo>
                    <a:pt x="574" y="107"/>
                  </a:lnTo>
                  <a:lnTo>
                    <a:pt x="574" y="107"/>
                  </a:lnTo>
                  <a:lnTo>
                    <a:pt x="560" y="93"/>
                  </a:lnTo>
                  <a:lnTo>
                    <a:pt x="548" y="81"/>
                  </a:lnTo>
                  <a:lnTo>
                    <a:pt x="534" y="68"/>
                  </a:lnTo>
                  <a:lnTo>
                    <a:pt x="518" y="58"/>
                  </a:lnTo>
                  <a:lnTo>
                    <a:pt x="504" y="48"/>
                  </a:lnTo>
                  <a:lnTo>
                    <a:pt x="486" y="38"/>
                  </a:lnTo>
                  <a:lnTo>
                    <a:pt x="452" y="24"/>
                  </a:lnTo>
                  <a:lnTo>
                    <a:pt x="416" y="14"/>
                  </a:lnTo>
                  <a:lnTo>
                    <a:pt x="378" y="6"/>
                  </a:lnTo>
                  <a:lnTo>
                    <a:pt x="340" y="2"/>
                  </a:lnTo>
                  <a:lnTo>
                    <a:pt x="300" y="0"/>
                  </a:lnTo>
                  <a:lnTo>
                    <a:pt x="260" y="0"/>
                  </a:lnTo>
                  <a:lnTo>
                    <a:pt x="220" y="0"/>
                  </a:lnTo>
                  <a:lnTo>
                    <a:pt x="180" y="4"/>
                  </a:lnTo>
                  <a:lnTo>
                    <a:pt x="140" y="8"/>
                  </a:lnTo>
                  <a:lnTo>
                    <a:pt x="66" y="18"/>
                  </a:lnTo>
                  <a:lnTo>
                    <a:pt x="0" y="30"/>
                  </a:lnTo>
                  <a:lnTo>
                    <a:pt x="0" y="30"/>
                  </a:lnTo>
                  <a:lnTo>
                    <a:pt x="40" y="58"/>
                  </a:lnTo>
                  <a:lnTo>
                    <a:pt x="94" y="95"/>
                  </a:lnTo>
                  <a:lnTo>
                    <a:pt x="124" y="117"/>
                  </a:lnTo>
                  <a:lnTo>
                    <a:pt x="158" y="137"/>
                  </a:lnTo>
                  <a:lnTo>
                    <a:pt x="196" y="159"/>
                  </a:lnTo>
                  <a:lnTo>
                    <a:pt x="236" y="179"/>
                  </a:lnTo>
                  <a:lnTo>
                    <a:pt x="280" y="197"/>
                  </a:lnTo>
                  <a:lnTo>
                    <a:pt x="328" y="213"/>
                  </a:lnTo>
                  <a:lnTo>
                    <a:pt x="378" y="227"/>
                  </a:lnTo>
                  <a:lnTo>
                    <a:pt x="432" y="235"/>
                  </a:lnTo>
                  <a:lnTo>
                    <a:pt x="460" y="239"/>
                  </a:lnTo>
                  <a:lnTo>
                    <a:pt x="488" y="239"/>
                  </a:lnTo>
                  <a:lnTo>
                    <a:pt x="518" y="241"/>
                  </a:lnTo>
                  <a:lnTo>
                    <a:pt x="548" y="239"/>
                  </a:lnTo>
                  <a:lnTo>
                    <a:pt x="578" y="237"/>
                  </a:lnTo>
                  <a:lnTo>
                    <a:pt x="610" y="233"/>
                  </a:lnTo>
                  <a:lnTo>
                    <a:pt x="644" y="227"/>
                  </a:lnTo>
                  <a:lnTo>
                    <a:pt x="677" y="219"/>
                  </a:lnTo>
                  <a:lnTo>
                    <a:pt x="677"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63" name="Freeform 66">
              <a:extLst>
                <a:ext uri="{FF2B5EF4-FFF2-40B4-BE49-F238E27FC236}">
                  <a16:creationId xmlns:a16="http://schemas.microsoft.com/office/drawing/2014/main" id="{BE16A86E-11CF-42BB-BABF-97F4D7A9C41D}"/>
                </a:ext>
              </a:extLst>
            </p:cNvPr>
            <p:cNvSpPr>
              <a:spLocks/>
            </p:cNvSpPr>
            <p:nvPr/>
          </p:nvSpPr>
          <p:spPr bwMode="auto">
            <a:xfrm>
              <a:off x="2793" y="2412"/>
              <a:ext cx="253" cy="613"/>
            </a:xfrm>
            <a:custGeom>
              <a:avLst/>
              <a:gdLst>
                <a:gd name="T0" fmla="*/ 138 w 253"/>
                <a:gd name="T1" fmla="*/ 595 h 613"/>
                <a:gd name="T2" fmla="*/ 138 w 253"/>
                <a:gd name="T3" fmla="*/ 595 h 613"/>
                <a:gd name="T4" fmla="*/ 149 w 253"/>
                <a:gd name="T5" fmla="*/ 613 h 613"/>
                <a:gd name="T6" fmla="*/ 149 w 253"/>
                <a:gd name="T7" fmla="*/ 613 h 613"/>
                <a:gd name="T8" fmla="*/ 167 w 253"/>
                <a:gd name="T9" fmla="*/ 593 h 613"/>
                <a:gd name="T10" fmla="*/ 187 w 253"/>
                <a:gd name="T11" fmla="*/ 566 h 613"/>
                <a:gd name="T12" fmla="*/ 205 w 253"/>
                <a:gd name="T13" fmla="*/ 536 h 613"/>
                <a:gd name="T14" fmla="*/ 223 w 253"/>
                <a:gd name="T15" fmla="*/ 506 h 613"/>
                <a:gd name="T16" fmla="*/ 223 w 253"/>
                <a:gd name="T17" fmla="*/ 506 h 613"/>
                <a:gd name="T18" fmla="*/ 237 w 253"/>
                <a:gd name="T19" fmla="*/ 474 h 613"/>
                <a:gd name="T20" fmla="*/ 247 w 253"/>
                <a:gd name="T21" fmla="*/ 442 h 613"/>
                <a:gd name="T22" fmla="*/ 251 w 253"/>
                <a:gd name="T23" fmla="*/ 410 h 613"/>
                <a:gd name="T24" fmla="*/ 253 w 253"/>
                <a:gd name="T25" fmla="*/ 380 h 613"/>
                <a:gd name="T26" fmla="*/ 249 w 253"/>
                <a:gd name="T27" fmla="*/ 350 h 613"/>
                <a:gd name="T28" fmla="*/ 245 w 253"/>
                <a:gd name="T29" fmla="*/ 320 h 613"/>
                <a:gd name="T30" fmla="*/ 235 w 253"/>
                <a:gd name="T31" fmla="*/ 290 h 613"/>
                <a:gd name="T32" fmla="*/ 225 w 253"/>
                <a:gd name="T33" fmla="*/ 260 h 613"/>
                <a:gd name="T34" fmla="*/ 201 w 253"/>
                <a:gd name="T35" fmla="*/ 200 h 613"/>
                <a:gd name="T36" fmla="*/ 177 w 253"/>
                <a:gd name="T37" fmla="*/ 136 h 613"/>
                <a:gd name="T38" fmla="*/ 163 w 253"/>
                <a:gd name="T39" fmla="*/ 104 h 613"/>
                <a:gd name="T40" fmla="*/ 153 w 253"/>
                <a:gd name="T41" fmla="*/ 70 h 613"/>
                <a:gd name="T42" fmla="*/ 143 w 253"/>
                <a:gd name="T43" fmla="*/ 36 h 613"/>
                <a:gd name="T44" fmla="*/ 134 w 253"/>
                <a:gd name="T45" fmla="*/ 0 h 613"/>
                <a:gd name="T46" fmla="*/ 32 w 253"/>
                <a:gd name="T47" fmla="*/ 200 h 613"/>
                <a:gd name="T48" fmla="*/ 32 w 253"/>
                <a:gd name="T49" fmla="*/ 200 h 613"/>
                <a:gd name="T50" fmla="*/ 20 w 253"/>
                <a:gd name="T51" fmla="*/ 226 h 613"/>
                <a:gd name="T52" fmla="*/ 12 w 253"/>
                <a:gd name="T53" fmla="*/ 252 h 613"/>
                <a:gd name="T54" fmla="*/ 6 w 253"/>
                <a:gd name="T55" fmla="*/ 278 h 613"/>
                <a:gd name="T56" fmla="*/ 2 w 253"/>
                <a:gd name="T57" fmla="*/ 304 h 613"/>
                <a:gd name="T58" fmla="*/ 0 w 253"/>
                <a:gd name="T59" fmla="*/ 330 h 613"/>
                <a:gd name="T60" fmla="*/ 2 w 253"/>
                <a:gd name="T61" fmla="*/ 354 h 613"/>
                <a:gd name="T62" fmla="*/ 4 w 253"/>
                <a:gd name="T63" fmla="*/ 380 h 613"/>
                <a:gd name="T64" fmla="*/ 10 w 253"/>
                <a:gd name="T65" fmla="*/ 404 h 613"/>
                <a:gd name="T66" fmla="*/ 16 w 253"/>
                <a:gd name="T67" fmla="*/ 428 h 613"/>
                <a:gd name="T68" fmla="*/ 24 w 253"/>
                <a:gd name="T69" fmla="*/ 454 h 613"/>
                <a:gd name="T70" fmla="*/ 36 w 253"/>
                <a:gd name="T71" fmla="*/ 478 h 613"/>
                <a:gd name="T72" fmla="*/ 48 w 253"/>
                <a:gd name="T73" fmla="*/ 502 h 613"/>
                <a:gd name="T74" fmla="*/ 74 w 253"/>
                <a:gd name="T75" fmla="*/ 550 h 613"/>
                <a:gd name="T76" fmla="*/ 106 w 253"/>
                <a:gd name="T77" fmla="*/ 599 h 613"/>
                <a:gd name="T78" fmla="*/ 106 w 253"/>
                <a:gd name="T79" fmla="*/ 599 h 613"/>
                <a:gd name="T80" fmla="*/ 100 w 253"/>
                <a:gd name="T81" fmla="*/ 558 h 613"/>
                <a:gd name="T82" fmla="*/ 98 w 253"/>
                <a:gd name="T83" fmla="*/ 522 h 613"/>
                <a:gd name="T84" fmla="*/ 96 w 253"/>
                <a:gd name="T85" fmla="*/ 488 h 613"/>
                <a:gd name="T86" fmla="*/ 98 w 253"/>
                <a:gd name="T87" fmla="*/ 454 h 613"/>
                <a:gd name="T88" fmla="*/ 102 w 253"/>
                <a:gd name="T89" fmla="*/ 418 h 613"/>
                <a:gd name="T90" fmla="*/ 108 w 253"/>
                <a:gd name="T91" fmla="*/ 384 h 613"/>
                <a:gd name="T92" fmla="*/ 116 w 253"/>
                <a:gd name="T93" fmla="*/ 346 h 613"/>
                <a:gd name="T94" fmla="*/ 126 w 253"/>
                <a:gd name="T95" fmla="*/ 306 h 613"/>
                <a:gd name="T96" fmla="*/ 126 w 253"/>
                <a:gd name="T97" fmla="*/ 306 h 613"/>
                <a:gd name="T98" fmla="*/ 116 w 253"/>
                <a:gd name="T99" fmla="*/ 384 h 613"/>
                <a:gd name="T100" fmla="*/ 110 w 253"/>
                <a:gd name="T101" fmla="*/ 420 h 613"/>
                <a:gd name="T102" fmla="*/ 108 w 253"/>
                <a:gd name="T103" fmla="*/ 454 h 613"/>
                <a:gd name="T104" fmla="*/ 108 w 253"/>
                <a:gd name="T105" fmla="*/ 488 h 613"/>
                <a:gd name="T106" fmla="*/ 112 w 253"/>
                <a:gd name="T107" fmla="*/ 522 h 613"/>
                <a:gd name="T108" fmla="*/ 116 w 253"/>
                <a:gd name="T109" fmla="*/ 540 h 613"/>
                <a:gd name="T110" fmla="*/ 122 w 253"/>
                <a:gd name="T111" fmla="*/ 558 h 613"/>
                <a:gd name="T112" fmla="*/ 130 w 253"/>
                <a:gd name="T113" fmla="*/ 577 h 613"/>
                <a:gd name="T114" fmla="*/ 138 w 253"/>
                <a:gd name="T115" fmla="*/ 595 h 613"/>
                <a:gd name="T116" fmla="*/ 138 w 253"/>
                <a:gd name="T117" fmla="*/ 595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3" h="613">
                  <a:moveTo>
                    <a:pt x="138" y="595"/>
                  </a:moveTo>
                  <a:lnTo>
                    <a:pt x="138" y="595"/>
                  </a:lnTo>
                  <a:lnTo>
                    <a:pt x="149" y="613"/>
                  </a:lnTo>
                  <a:lnTo>
                    <a:pt x="149" y="613"/>
                  </a:lnTo>
                  <a:lnTo>
                    <a:pt x="167" y="593"/>
                  </a:lnTo>
                  <a:lnTo>
                    <a:pt x="187" y="566"/>
                  </a:lnTo>
                  <a:lnTo>
                    <a:pt x="205" y="536"/>
                  </a:lnTo>
                  <a:lnTo>
                    <a:pt x="223" y="506"/>
                  </a:lnTo>
                  <a:lnTo>
                    <a:pt x="223" y="506"/>
                  </a:lnTo>
                  <a:lnTo>
                    <a:pt x="237" y="474"/>
                  </a:lnTo>
                  <a:lnTo>
                    <a:pt x="247" y="442"/>
                  </a:lnTo>
                  <a:lnTo>
                    <a:pt x="251" y="410"/>
                  </a:lnTo>
                  <a:lnTo>
                    <a:pt x="253" y="380"/>
                  </a:lnTo>
                  <a:lnTo>
                    <a:pt x="249" y="350"/>
                  </a:lnTo>
                  <a:lnTo>
                    <a:pt x="245" y="320"/>
                  </a:lnTo>
                  <a:lnTo>
                    <a:pt x="235" y="290"/>
                  </a:lnTo>
                  <a:lnTo>
                    <a:pt x="225" y="260"/>
                  </a:lnTo>
                  <a:lnTo>
                    <a:pt x="201" y="200"/>
                  </a:lnTo>
                  <a:lnTo>
                    <a:pt x="177" y="136"/>
                  </a:lnTo>
                  <a:lnTo>
                    <a:pt x="163" y="104"/>
                  </a:lnTo>
                  <a:lnTo>
                    <a:pt x="153" y="70"/>
                  </a:lnTo>
                  <a:lnTo>
                    <a:pt x="143" y="36"/>
                  </a:lnTo>
                  <a:lnTo>
                    <a:pt x="134" y="0"/>
                  </a:lnTo>
                  <a:lnTo>
                    <a:pt x="32" y="200"/>
                  </a:lnTo>
                  <a:lnTo>
                    <a:pt x="32" y="200"/>
                  </a:lnTo>
                  <a:lnTo>
                    <a:pt x="20" y="226"/>
                  </a:lnTo>
                  <a:lnTo>
                    <a:pt x="12" y="252"/>
                  </a:lnTo>
                  <a:lnTo>
                    <a:pt x="6" y="278"/>
                  </a:lnTo>
                  <a:lnTo>
                    <a:pt x="2" y="304"/>
                  </a:lnTo>
                  <a:lnTo>
                    <a:pt x="0" y="330"/>
                  </a:lnTo>
                  <a:lnTo>
                    <a:pt x="2" y="354"/>
                  </a:lnTo>
                  <a:lnTo>
                    <a:pt x="4" y="380"/>
                  </a:lnTo>
                  <a:lnTo>
                    <a:pt x="10" y="404"/>
                  </a:lnTo>
                  <a:lnTo>
                    <a:pt x="16" y="428"/>
                  </a:lnTo>
                  <a:lnTo>
                    <a:pt x="24" y="454"/>
                  </a:lnTo>
                  <a:lnTo>
                    <a:pt x="36" y="478"/>
                  </a:lnTo>
                  <a:lnTo>
                    <a:pt x="48" y="502"/>
                  </a:lnTo>
                  <a:lnTo>
                    <a:pt x="74" y="550"/>
                  </a:lnTo>
                  <a:lnTo>
                    <a:pt x="106" y="599"/>
                  </a:lnTo>
                  <a:lnTo>
                    <a:pt x="106" y="599"/>
                  </a:lnTo>
                  <a:lnTo>
                    <a:pt x="100" y="558"/>
                  </a:lnTo>
                  <a:lnTo>
                    <a:pt x="98" y="522"/>
                  </a:lnTo>
                  <a:lnTo>
                    <a:pt x="96" y="488"/>
                  </a:lnTo>
                  <a:lnTo>
                    <a:pt x="98" y="454"/>
                  </a:lnTo>
                  <a:lnTo>
                    <a:pt x="102" y="418"/>
                  </a:lnTo>
                  <a:lnTo>
                    <a:pt x="108" y="384"/>
                  </a:lnTo>
                  <a:lnTo>
                    <a:pt x="116" y="346"/>
                  </a:lnTo>
                  <a:lnTo>
                    <a:pt x="126" y="306"/>
                  </a:lnTo>
                  <a:lnTo>
                    <a:pt x="126" y="306"/>
                  </a:lnTo>
                  <a:lnTo>
                    <a:pt x="116" y="384"/>
                  </a:lnTo>
                  <a:lnTo>
                    <a:pt x="110" y="420"/>
                  </a:lnTo>
                  <a:lnTo>
                    <a:pt x="108" y="454"/>
                  </a:lnTo>
                  <a:lnTo>
                    <a:pt x="108" y="488"/>
                  </a:lnTo>
                  <a:lnTo>
                    <a:pt x="112" y="522"/>
                  </a:lnTo>
                  <a:lnTo>
                    <a:pt x="116" y="540"/>
                  </a:lnTo>
                  <a:lnTo>
                    <a:pt x="122" y="558"/>
                  </a:lnTo>
                  <a:lnTo>
                    <a:pt x="130" y="577"/>
                  </a:lnTo>
                  <a:lnTo>
                    <a:pt x="138" y="595"/>
                  </a:lnTo>
                  <a:lnTo>
                    <a:pt x="138" y="5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64" name="Freeform 67">
              <a:extLst>
                <a:ext uri="{FF2B5EF4-FFF2-40B4-BE49-F238E27FC236}">
                  <a16:creationId xmlns:a16="http://schemas.microsoft.com/office/drawing/2014/main" id="{57B425D0-27DE-4613-B054-C160DB0B87E9}"/>
                </a:ext>
              </a:extLst>
            </p:cNvPr>
            <p:cNvSpPr>
              <a:spLocks/>
            </p:cNvSpPr>
            <p:nvPr/>
          </p:nvSpPr>
          <p:spPr bwMode="auto">
            <a:xfrm>
              <a:off x="2727" y="3175"/>
              <a:ext cx="717" cy="284"/>
            </a:xfrm>
            <a:custGeom>
              <a:avLst/>
              <a:gdLst>
                <a:gd name="T0" fmla="*/ 695 w 717"/>
                <a:gd name="T1" fmla="*/ 112 h 284"/>
                <a:gd name="T2" fmla="*/ 681 w 717"/>
                <a:gd name="T3" fmla="*/ 106 h 284"/>
                <a:gd name="T4" fmla="*/ 637 w 717"/>
                <a:gd name="T5" fmla="*/ 98 h 284"/>
                <a:gd name="T6" fmla="*/ 595 w 717"/>
                <a:gd name="T7" fmla="*/ 98 h 284"/>
                <a:gd name="T8" fmla="*/ 557 w 717"/>
                <a:gd name="T9" fmla="*/ 102 h 284"/>
                <a:gd name="T10" fmla="*/ 483 w 717"/>
                <a:gd name="T11" fmla="*/ 122 h 284"/>
                <a:gd name="T12" fmla="*/ 407 w 717"/>
                <a:gd name="T13" fmla="*/ 152 h 284"/>
                <a:gd name="T14" fmla="*/ 363 w 717"/>
                <a:gd name="T15" fmla="*/ 168 h 284"/>
                <a:gd name="T16" fmla="*/ 437 w 717"/>
                <a:gd name="T17" fmla="*/ 132 h 284"/>
                <a:gd name="T18" fmla="*/ 505 w 717"/>
                <a:gd name="T19" fmla="*/ 104 h 284"/>
                <a:gd name="T20" fmla="*/ 573 w 717"/>
                <a:gd name="T21" fmla="*/ 86 h 284"/>
                <a:gd name="T22" fmla="*/ 647 w 717"/>
                <a:gd name="T23" fmla="*/ 74 h 284"/>
                <a:gd name="T24" fmla="*/ 611 w 717"/>
                <a:gd name="T25" fmla="*/ 50 h 284"/>
                <a:gd name="T26" fmla="*/ 573 w 717"/>
                <a:gd name="T27" fmla="*/ 30 h 284"/>
                <a:gd name="T28" fmla="*/ 537 w 717"/>
                <a:gd name="T29" fmla="*/ 14 h 284"/>
                <a:gd name="T30" fmla="*/ 499 w 717"/>
                <a:gd name="T31" fmla="*/ 4 h 284"/>
                <a:gd name="T32" fmla="*/ 429 w 717"/>
                <a:gd name="T33" fmla="*/ 0 h 284"/>
                <a:gd name="T34" fmla="*/ 361 w 717"/>
                <a:gd name="T35" fmla="*/ 10 h 284"/>
                <a:gd name="T36" fmla="*/ 295 w 717"/>
                <a:gd name="T37" fmla="*/ 32 h 284"/>
                <a:gd name="T38" fmla="*/ 156 w 717"/>
                <a:gd name="T39" fmla="*/ 90 h 284"/>
                <a:gd name="T40" fmla="*/ 80 w 717"/>
                <a:gd name="T41" fmla="*/ 118 h 284"/>
                <a:gd name="T42" fmla="*/ 0 w 717"/>
                <a:gd name="T43" fmla="*/ 140 h 284"/>
                <a:gd name="T44" fmla="*/ 231 w 717"/>
                <a:gd name="T45" fmla="*/ 250 h 284"/>
                <a:gd name="T46" fmla="*/ 263 w 717"/>
                <a:gd name="T47" fmla="*/ 264 h 284"/>
                <a:gd name="T48" fmla="*/ 327 w 717"/>
                <a:gd name="T49" fmla="*/ 282 h 284"/>
                <a:gd name="T50" fmla="*/ 391 w 717"/>
                <a:gd name="T51" fmla="*/ 284 h 284"/>
                <a:gd name="T52" fmla="*/ 453 w 717"/>
                <a:gd name="T53" fmla="*/ 276 h 284"/>
                <a:gd name="T54" fmla="*/ 513 w 717"/>
                <a:gd name="T55" fmla="*/ 256 h 284"/>
                <a:gd name="T56" fmla="*/ 573 w 717"/>
                <a:gd name="T57" fmla="*/ 228 h 284"/>
                <a:gd name="T58" fmla="*/ 631 w 717"/>
                <a:gd name="T59" fmla="*/ 192 h 284"/>
                <a:gd name="T60" fmla="*/ 717 w 717"/>
                <a:gd name="T61" fmla="*/ 130 h 284"/>
                <a:gd name="T62" fmla="*/ 695 w 717"/>
                <a:gd name="T63" fmla="*/ 11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7" h="284">
                  <a:moveTo>
                    <a:pt x="695" y="112"/>
                  </a:moveTo>
                  <a:lnTo>
                    <a:pt x="695" y="112"/>
                  </a:lnTo>
                  <a:lnTo>
                    <a:pt x="681" y="106"/>
                  </a:lnTo>
                  <a:lnTo>
                    <a:pt x="681" y="106"/>
                  </a:lnTo>
                  <a:lnTo>
                    <a:pt x="657" y="102"/>
                  </a:lnTo>
                  <a:lnTo>
                    <a:pt x="637" y="98"/>
                  </a:lnTo>
                  <a:lnTo>
                    <a:pt x="615" y="98"/>
                  </a:lnTo>
                  <a:lnTo>
                    <a:pt x="595" y="98"/>
                  </a:lnTo>
                  <a:lnTo>
                    <a:pt x="577" y="100"/>
                  </a:lnTo>
                  <a:lnTo>
                    <a:pt x="557" y="102"/>
                  </a:lnTo>
                  <a:lnTo>
                    <a:pt x="521" y="110"/>
                  </a:lnTo>
                  <a:lnTo>
                    <a:pt x="483" y="122"/>
                  </a:lnTo>
                  <a:lnTo>
                    <a:pt x="445" y="136"/>
                  </a:lnTo>
                  <a:lnTo>
                    <a:pt x="407" y="152"/>
                  </a:lnTo>
                  <a:lnTo>
                    <a:pt x="363" y="168"/>
                  </a:lnTo>
                  <a:lnTo>
                    <a:pt x="363" y="168"/>
                  </a:lnTo>
                  <a:lnTo>
                    <a:pt x="401" y="150"/>
                  </a:lnTo>
                  <a:lnTo>
                    <a:pt x="437" y="132"/>
                  </a:lnTo>
                  <a:lnTo>
                    <a:pt x="471" y="116"/>
                  </a:lnTo>
                  <a:lnTo>
                    <a:pt x="505" y="104"/>
                  </a:lnTo>
                  <a:lnTo>
                    <a:pt x="539" y="94"/>
                  </a:lnTo>
                  <a:lnTo>
                    <a:pt x="573" y="86"/>
                  </a:lnTo>
                  <a:lnTo>
                    <a:pt x="609" y="78"/>
                  </a:lnTo>
                  <a:lnTo>
                    <a:pt x="647" y="74"/>
                  </a:lnTo>
                  <a:lnTo>
                    <a:pt x="647" y="74"/>
                  </a:lnTo>
                  <a:lnTo>
                    <a:pt x="611" y="50"/>
                  </a:lnTo>
                  <a:lnTo>
                    <a:pt x="573" y="30"/>
                  </a:lnTo>
                  <a:lnTo>
                    <a:pt x="573" y="30"/>
                  </a:lnTo>
                  <a:lnTo>
                    <a:pt x="555" y="22"/>
                  </a:lnTo>
                  <a:lnTo>
                    <a:pt x="537" y="14"/>
                  </a:lnTo>
                  <a:lnTo>
                    <a:pt x="517" y="10"/>
                  </a:lnTo>
                  <a:lnTo>
                    <a:pt x="499" y="4"/>
                  </a:lnTo>
                  <a:lnTo>
                    <a:pt x="465" y="0"/>
                  </a:lnTo>
                  <a:lnTo>
                    <a:pt x="429" y="0"/>
                  </a:lnTo>
                  <a:lnTo>
                    <a:pt x="395" y="4"/>
                  </a:lnTo>
                  <a:lnTo>
                    <a:pt x="361" y="10"/>
                  </a:lnTo>
                  <a:lnTo>
                    <a:pt x="329" y="20"/>
                  </a:lnTo>
                  <a:lnTo>
                    <a:pt x="295" y="32"/>
                  </a:lnTo>
                  <a:lnTo>
                    <a:pt x="227" y="60"/>
                  </a:lnTo>
                  <a:lnTo>
                    <a:pt x="156" y="90"/>
                  </a:lnTo>
                  <a:lnTo>
                    <a:pt x="118" y="106"/>
                  </a:lnTo>
                  <a:lnTo>
                    <a:pt x="80" y="118"/>
                  </a:lnTo>
                  <a:lnTo>
                    <a:pt x="42" y="130"/>
                  </a:lnTo>
                  <a:lnTo>
                    <a:pt x="0" y="140"/>
                  </a:lnTo>
                  <a:lnTo>
                    <a:pt x="0" y="140"/>
                  </a:lnTo>
                  <a:lnTo>
                    <a:pt x="231" y="250"/>
                  </a:lnTo>
                  <a:lnTo>
                    <a:pt x="231" y="250"/>
                  </a:lnTo>
                  <a:lnTo>
                    <a:pt x="263" y="264"/>
                  </a:lnTo>
                  <a:lnTo>
                    <a:pt x="295" y="274"/>
                  </a:lnTo>
                  <a:lnTo>
                    <a:pt x="327" y="282"/>
                  </a:lnTo>
                  <a:lnTo>
                    <a:pt x="359" y="284"/>
                  </a:lnTo>
                  <a:lnTo>
                    <a:pt x="391" y="284"/>
                  </a:lnTo>
                  <a:lnTo>
                    <a:pt x="421" y="282"/>
                  </a:lnTo>
                  <a:lnTo>
                    <a:pt x="453" y="276"/>
                  </a:lnTo>
                  <a:lnTo>
                    <a:pt x="483" y="268"/>
                  </a:lnTo>
                  <a:lnTo>
                    <a:pt x="513" y="256"/>
                  </a:lnTo>
                  <a:lnTo>
                    <a:pt x="543" y="244"/>
                  </a:lnTo>
                  <a:lnTo>
                    <a:pt x="573" y="228"/>
                  </a:lnTo>
                  <a:lnTo>
                    <a:pt x="601" y="212"/>
                  </a:lnTo>
                  <a:lnTo>
                    <a:pt x="631" y="192"/>
                  </a:lnTo>
                  <a:lnTo>
                    <a:pt x="659" y="172"/>
                  </a:lnTo>
                  <a:lnTo>
                    <a:pt x="717" y="130"/>
                  </a:lnTo>
                  <a:lnTo>
                    <a:pt x="717" y="130"/>
                  </a:lnTo>
                  <a:lnTo>
                    <a:pt x="695" y="112"/>
                  </a:lnTo>
                  <a:lnTo>
                    <a:pt x="695"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65" name="Freeform 68">
              <a:extLst>
                <a:ext uri="{FF2B5EF4-FFF2-40B4-BE49-F238E27FC236}">
                  <a16:creationId xmlns:a16="http://schemas.microsoft.com/office/drawing/2014/main" id="{A04EE18B-9BE2-4C00-9A19-221FA97CAB90}"/>
                </a:ext>
              </a:extLst>
            </p:cNvPr>
            <p:cNvSpPr>
              <a:spLocks/>
            </p:cNvSpPr>
            <p:nvPr/>
          </p:nvSpPr>
          <p:spPr bwMode="auto">
            <a:xfrm>
              <a:off x="3108" y="2630"/>
              <a:ext cx="382" cy="587"/>
            </a:xfrm>
            <a:custGeom>
              <a:avLst/>
              <a:gdLst>
                <a:gd name="T0" fmla="*/ 18 w 382"/>
                <a:gd name="T1" fmla="*/ 254 h 587"/>
                <a:gd name="T2" fmla="*/ 22 w 382"/>
                <a:gd name="T3" fmla="*/ 284 h 587"/>
                <a:gd name="T4" fmla="*/ 36 w 382"/>
                <a:gd name="T5" fmla="*/ 340 h 587"/>
                <a:gd name="T6" fmla="*/ 56 w 382"/>
                <a:gd name="T7" fmla="*/ 391 h 587"/>
                <a:gd name="T8" fmla="*/ 86 w 382"/>
                <a:gd name="T9" fmla="*/ 435 h 587"/>
                <a:gd name="T10" fmla="*/ 122 w 382"/>
                <a:gd name="T11" fmla="*/ 473 h 587"/>
                <a:gd name="T12" fmla="*/ 162 w 382"/>
                <a:gd name="T13" fmla="*/ 509 h 587"/>
                <a:gd name="T14" fmla="*/ 210 w 382"/>
                <a:gd name="T15" fmla="*/ 539 h 587"/>
                <a:gd name="T16" fmla="*/ 286 w 382"/>
                <a:gd name="T17" fmla="*/ 581 h 587"/>
                <a:gd name="T18" fmla="*/ 264 w 382"/>
                <a:gd name="T19" fmla="*/ 551 h 587"/>
                <a:gd name="T20" fmla="*/ 226 w 382"/>
                <a:gd name="T21" fmla="*/ 487 h 587"/>
                <a:gd name="T22" fmla="*/ 192 w 382"/>
                <a:gd name="T23" fmla="*/ 419 h 587"/>
                <a:gd name="T24" fmla="*/ 164 w 382"/>
                <a:gd name="T25" fmla="*/ 346 h 587"/>
                <a:gd name="T26" fmla="*/ 152 w 382"/>
                <a:gd name="T27" fmla="*/ 308 h 587"/>
                <a:gd name="T28" fmla="*/ 188 w 382"/>
                <a:gd name="T29" fmla="*/ 389 h 587"/>
                <a:gd name="T30" fmla="*/ 224 w 382"/>
                <a:gd name="T31" fmla="*/ 459 h 587"/>
                <a:gd name="T32" fmla="*/ 258 w 382"/>
                <a:gd name="T33" fmla="*/ 505 h 587"/>
                <a:gd name="T34" fmla="*/ 284 w 382"/>
                <a:gd name="T35" fmla="*/ 535 h 587"/>
                <a:gd name="T36" fmla="*/ 318 w 382"/>
                <a:gd name="T37" fmla="*/ 561 h 587"/>
                <a:gd name="T38" fmla="*/ 338 w 382"/>
                <a:gd name="T39" fmla="*/ 573 h 587"/>
                <a:gd name="T40" fmla="*/ 372 w 382"/>
                <a:gd name="T41" fmla="*/ 587 h 587"/>
                <a:gd name="T42" fmla="*/ 376 w 382"/>
                <a:gd name="T43" fmla="*/ 557 h 587"/>
                <a:gd name="T44" fmla="*/ 382 w 382"/>
                <a:gd name="T45" fmla="*/ 481 h 587"/>
                <a:gd name="T46" fmla="*/ 380 w 382"/>
                <a:gd name="T47" fmla="*/ 443 h 587"/>
                <a:gd name="T48" fmla="*/ 376 w 382"/>
                <a:gd name="T49" fmla="*/ 403 h 587"/>
                <a:gd name="T50" fmla="*/ 366 w 382"/>
                <a:gd name="T51" fmla="*/ 365 h 587"/>
                <a:gd name="T52" fmla="*/ 336 w 382"/>
                <a:gd name="T53" fmla="*/ 302 h 587"/>
                <a:gd name="T54" fmla="*/ 292 w 382"/>
                <a:gd name="T55" fmla="*/ 248 h 587"/>
                <a:gd name="T56" fmla="*/ 240 w 382"/>
                <a:gd name="T57" fmla="*/ 200 h 587"/>
                <a:gd name="T58" fmla="*/ 120 w 382"/>
                <a:gd name="T59" fmla="*/ 110 h 587"/>
                <a:gd name="T60" fmla="*/ 58 w 382"/>
                <a:gd name="T61" fmla="*/ 60 h 587"/>
                <a:gd name="T62" fmla="*/ 0 w 382"/>
                <a:gd name="T63"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2" h="587">
                  <a:moveTo>
                    <a:pt x="0" y="0"/>
                  </a:moveTo>
                  <a:lnTo>
                    <a:pt x="18" y="254"/>
                  </a:lnTo>
                  <a:lnTo>
                    <a:pt x="18" y="254"/>
                  </a:lnTo>
                  <a:lnTo>
                    <a:pt x="22" y="284"/>
                  </a:lnTo>
                  <a:lnTo>
                    <a:pt x="28" y="312"/>
                  </a:lnTo>
                  <a:lnTo>
                    <a:pt x="36" y="340"/>
                  </a:lnTo>
                  <a:lnTo>
                    <a:pt x="46" y="367"/>
                  </a:lnTo>
                  <a:lnTo>
                    <a:pt x="56" y="391"/>
                  </a:lnTo>
                  <a:lnTo>
                    <a:pt x="70" y="413"/>
                  </a:lnTo>
                  <a:lnTo>
                    <a:pt x="86" y="435"/>
                  </a:lnTo>
                  <a:lnTo>
                    <a:pt x="102" y="455"/>
                  </a:lnTo>
                  <a:lnTo>
                    <a:pt x="122" y="473"/>
                  </a:lnTo>
                  <a:lnTo>
                    <a:pt x="142" y="491"/>
                  </a:lnTo>
                  <a:lnTo>
                    <a:pt x="162" y="509"/>
                  </a:lnTo>
                  <a:lnTo>
                    <a:pt x="186" y="525"/>
                  </a:lnTo>
                  <a:lnTo>
                    <a:pt x="210" y="539"/>
                  </a:lnTo>
                  <a:lnTo>
                    <a:pt x="234" y="555"/>
                  </a:lnTo>
                  <a:lnTo>
                    <a:pt x="286" y="581"/>
                  </a:lnTo>
                  <a:lnTo>
                    <a:pt x="286" y="581"/>
                  </a:lnTo>
                  <a:lnTo>
                    <a:pt x="264" y="551"/>
                  </a:lnTo>
                  <a:lnTo>
                    <a:pt x="244" y="519"/>
                  </a:lnTo>
                  <a:lnTo>
                    <a:pt x="226" y="487"/>
                  </a:lnTo>
                  <a:lnTo>
                    <a:pt x="208" y="453"/>
                  </a:lnTo>
                  <a:lnTo>
                    <a:pt x="192" y="419"/>
                  </a:lnTo>
                  <a:lnTo>
                    <a:pt x="178" y="383"/>
                  </a:lnTo>
                  <a:lnTo>
                    <a:pt x="164" y="346"/>
                  </a:lnTo>
                  <a:lnTo>
                    <a:pt x="152" y="308"/>
                  </a:lnTo>
                  <a:lnTo>
                    <a:pt x="152" y="308"/>
                  </a:lnTo>
                  <a:lnTo>
                    <a:pt x="170" y="348"/>
                  </a:lnTo>
                  <a:lnTo>
                    <a:pt x="188" y="389"/>
                  </a:lnTo>
                  <a:lnTo>
                    <a:pt x="206" y="425"/>
                  </a:lnTo>
                  <a:lnTo>
                    <a:pt x="224" y="459"/>
                  </a:lnTo>
                  <a:lnTo>
                    <a:pt x="246" y="491"/>
                  </a:lnTo>
                  <a:lnTo>
                    <a:pt x="258" y="505"/>
                  </a:lnTo>
                  <a:lnTo>
                    <a:pt x="270" y="521"/>
                  </a:lnTo>
                  <a:lnTo>
                    <a:pt x="284" y="535"/>
                  </a:lnTo>
                  <a:lnTo>
                    <a:pt x="300" y="547"/>
                  </a:lnTo>
                  <a:lnTo>
                    <a:pt x="318" y="561"/>
                  </a:lnTo>
                  <a:lnTo>
                    <a:pt x="338" y="573"/>
                  </a:lnTo>
                  <a:lnTo>
                    <a:pt x="338" y="573"/>
                  </a:lnTo>
                  <a:lnTo>
                    <a:pt x="356" y="581"/>
                  </a:lnTo>
                  <a:lnTo>
                    <a:pt x="372" y="587"/>
                  </a:lnTo>
                  <a:lnTo>
                    <a:pt x="372" y="587"/>
                  </a:lnTo>
                  <a:lnTo>
                    <a:pt x="376" y="557"/>
                  </a:lnTo>
                  <a:lnTo>
                    <a:pt x="380" y="521"/>
                  </a:lnTo>
                  <a:lnTo>
                    <a:pt x="382" y="481"/>
                  </a:lnTo>
                  <a:lnTo>
                    <a:pt x="380" y="443"/>
                  </a:lnTo>
                  <a:lnTo>
                    <a:pt x="380" y="443"/>
                  </a:lnTo>
                  <a:lnTo>
                    <a:pt x="378" y="421"/>
                  </a:lnTo>
                  <a:lnTo>
                    <a:pt x="376" y="403"/>
                  </a:lnTo>
                  <a:lnTo>
                    <a:pt x="372" y="383"/>
                  </a:lnTo>
                  <a:lnTo>
                    <a:pt x="366" y="365"/>
                  </a:lnTo>
                  <a:lnTo>
                    <a:pt x="352" y="332"/>
                  </a:lnTo>
                  <a:lnTo>
                    <a:pt x="336" y="302"/>
                  </a:lnTo>
                  <a:lnTo>
                    <a:pt x="316" y="274"/>
                  </a:lnTo>
                  <a:lnTo>
                    <a:pt x="292" y="248"/>
                  </a:lnTo>
                  <a:lnTo>
                    <a:pt x="266" y="224"/>
                  </a:lnTo>
                  <a:lnTo>
                    <a:pt x="240" y="200"/>
                  </a:lnTo>
                  <a:lnTo>
                    <a:pt x="182" y="156"/>
                  </a:lnTo>
                  <a:lnTo>
                    <a:pt x="120" y="110"/>
                  </a:lnTo>
                  <a:lnTo>
                    <a:pt x="88" y="86"/>
                  </a:lnTo>
                  <a:lnTo>
                    <a:pt x="58" y="60"/>
                  </a:lnTo>
                  <a:lnTo>
                    <a:pt x="28" y="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66" name="Freeform 69">
              <a:extLst>
                <a:ext uri="{FF2B5EF4-FFF2-40B4-BE49-F238E27FC236}">
                  <a16:creationId xmlns:a16="http://schemas.microsoft.com/office/drawing/2014/main" id="{9C565A09-BE79-406A-A219-0A43AAFFC799}"/>
                </a:ext>
              </a:extLst>
            </p:cNvPr>
            <p:cNvSpPr>
              <a:spLocks/>
            </p:cNvSpPr>
            <p:nvPr/>
          </p:nvSpPr>
          <p:spPr bwMode="auto">
            <a:xfrm>
              <a:off x="3528" y="2920"/>
              <a:ext cx="272" cy="401"/>
            </a:xfrm>
            <a:custGeom>
              <a:avLst/>
              <a:gdLst>
                <a:gd name="T0" fmla="*/ 166 w 272"/>
                <a:gd name="T1" fmla="*/ 97 h 401"/>
                <a:gd name="T2" fmla="*/ 0 w 272"/>
                <a:gd name="T3" fmla="*/ 0 h 401"/>
                <a:gd name="T4" fmla="*/ 0 w 272"/>
                <a:gd name="T5" fmla="*/ 0 h 401"/>
                <a:gd name="T6" fmla="*/ 12 w 272"/>
                <a:gd name="T7" fmla="*/ 26 h 401"/>
                <a:gd name="T8" fmla="*/ 22 w 272"/>
                <a:gd name="T9" fmla="*/ 54 h 401"/>
                <a:gd name="T10" fmla="*/ 30 w 272"/>
                <a:gd name="T11" fmla="*/ 81 h 401"/>
                <a:gd name="T12" fmla="*/ 38 w 272"/>
                <a:gd name="T13" fmla="*/ 107 h 401"/>
                <a:gd name="T14" fmla="*/ 48 w 272"/>
                <a:gd name="T15" fmla="*/ 159 h 401"/>
                <a:gd name="T16" fmla="*/ 60 w 272"/>
                <a:gd name="T17" fmla="*/ 207 h 401"/>
                <a:gd name="T18" fmla="*/ 68 w 272"/>
                <a:gd name="T19" fmla="*/ 231 h 401"/>
                <a:gd name="T20" fmla="*/ 76 w 272"/>
                <a:gd name="T21" fmla="*/ 253 h 401"/>
                <a:gd name="T22" fmla="*/ 86 w 272"/>
                <a:gd name="T23" fmla="*/ 275 h 401"/>
                <a:gd name="T24" fmla="*/ 100 w 272"/>
                <a:gd name="T25" fmla="*/ 297 h 401"/>
                <a:gd name="T26" fmla="*/ 114 w 272"/>
                <a:gd name="T27" fmla="*/ 317 h 401"/>
                <a:gd name="T28" fmla="*/ 132 w 272"/>
                <a:gd name="T29" fmla="*/ 335 h 401"/>
                <a:gd name="T30" fmla="*/ 154 w 272"/>
                <a:gd name="T31" fmla="*/ 353 h 401"/>
                <a:gd name="T32" fmla="*/ 180 w 272"/>
                <a:gd name="T33" fmla="*/ 371 h 401"/>
                <a:gd name="T34" fmla="*/ 180 w 272"/>
                <a:gd name="T35" fmla="*/ 371 h 401"/>
                <a:gd name="T36" fmla="*/ 214 w 272"/>
                <a:gd name="T37" fmla="*/ 389 h 401"/>
                <a:gd name="T38" fmla="*/ 244 w 272"/>
                <a:gd name="T39" fmla="*/ 401 h 401"/>
                <a:gd name="T40" fmla="*/ 244 w 272"/>
                <a:gd name="T41" fmla="*/ 401 h 401"/>
                <a:gd name="T42" fmla="*/ 238 w 272"/>
                <a:gd name="T43" fmla="*/ 371 h 401"/>
                <a:gd name="T44" fmla="*/ 232 w 272"/>
                <a:gd name="T45" fmla="*/ 345 h 401"/>
                <a:gd name="T46" fmla="*/ 220 w 272"/>
                <a:gd name="T47" fmla="*/ 321 h 401"/>
                <a:gd name="T48" fmla="*/ 208 w 272"/>
                <a:gd name="T49" fmla="*/ 299 h 401"/>
                <a:gd name="T50" fmla="*/ 192 w 272"/>
                <a:gd name="T51" fmla="*/ 279 h 401"/>
                <a:gd name="T52" fmla="*/ 176 w 272"/>
                <a:gd name="T53" fmla="*/ 257 h 401"/>
                <a:gd name="T54" fmla="*/ 138 w 272"/>
                <a:gd name="T55" fmla="*/ 211 h 401"/>
                <a:gd name="T56" fmla="*/ 138 w 272"/>
                <a:gd name="T57" fmla="*/ 211 h 401"/>
                <a:gd name="T58" fmla="*/ 162 w 272"/>
                <a:gd name="T59" fmla="*/ 235 h 401"/>
                <a:gd name="T60" fmla="*/ 182 w 272"/>
                <a:gd name="T61" fmla="*/ 255 h 401"/>
                <a:gd name="T62" fmla="*/ 200 w 272"/>
                <a:gd name="T63" fmla="*/ 277 h 401"/>
                <a:gd name="T64" fmla="*/ 216 w 272"/>
                <a:gd name="T65" fmla="*/ 299 h 401"/>
                <a:gd name="T66" fmla="*/ 230 w 272"/>
                <a:gd name="T67" fmla="*/ 321 h 401"/>
                <a:gd name="T68" fmla="*/ 244 w 272"/>
                <a:gd name="T69" fmla="*/ 345 h 401"/>
                <a:gd name="T70" fmla="*/ 256 w 272"/>
                <a:gd name="T71" fmla="*/ 371 h 401"/>
                <a:gd name="T72" fmla="*/ 268 w 272"/>
                <a:gd name="T73" fmla="*/ 399 h 401"/>
                <a:gd name="T74" fmla="*/ 268 w 272"/>
                <a:gd name="T75" fmla="*/ 399 h 401"/>
                <a:gd name="T76" fmla="*/ 270 w 272"/>
                <a:gd name="T77" fmla="*/ 353 h 401"/>
                <a:gd name="T78" fmla="*/ 272 w 272"/>
                <a:gd name="T79" fmla="*/ 311 h 401"/>
                <a:gd name="T80" fmla="*/ 270 w 272"/>
                <a:gd name="T81" fmla="*/ 269 h 401"/>
                <a:gd name="T82" fmla="*/ 268 w 272"/>
                <a:gd name="T83" fmla="*/ 249 h 401"/>
                <a:gd name="T84" fmla="*/ 266 w 272"/>
                <a:gd name="T85" fmla="*/ 229 h 401"/>
                <a:gd name="T86" fmla="*/ 260 w 272"/>
                <a:gd name="T87" fmla="*/ 211 h 401"/>
                <a:gd name="T88" fmla="*/ 254 w 272"/>
                <a:gd name="T89" fmla="*/ 193 h 401"/>
                <a:gd name="T90" fmla="*/ 246 w 272"/>
                <a:gd name="T91" fmla="*/ 175 h 401"/>
                <a:gd name="T92" fmla="*/ 234 w 272"/>
                <a:gd name="T93" fmla="*/ 157 h 401"/>
                <a:gd name="T94" fmla="*/ 222 w 272"/>
                <a:gd name="T95" fmla="*/ 141 h 401"/>
                <a:gd name="T96" fmla="*/ 206 w 272"/>
                <a:gd name="T97" fmla="*/ 127 h 401"/>
                <a:gd name="T98" fmla="*/ 186 w 272"/>
                <a:gd name="T99" fmla="*/ 111 h 401"/>
                <a:gd name="T100" fmla="*/ 166 w 272"/>
                <a:gd name="T101" fmla="*/ 97 h 401"/>
                <a:gd name="T102" fmla="*/ 166 w 272"/>
                <a:gd name="T103" fmla="*/ 97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2" h="401">
                  <a:moveTo>
                    <a:pt x="166" y="97"/>
                  </a:moveTo>
                  <a:lnTo>
                    <a:pt x="0" y="0"/>
                  </a:lnTo>
                  <a:lnTo>
                    <a:pt x="0" y="0"/>
                  </a:lnTo>
                  <a:lnTo>
                    <a:pt x="12" y="26"/>
                  </a:lnTo>
                  <a:lnTo>
                    <a:pt x="22" y="54"/>
                  </a:lnTo>
                  <a:lnTo>
                    <a:pt x="30" y="81"/>
                  </a:lnTo>
                  <a:lnTo>
                    <a:pt x="38" y="107"/>
                  </a:lnTo>
                  <a:lnTo>
                    <a:pt x="48" y="159"/>
                  </a:lnTo>
                  <a:lnTo>
                    <a:pt x="60" y="207"/>
                  </a:lnTo>
                  <a:lnTo>
                    <a:pt x="68" y="231"/>
                  </a:lnTo>
                  <a:lnTo>
                    <a:pt x="76" y="253"/>
                  </a:lnTo>
                  <a:lnTo>
                    <a:pt x="86" y="275"/>
                  </a:lnTo>
                  <a:lnTo>
                    <a:pt x="100" y="297"/>
                  </a:lnTo>
                  <a:lnTo>
                    <a:pt x="114" y="317"/>
                  </a:lnTo>
                  <a:lnTo>
                    <a:pt x="132" y="335"/>
                  </a:lnTo>
                  <a:lnTo>
                    <a:pt x="154" y="353"/>
                  </a:lnTo>
                  <a:lnTo>
                    <a:pt x="180" y="371"/>
                  </a:lnTo>
                  <a:lnTo>
                    <a:pt x="180" y="371"/>
                  </a:lnTo>
                  <a:lnTo>
                    <a:pt x="214" y="389"/>
                  </a:lnTo>
                  <a:lnTo>
                    <a:pt x="244" y="401"/>
                  </a:lnTo>
                  <a:lnTo>
                    <a:pt x="244" y="401"/>
                  </a:lnTo>
                  <a:lnTo>
                    <a:pt x="238" y="371"/>
                  </a:lnTo>
                  <a:lnTo>
                    <a:pt x="232" y="345"/>
                  </a:lnTo>
                  <a:lnTo>
                    <a:pt x="220" y="321"/>
                  </a:lnTo>
                  <a:lnTo>
                    <a:pt x="208" y="299"/>
                  </a:lnTo>
                  <a:lnTo>
                    <a:pt x="192" y="279"/>
                  </a:lnTo>
                  <a:lnTo>
                    <a:pt x="176" y="257"/>
                  </a:lnTo>
                  <a:lnTo>
                    <a:pt x="138" y="211"/>
                  </a:lnTo>
                  <a:lnTo>
                    <a:pt x="138" y="211"/>
                  </a:lnTo>
                  <a:lnTo>
                    <a:pt x="162" y="235"/>
                  </a:lnTo>
                  <a:lnTo>
                    <a:pt x="182" y="255"/>
                  </a:lnTo>
                  <a:lnTo>
                    <a:pt x="200" y="277"/>
                  </a:lnTo>
                  <a:lnTo>
                    <a:pt x="216" y="299"/>
                  </a:lnTo>
                  <a:lnTo>
                    <a:pt x="230" y="321"/>
                  </a:lnTo>
                  <a:lnTo>
                    <a:pt x="244" y="345"/>
                  </a:lnTo>
                  <a:lnTo>
                    <a:pt x="256" y="371"/>
                  </a:lnTo>
                  <a:lnTo>
                    <a:pt x="268" y="399"/>
                  </a:lnTo>
                  <a:lnTo>
                    <a:pt x="268" y="399"/>
                  </a:lnTo>
                  <a:lnTo>
                    <a:pt x="270" y="353"/>
                  </a:lnTo>
                  <a:lnTo>
                    <a:pt x="272" y="311"/>
                  </a:lnTo>
                  <a:lnTo>
                    <a:pt x="270" y="269"/>
                  </a:lnTo>
                  <a:lnTo>
                    <a:pt x="268" y="249"/>
                  </a:lnTo>
                  <a:lnTo>
                    <a:pt x="266" y="229"/>
                  </a:lnTo>
                  <a:lnTo>
                    <a:pt x="260" y="211"/>
                  </a:lnTo>
                  <a:lnTo>
                    <a:pt x="254" y="193"/>
                  </a:lnTo>
                  <a:lnTo>
                    <a:pt x="246" y="175"/>
                  </a:lnTo>
                  <a:lnTo>
                    <a:pt x="234" y="157"/>
                  </a:lnTo>
                  <a:lnTo>
                    <a:pt x="222" y="141"/>
                  </a:lnTo>
                  <a:lnTo>
                    <a:pt x="206" y="127"/>
                  </a:lnTo>
                  <a:lnTo>
                    <a:pt x="186" y="111"/>
                  </a:lnTo>
                  <a:lnTo>
                    <a:pt x="166" y="97"/>
                  </a:lnTo>
                  <a:lnTo>
                    <a:pt x="166"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67" name="Freeform 70">
              <a:extLst>
                <a:ext uri="{FF2B5EF4-FFF2-40B4-BE49-F238E27FC236}">
                  <a16:creationId xmlns:a16="http://schemas.microsoft.com/office/drawing/2014/main" id="{5F185F42-72D1-4CA3-8F0A-19367CB2EC10}"/>
                </a:ext>
              </a:extLst>
            </p:cNvPr>
            <p:cNvSpPr>
              <a:spLocks/>
            </p:cNvSpPr>
            <p:nvPr/>
          </p:nvSpPr>
          <p:spPr bwMode="auto">
            <a:xfrm>
              <a:off x="3424" y="3305"/>
              <a:ext cx="312" cy="122"/>
            </a:xfrm>
            <a:custGeom>
              <a:avLst/>
              <a:gdLst>
                <a:gd name="T0" fmla="*/ 270 w 312"/>
                <a:gd name="T1" fmla="*/ 100 h 122"/>
                <a:gd name="T2" fmla="*/ 270 w 312"/>
                <a:gd name="T3" fmla="*/ 100 h 122"/>
                <a:gd name="T4" fmla="*/ 294 w 312"/>
                <a:gd name="T5" fmla="*/ 84 h 122"/>
                <a:gd name="T6" fmla="*/ 312 w 312"/>
                <a:gd name="T7" fmla="*/ 70 h 122"/>
                <a:gd name="T8" fmla="*/ 312 w 312"/>
                <a:gd name="T9" fmla="*/ 70 h 122"/>
                <a:gd name="T10" fmla="*/ 292 w 312"/>
                <a:gd name="T11" fmla="*/ 66 h 122"/>
                <a:gd name="T12" fmla="*/ 274 w 312"/>
                <a:gd name="T13" fmla="*/ 62 h 122"/>
                <a:gd name="T14" fmla="*/ 234 w 312"/>
                <a:gd name="T15" fmla="*/ 56 h 122"/>
                <a:gd name="T16" fmla="*/ 196 w 312"/>
                <a:gd name="T17" fmla="*/ 56 h 122"/>
                <a:gd name="T18" fmla="*/ 156 w 312"/>
                <a:gd name="T19" fmla="*/ 56 h 122"/>
                <a:gd name="T20" fmla="*/ 156 w 312"/>
                <a:gd name="T21" fmla="*/ 56 h 122"/>
                <a:gd name="T22" fmla="*/ 168 w 312"/>
                <a:gd name="T23" fmla="*/ 54 h 122"/>
                <a:gd name="T24" fmla="*/ 206 w 312"/>
                <a:gd name="T25" fmla="*/ 52 h 122"/>
                <a:gd name="T26" fmla="*/ 206 w 312"/>
                <a:gd name="T27" fmla="*/ 52 h 122"/>
                <a:gd name="T28" fmla="*/ 234 w 312"/>
                <a:gd name="T29" fmla="*/ 48 h 122"/>
                <a:gd name="T30" fmla="*/ 260 w 312"/>
                <a:gd name="T31" fmla="*/ 48 h 122"/>
                <a:gd name="T32" fmla="*/ 284 w 312"/>
                <a:gd name="T33" fmla="*/ 50 h 122"/>
                <a:gd name="T34" fmla="*/ 310 w 312"/>
                <a:gd name="T35" fmla="*/ 56 h 122"/>
                <a:gd name="T36" fmla="*/ 310 w 312"/>
                <a:gd name="T37" fmla="*/ 56 h 122"/>
                <a:gd name="T38" fmla="*/ 262 w 312"/>
                <a:gd name="T39" fmla="*/ 26 h 122"/>
                <a:gd name="T40" fmla="*/ 238 w 312"/>
                <a:gd name="T41" fmla="*/ 14 h 122"/>
                <a:gd name="T42" fmla="*/ 214 w 312"/>
                <a:gd name="T43" fmla="*/ 4 h 122"/>
                <a:gd name="T44" fmla="*/ 202 w 312"/>
                <a:gd name="T45" fmla="*/ 2 h 122"/>
                <a:gd name="T46" fmla="*/ 190 w 312"/>
                <a:gd name="T47" fmla="*/ 0 h 122"/>
                <a:gd name="T48" fmla="*/ 176 w 312"/>
                <a:gd name="T49" fmla="*/ 0 h 122"/>
                <a:gd name="T50" fmla="*/ 164 w 312"/>
                <a:gd name="T51" fmla="*/ 0 h 122"/>
                <a:gd name="T52" fmla="*/ 150 w 312"/>
                <a:gd name="T53" fmla="*/ 4 h 122"/>
                <a:gd name="T54" fmla="*/ 136 w 312"/>
                <a:gd name="T55" fmla="*/ 8 h 122"/>
                <a:gd name="T56" fmla="*/ 122 w 312"/>
                <a:gd name="T57" fmla="*/ 14 h 122"/>
                <a:gd name="T58" fmla="*/ 108 w 312"/>
                <a:gd name="T59" fmla="*/ 20 h 122"/>
                <a:gd name="T60" fmla="*/ 0 w 312"/>
                <a:gd name="T61" fmla="*/ 84 h 122"/>
                <a:gd name="T62" fmla="*/ 0 w 312"/>
                <a:gd name="T63" fmla="*/ 84 h 122"/>
                <a:gd name="T64" fmla="*/ 20 w 312"/>
                <a:gd name="T65" fmla="*/ 86 h 122"/>
                <a:gd name="T66" fmla="*/ 38 w 312"/>
                <a:gd name="T67" fmla="*/ 90 h 122"/>
                <a:gd name="T68" fmla="*/ 72 w 312"/>
                <a:gd name="T69" fmla="*/ 98 h 122"/>
                <a:gd name="T70" fmla="*/ 106 w 312"/>
                <a:gd name="T71" fmla="*/ 108 h 122"/>
                <a:gd name="T72" fmla="*/ 138 w 312"/>
                <a:gd name="T73" fmla="*/ 116 h 122"/>
                <a:gd name="T74" fmla="*/ 170 w 312"/>
                <a:gd name="T75" fmla="*/ 122 h 122"/>
                <a:gd name="T76" fmla="*/ 186 w 312"/>
                <a:gd name="T77" fmla="*/ 122 h 122"/>
                <a:gd name="T78" fmla="*/ 202 w 312"/>
                <a:gd name="T79" fmla="*/ 122 h 122"/>
                <a:gd name="T80" fmla="*/ 218 w 312"/>
                <a:gd name="T81" fmla="*/ 120 h 122"/>
                <a:gd name="T82" fmla="*/ 234 w 312"/>
                <a:gd name="T83" fmla="*/ 116 h 122"/>
                <a:gd name="T84" fmla="*/ 252 w 312"/>
                <a:gd name="T85" fmla="*/ 110 h 122"/>
                <a:gd name="T86" fmla="*/ 270 w 312"/>
                <a:gd name="T87" fmla="*/ 100 h 122"/>
                <a:gd name="T88" fmla="*/ 270 w 312"/>
                <a:gd name="T89" fmla="*/ 10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2" h="122">
                  <a:moveTo>
                    <a:pt x="270" y="100"/>
                  </a:moveTo>
                  <a:lnTo>
                    <a:pt x="270" y="100"/>
                  </a:lnTo>
                  <a:lnTo>
                    <a:pt x="294" y="84"/>
                  </a:lnTo>
                  <a:lnTo>
                    <a:pt x="312" y="70"/>
                  </a:lnTo>
                  <a:lnTo>
                    <a:pt x="312" y="70"/>
                  </a:lnTo>
                  <a:lnTo>
                    <a:pt x="292" y="66"/>
                  </a:lnTo>
                  <a:lnTo>
                    <a:pt x="274" y="62"/>
                  </a:lnTo>
                  <a:lnTo>
                    <a:pt x="234" y="56"/>
                  </a:lnTo>
                  <a:lnTo>
                    <a:pt x="196" y="56"/>
                  </a:lnTo>
                  <a:lnTo>
                    <a:pt x="156" y="56"/>
                  </a:lnTo>
                  <a:lnTo>
                    <a:pt x="156" y="56"/>
                  </a:lnTo>
                  <a:lnTo>
                    <a:pt x="168" y="54"/>
                  </a:lnTo>
                  <a:lnTo>
                    <a:pt x="206" y="52"/>
                  </a:lnTo>
                  <a:lnTo>
                    <a:pt x="206" y="52"/>
                  </a:lnTo>
                  <a:lnTo>
                    <a:pt x="234" y="48"/>
                  </a:lnTo>
                  <a:lnTo>
                    <a:pt x="260" y="48"/>
                  </a:lnTo>
                  <a:lnTo>
                    <a:pt x="284" y="50"/>
                  </a:lnTo>
                  <a:lnTo>
                    <a:pt x="310" y="56"/>
                  </a:lnTo>
                  <a:lnTo>
                    <a:pt x="310" y="56"/>
                  </a:lnTo>
                  <a:lnTo>
                    <a:pt x="262" y="26"/>
                  </a:lnTo>
                  <a:lnTo>
                    <a:pt x="238" y="14"/>
                  </a:lnTo>
                  <a:lnTo>
                    <a:pt x="214" y="4"/>
                  </a:lnTo>
                  <a:lnTo>
                    <a:pt x="202" y="2"/>
                  </a:lnTo>
                  <a:lnTo>
                    <a:pt x="190" y="0"/>
                  </a:lnTo>
                  <a:lnTo>
                    <a:pt x="176" y="0"/>
                  </a:lnTo>
                  <a:lnTo>
                    <a:pt x="164" y="0"/>
                  </a:lnTo>
                  <a:lnTo>
                    <a:pt x="150" y="4"/>
                  </a:lnTo>
                  <a:lnTo>
                    <a:pt x="136" y="8"/>
                  </a:lnTo>
                  <a:lnTo>
                    <a:pt x="122" y="14"/>
                  </a:lnTo>
                  <a:lnTo>
                    <a:pt x="108" y="20"/>
                  </a:lnTo>
                  <a:lnTo>
                    <a:pt x="0" y="84"/>
                  </a:lnTo>
                  <a:lnTo>
                    <a:pt x="0" y="84"/>
                  </a:lnTo>
                  <a:lnTo>
                    <a:pt x="20" y="86"/>
                  </a:lnTo>
                  <a:lnTo>
                    <a:pt x="38" y="90"/>
                  </a:lnTo>
                  <a:lnTo>
                    <a:pt x="72" y="98"/>
                  </a:lnTo>
                  <a:lnTo>
                    <a:pt x="106" y="108"/>
                  </a:lnTo>
                  <a:lnTo>
                    <a:pt x="138" y="116"/>
                  </a:lnTo>
                  <a:lnTo>
                    <a:pt x="170" y="122"/>
                  </a:lnTo>
                  <a:lnTo>
                    <a:pt x="186" y="122"/>
                  </a:lnTo>
                  <a:lnTo>
                    <a:pt x="202" y="122"/>
                  </a:lnTo>
                  <a:lnTo>
                    <a:pt x="218" y="120"/>
                  </a:lnTo>
                  <a:lnTo>
                    <a:pt x="234" y="116"/>
                  </a:lnTo>
                  <a:lnTo>
                    <a:pt x="252" y="110"/>
                  </a:lnTo>
                  <a:lnTo>
                    <a:pt x="270" y="100"/>
                  </a:lnTo>
                  <a:lnTo>
                    <a:pt x="270"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68" name="Freeform 71">
              <a:extLst>
                <a:ext uri="{FF2B5EF4-FFF2-40B4-BE49-F238E27FC236}">
                  <a16:creationId xmlns:a16="http://schemas.microsoft.com/office/drawing/2014/main" id="{96A067BC-C292-4980-82B6-93DD9F3F1581}"/>
                </a:ext>
              </a:extLst>
            </p:cNvPr>
            <p:cNvSpPr>
              <a:spLocks/>
            </p:cNvSpPr>
            <p:nvPr/>
          </p:nvSpPr>
          <p:spPr bwMode="auto">
            <a:xfrm>
              <a:off x="3780" y="3413"/>
              <a:ext cx="4" cy="2"/>
            </a:xfrm>
            <a:custGeom>
              <a:avLst/>
              <a:gdLst>
                <a:gd name="T0" fmla="*/ 0 w 4"/>
                <a:gd name="T1" fmla="*/ 0 h 2"/>
                <a:gd name="T2" fmla="*/ 0 w 4"/>
                <a:gd name="T3" fmla="*/ 0 h 2"/>
                <a:gd name="T4" fmla="*/ 0 w 4"/>
                <a:gd name="T5" fmla="*/ 2 h 2"/>
                <a:gd name="T6" fmla="*/ 0 w 4"/>
                <a:gd name="T7" fmla="*/ 2 h 2"/>
                <a:gd name="T8" fmla="*/ 4 w 4"/>
                <a:gd name="T9" fmla="*/ 0 h 2"/>
                <a:gd name="T10" fmla="*/ 0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0" y="0"/>
                  </a:moveTo>
                  <a:lnTo>
                    <a:pt x="0" y="0"/>
                  </a:lnTo>
                  <a:lnTo>
                    <a:pt x="0" y="2"/>
                  </a:lnTo>
                  <a:lnTo>
                    <a:pt x="0" y="2"/>
                  </a:lnTo>
                  <a:lnTo>
                    <a:pt x="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69" name="Freeform 72">
              <a:extLst>
                <a:ext uri="{FF2B5EF4-FFF2-40B4-BE49-F238E27FC236}">
                  <a16:creationId xmlns:a16="http://schemas.microsoft.com/office/drawing/2014/main" id="{0A199077-CC46-422A-B074-8B3AC8326764}"/>
                </a:ext>
              </a:extLst>
            </p:cNvPr>
            <p:cNvSpPr>
              <a:spLocks/>
            </p:cNvSpPr>
            <p:nvPr/>
          </p:nvSpPr>
          <p:spPr bwMode="auto">
            <a:xfrm>
              <a:off x="3500" y="3415"/>
              <a:ext cx="286" cy="390"/>
            </a:xfrm>
            <a:custGeom>
              <a:avLst/>
              <a:gdLst>
                <a:gd name="T0" fmla="*/ 108 w 286"/>
                <a:gd name="T1" fmla="*/ 202 h 390"/>
                <a:gd name="T2" fmla="*/ 108 w 286"/>
                <a:gd name="T3" fmla="*/ 202 h 390"/>
                <a:gd name="T4" fmla="*/ 116 w 286"/>
                <a:gd name="T5" fmla="*/ 184 h 390"/>
                <a:gd name="T6" fmla="*/ 142 w 286"/>
                <a:gd name="T7" fmla="*/ 134 h 390"/>
                <a:gd name="T8" fmla="*/ 142 w 286"/>
                <a:gd name="T9" fmla="*/ 134 h 390"/>
                <a:gd name="T10" fmla="*/ 162 w 286"/>
                <a:gd name="T11" fmla="*/ 100 h 390"/>
                <a:gd name="T12" fmla="*/ 182 w 286"/>
                <a:gd name="T13" fmla="*/ 68 h 390"/>
                <a:gd name="T14" fmla="*/ 202 w 286"/>
                <a:gd name="T15" fmla="*/ 40 h 390"/>
                <a:gd name="T16" fmla="*/ 214 w 286"/>
                <a:gd name="T17" fmla="*/ 28 h 390"/>
                <a:gd name="T18" fmla="*/ 228 w 286"/>
                <a:gd name="T19" fmla="*/ 14 h 390"/>
                <a:gd name="T20" fmla="*/ 228 w 286"/>
                <a:gd name="T21" fmla="*/ 14 h 390"/>
                <a:gd name="T22" fmla="*/ 192 w 286"/>
                <a:gd name="T23" fmla="*/ 26 h 390"/>
                <a:gd name="T24" fmla="*/ 158 w 286"/>
                <a:gd name="T25" fmla="*/ 40 h 390"/>
                <a:gd name="T26" fmla="*/ 128 w 286"/>
                <a:gd name="T27" fmla="*/ 56 h 390"/>
                <a:gd name="T28" fmla="*/ 114 w 286"/>
                <a:gd name="T29" fmla="*/ 66 h 390"/>
                <a:gd name="T30" fmla="*/ 102 w 286"/>
                <a:gd name="T31" fmla="*/ 76 h 390"/>
                <a:gd name="T32" fmla="*/ 88 w 286"/>
                <a:gd name="T33" fmla="*/ 86 h 390"/>
                <a:gd name="T34" fmla="*/ 78 w 286"/>
                <a:gd name="T35" fmla="*/ 98 h 390"/>
                <a:gd name="T36" fmla="*/ 66 w 286"/>
                <a:gd name="T37" fmla="*/ 112 h 390"/>
                <a:gd name="T38" fmla="*/ 58 w 286"/>
                <a:gd name="T39" fmla="*/ 126 h 390"/>
                <a:gd name="T40" fmla="*/ 50 w 286"/>
                <a:gd name="T41" fmla="*/ 142 h 390"/>
                <a:gd name="T42" fmla="*/ 42 w 286"/>
                <a:gd name="T43" fmla="*/ 160 h 390"/>
                <a:gd name="T44" fmla="*/ 36 w 286"/>
                <a:gd name="T45" fmla="*/ 180 h 390"/>
                <a:gd name="T46" fmla="*/ 32 w 286"/>
                <a:gd name="T47" fmla="*/ 202 h 390"/>
                <a:gd name="T48" fmla="*/ 0 w 286"/>
                <a:gd name="T49" fmla="*/ 390 h 390"/>
                <a:gd name="T50" fmla="*/ 0 w 286"/>
                <a:gd name="T51" fmla="*/ 390 h 390"/>
                <a:gd name="T52" fmla="*/ 22 w 286"/>
                <a:gd name="T53" fmla="*/ 370 h 390"/>
                <a:gd name="T54" fmla="*/ 44 w 286"/>
                <a:gd name="T55" fmla="*/ 352 h 390"/>
                <a:gd name="T56" fmla="*/ 66 w 286"/>
                <a:gd name="T57" fmla="*/ 334 h 390"/>
                <a:gd name="T58" fmla="*/ 86 w 286"/>
                <a:gd name="T59" fmla="*/ 318 h 390"/>
                <a:gd name="T60" fmla="*/ 130 w 286"/>
                <a:gd name="T61" fmla="*/ 290 h 390"/>
                <a:gd name="T62" fmla="*/ 172 w 286"/>
                <a:gd name="T63" fmla="*/ 260 h 390"/>
                <a:gd name="T64" fmla="*/ 192 w 286"/>
                <a:gd name="T65" fmla="*/ 246 h 390"/>
                <a:gd name="T66" fmla="*/ 210 w 286"/>
                <a:gd name="T67" fmla="*/ 230 h 390"/>
                <a:gd name="T68" fmla="*/ 226 w 286"/>
                <a:gd name="T69" fmla="*/ 212 h 390"/>
                <a:gd name="T70" fmla="*/ 242 w 286"/>
                <a:gd name="T71" fmla="*/ 192 h 390"/>
                <a:gd name="T72" fmla="*/ 254 w 286"/>
                <a:gd name="T73" fmla="*/ 172 h 390"/>
                <a:gd name="T74" fmla="*/ 266 w 286"/>
                <a:gd name="T75" fmla="*/ 148 h 390"/>
                <a:gd name="T76" fmla="*/ 274 w 286"/>
                <a:gd name="T77" fmla="*/ 122 h 390"/>
                <a:gd name="T78" fmla="*/ 282 w 286"/>
                <a:gd name="T79" fmla="*/ 92 h 390"/>
                <a:gd name="T80" fmla="*/ 282 w 286"/>
                <a:gd name="T81" fmla="*/ 92 h 390"/>
                <a:gd name="T82" fmla="*/ 286 w 286"/>
                <a:gd name="T83" fmla="*/ 58 h 390"/>
                <a:gd name="T84" fmla="*/ 284 w 286"/>
                <a:gd name="T85" fmla="*/ 30 h 390"/>
                <a:gd name="T86" fmla="*/ 284 w 286"/>
                <a:gd name="T87" fmla="*/ 12 h 390"/>
                <a:gd name="T88" fmla="*/ 280 w 286"/>
                <a:gd name="T89" fmla="*/ 0 h 390"/>
                <a:gd name="T90" fmla="*/ 280 w 286"/>
                <a:gd name="T91" fmla="*/ 0 h 390"/>
                <a:gd name="T92" fmla="*/ 254 w 286"/>
                <a:gd name="T93" fmla="*/ 20 h 390"/>
                <a:gd name="T94" fmla="*/ 230 w 286"/>
                <a:gd name="T95" fmla="*/ 42 h 390"/>
                <a:gd name="T96" fmla="*/ 206 w 286"/>
                <a:gd name="T97" fmla="*/ 66 h 390"/>
                <a:gd name="T98" fmla="*/ 184 w 286"/>
                <a:gd name="T99" fmla="*/ 92 h 390"/>
                <a:gd name="T100" fmla="*/ 162 w 286"/>
                <a:gd name="T101" fmla="*/ 118 h 390"/>
                <a:gd name="T102" fmla="*/ 144 w 286"/>
                <a:gd name="T103" fmla="*/ 146 h 390"/>
                <a:gd name="T104" fmla="*/ 124 w 286"/>
                <a:gd name="T105" fmla="*/ 174 h 390"/>
                <a:gd name="T106" fmla="*/ 108 w 286"/>
                <a:gd name="T107" fmla="*/ 202 h 390"/>
                <a:gd name="T108" fmla="*/ 108 w 286"/>
                <a:gd name="T109" fmla="*/ 20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6" h="390">
                  <a:moveTo>
                    <a:pt x="108" y="202"/>
                  </a:moveTo>
                  <a:lnTo>
                    <a:pt x="108" y="202"/>
                  </a:lnTo>
                  <a:lnTo>
                    <a:pt x="116" y="184"/>
                  </a:lnTo>
                  <a:lnTo>
                    <a:pt x="142" y="134"/>
                  </a:lnTo>
                  <a:lnTo>
                    <a:pt x="142" y="134"/>
                  </a:lnTo>
                  <a:lnTo>
                    <a:pt x="162" y="100"/>
                  </a:lnTo>
                  <a:lnTo>
                    <a:pt x="182" y="68"/>
                  </a:lnTo>
                  <a:lnTo>
                    <a:pt x="202" y="40"/>
                  </a:lnTo>
                  <a:lnTo>
                    <a:pt x="214" y="28"/>
                  </a:lnTo>
                  <a:lnTo>
                    <a:pt x="228" y="14"/>
                  </a:lnTo>
                  <a:lnTo>
                    <a:pt x="228" y="14"/>
                  </a:lnTo>
                  <a:lnTo>
                    <a:pt x="192" y="26"/>
                  </a:lnTo>
                  <a:lnTo>
                    <a:pt x="158" y="40"/>
                  </a:lnTo>
                  <a:lnTo>
                    <a:pt x="128" y="56"/>
                  </a:lnTo>
                  <a:lnTo>
                    <a:pt x="114" y="66"/>
                  </a:lnTo>
                  <a:lnTo>
                    <a:pt x="102" y="76"/>
                  </a:lnTo>
                  <a:lnTo>
                    <a:pt x="88" y="86"/>
                  </a:lnTo>
                  <a:lnTo>
                    <a:pt x="78" y="98"/>
                  </a:lnTo>
                  <a:lnTo>
                    <a:pt x="66" y="112"/>
                  </a:lnTo>
                  <a:lnTo>
                    <a:pt x="58" y="126"/>
                  </a:lnTo>
                  <a:lnTo>
                    <a:pt x="50" y="142"/>
                  </a:lnTo>
                  <a:lnTo>
                    <a:pt x="42" y="160"/>
                  </a:lnTo>
                  <a:lnTo>
                    <a:pt x="36" y="180"/>
                  </a:lnTo>
                  <a:lnTo>
                    <a:pt x="32" y="202"/>
                  </a:lnTo>
                  <a:lnTo>
                    <a:pt x="0" y="390"/>
                  </a:lnTo>
                  <a:lnTo>
                    <a:pt x="0" y="390"/>
                  </a:lnTo>
                  <a:lnTo>
                    <a:pt x="22" y="370"/>
                  </a:lnTo>
                  <a:lnTo>
                    <a:pt x="44" y="352"/>
                  </a:lnTo>
                  <a:lnTo>
                    <a:pt x="66" y="334"/>
                  </a:lnTo>
                  <a:lnTo>
                    <a:pt x="86" y="318"/>
                  </a:lnTo>
                  <a:lnTo>
                    <a:pt x="130" y="290"/>
                  </a:lnTo>
                  <a:lnTo>
                    <a:pt x="172" y="260"/>
                  </a:lnTo>
                  <a:lnTo>
                    <a:pt x="192" y="246"/>
                  </a:lnTo>
                  <a:lnTo>
                    <a:pt x="210" y="230"/>
                  </a:lnTo>
                  <a:lnTo>
                    <a:pt x="226" y="212"/>
                  </a:lnTo>
                  <a:lnTo>
                    <a:pt x="242" y="192"/>
                  </a:lnTo>
                  <a:lnTo>
                    <a:pt x="254" y="172"/>
                  </a:lnTo>
                  <a:lnTo>
                    <a:pt x="266" y="148"/>
                  </a:lnTo>
                  <a:lnTo>
                    <a:pt x="274" y="122"/>
                  </a:lnTo>
                  <a:lnTo>
                    <a:pt x="282" y="92"/>
                  </a:lnTo>
                  <a:lnTo>
                    <a:pt x="282" y="92"/>
                  </a:lnTo>
                  <a:lnTo>
                    <a:pt x="286" y="58"/>
                  </a:lnTo>
                  <a:lnTo>
                    <a:pt x="284" y="30"/>
                  </a:lnTo>
                  <a:lnTo>
                    <a:pt x="284" y="12"/>
                  </a:lnTo>
                  <a:lnTo>
                    <a:pt x="280" y="0"/>
                  </a:lnTo>
                  <a:lnTo>
                    <a:pt x="280" y="0"/>
                  </a:lnTo>
                  <a:lnTo>
                    <a:pt x="254" y="20"/>
                  </a:lnTo>
                  <a:lnTo>
                    <a:pt x="230" y="42"/>
                  </a:lnTo>
                  <a:lnTo>
                    <a:pt x="206" y="66"/>
                  </a:lnTo>
                  <a:lnTo>
                    <a:pt x="184" y="92"/>
                  </a:lnTo>
                  <a:lnTo>
                    <a:pt x="162" y="118"/>
                  </a:lnTo>
                  <a:lnTo>
                    <a:pt x="144" y="146"/>
                  </a:lnTo>
                  <a:lnTo>
                    <a:pt x="124" y="174"/>
                  </a:lnTo>
                  <a:lnTo>
                    <a:pt x="108" y="202"/>
                  </a:lnTo>
                  <a:lnTo>
                    <a:pt x="108"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70" name="Freeform 73">
              <a:extLst>
                <a:ext uri="{FF2B5EF4-FFF2-40B4-BE49-F238E27FC236}">
                  <a16:creationId xmlns:a16="http://schemas.microsoft.com/office/drawing/2014/main" id="{E3C6C398-A144-401D-89C2-B2138259E163}"/>
                </a:ext>
              </a:extLst>
            </p:cNvPr>
            <p:cNvSpPr>
              <a:spLocks/>
            </p:cNvSpPr>
            <p:nvPr/>
          </p:nvSpPr>
          <p:spPr bwMode="auto">
            <a:xfrm>
              <a:off x="2403" y="1091"/>
              <a:ext cx="480" cy="238"/>
            </a:xfrm>
            <a:custGeom>
              <a:avLst/>
              <a:gdLst>
                <a:gd name="T0" fmla="*/ 274 w 480"/>
                <a:gd name="T1" fmla="*/ 0 h 238"/>
                <a:gd name="T2" fmla="*/ 274 w 480"/>
                <a:gd name="T3" fmla="*/ 0 h 238"/>
                <a:gd name="T4" fmla="*/ 240 w 480"/>
                <a:gd name="T5" fmla="*/ 0 h 238"/>
                <a:gd name="T6" fmla="*/ 208 w 480"/>
                <a:gd name="T7" fmla="*/ 6 h 238"/>
                <a:gd name="T8" fmla="*/ 180 w 480"/>
                <a:gd name="T9" fmla="*/ 14 h 238"/>
                <a:gd name="T10" fmla="*/ 154 w 480"/>
                <a:gd name="T11" fmla="*/ 24 h 238"/>
                <a:gd name="T12" fmla="*/ 132 w 480"/>
                <a:gd name="T13" fmla="*/ 40 h 238"/>
                <a:gd name="T14" fmla="*/ 110 w 480"/>
                <a:gd name="T15" fmla="*/ 58 h 238"/>
                <a:gd name="T16" fmla="*/ 92 w 480"/>
                <a:gd name="T17" fmla="*/ 76 h 238"/>
                <a:gd name="T18" fmla="*/ 74 w 480"/>
                <a:gd name="T19" fmla="*/ 100 h 238"/>
                <a:gd name="T20" fmla="*/ 74 w 480"/>
                <a:gd name="T21" fmla="*/ 100 h 238"/>
                <a:gd name="T22" fmla="*/ 100 w 480"/>
                <a:gd name="T23" fmla="*/ 92 h 238"/>
                <a:gd name="T24" fmla="*/ 124 w 480"/>
                <a:gd name="T25" fmla="*/ 86 h 238"/>
                <a:gd name="T26" fmla="*/ 148 w 480"/>
                <a:gd name="T27" fmla="*/ 82 h 238"/>
                <a:gd name="T28" fmla="*/ 172 w 480"/>
                <a:gd name="T29" fmla="*/ 80 h 238"/>
                <a:gd name="T30" fmla="*/ 194 w 480"/>
                <a:gd name="T31" fmla="*/ 80 h 238"/>
                <a:gd name="T32" fmla="*/ 216 w 480"/>
                <a:gd name="T33" fmla="*/ 80 h 238"/>
                <a:gd name="T34" fmla="*/ 266 w 480"/>
                <a:gd name="T35" fmla="*/ 86 h 238"/>
                <a:gd name="T36" fmla="*/ 266 w 480"/>
                <a:gd name="T37" fmla="*/ 86 h 238"/>
                <a:gd name="T38" fmla="*/ 212 w 480"/>
                <a:gd name="T39" fmla="*/ 86 h 238"/>
                <a:gd name="T40" fmla="*/ 186 w 480"/>
                <a:gd name="T41" fmla="*/ 86 h 238"/>
                <a:gd name="T42" fmla="*/ 162 w 480"/>
                <a:gd name="T43" fmla="*/ 88 h 238"/>
                <a:gd name="T44" fmla="*/ 138 w 480"/>
                <a:gd name="T45" fmla="*/ 92 h 238"/>
                <a:gd name="T46" fmla="*/ 112 w 480"/>
                <a:gd name="T47" fmla="*/ 100 h 238"/>
                <a:gd name="T48" fmla="*/ 86 w 480"/>
                <a:gd name="T49" fmla="*/ 112 h 238"/>
                <a:gd name="T50" fmla="*/ 56 w 480"/>
                <a:gd name="T51" fmla="*/ 130 h 238"/>
                <a:gd name="T52" fmla="*/ 52 w 480"/>
                <a:gd name="T53" fmla="*/ 134 h 238"/>
                <a:gd name="T54" fmla="*/ 52 w 480"/>
                <a:gd name="T55" fmla="*/ 134 h 238"/>
                <a:gd name="T56" fmla="*/ 26 w 480"/>
                <a:gd name="T57" fmla="*/ 176 h 238"/>
                <a:gd name="T58" fmla="*/ 0 w 480"/>
                <a:gd name="T59" fmla="*/ 222 h 238"/>
                <a:gd name="T60" fmla="*/ 0 w 480"/>
                <a:gd name="T61" fmla="*/ 222 h 238"/>
                <a:gd name="T62" fmla="*/ 28 w 480"/>
                <a:gd name="T63" fmla="*/ 228 h 238"/>
                <a:gd name="T64" fmla="*/ 60 w 480"/>
                <a:gd name="T65" fmla="*/ 234 h 238"/>
                <a:gd name="T66" fmla="*/ 102 w 480"/>
                <a:gd name="T67" fmla="*/ 238 h 238"/>
                <a:gd name="T68" fmla="*/ 102 w 480"/>
                <a:gd name="T69" fmla="*/ 238 h 238"/>
                <a:gd name="T70" fmla="*/ 134 w 480"/>
                <a:gd name="T71" fmla="*/ 236 h 238"/>
                <a:gd name="T72" fmla="*/ 164 w 480"/>
                <a:gd name="T73" fmla="*/ 234 h 238"/>
                <a:gd name="T74" fmla="*/ 192 w 480"/>
                <a:gd name="T75" fmla="*/ 228 h 238"/>
                <a:gd name="T76" fmla="*/ 218 w 480"/>
                <a:gd name="T77" fmla="*/ 218 h 238"/>
                <a:gd name="T78" fmla="*/ 242 w 480"/>
                <a:gd name="T79" fmla="*/ 206 h 238"/>
                <a:gd name="T80" fmla="*/ 264 w 480"/>
                <a:gd name="T81" fmla="*/ 192 h 238"/>
                <a:gd name="T82" fmla="*/ 284 w 480"/>
                <a:gd name="T83" fmla="*/ 178 h 238"/>
                <a:gd name="T84" fmla="*/ 304 w 480"/>
                <a:gd name="T85" fmla="*/ 160 h 238"/>
                <a:gd name="T86" fmla="*/ 344 w 480"/>
                <a:gd name="T87" fmla="*/ 124 h 238"/>
                <a:gd name="T88" fmla="*/ 384 w 480"/>
                <a:gd name="T89" fmla="*/ 84 h 238"/>
                <a:gd name="T90" fmla="*/ 406 w 480"/>
                <a:gd name="T91" fmla="*/ 66 h 238"/>
                <a:gd name="T92" fmla="*/ 430 w 480"/>
                <a:gd name="T93" fmla="*/ 46 h 238"/>
                <a:gd name="T94" fmla="*/ 454 w 480"/>
                <a:gd name="T95" fmla="*/ 28 h 238"/>
                <a:gd name="T96" fmla="*/ 480 w 480"/>
                <a:gd name="T97" fmla="*/ 10 h 238"/>
                <a:gd name="T98" fmla="*/ 274 w 480"/>
                <a:gd name="T99"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0" h="238">
                  <a:moveTo>
                    <a:pt x="274" y="0"/>
                  </a:moveTo>
                  <a:lnTo>
                    <a:pt x="274" y="0"/>
                  </a:lnTo>
                  <a:lnTo>
                    <a:pt x="240" y="0"/>
                  </a:lnTo>
                  <a:lnTo>
                    <a:pt x="208" y="6"/>
                  </a:lnTo>
                  <a:lnTo>
                    <a:pt x="180" y="14"/>
                  </a:lnTo>
                  <a:lnTo>
                    <a:pt x="154" y="24"/>
                  </a:lnTo>
                  <a:lnTo>
                    <a:pt x="132" y="40"/>
                  </a:lnTo>
                  <a:lnTo>
                    <a:pt x="110" y="58"/>
                  </a:lnTo>
                  <a:lnTo>
                    <a:pt x="92" y="76"/>
                  </a:lnTo>
                  <a:lnTo>
                    <a:pt x="74" y="100"/>
                  </a:lnTo>
                  <a:lnTo>
                    <a:pt x="74" y="100"/>
                  </a:lnTo>
                  <a:lnTo>
                    <a:pt x="100" y="92"/>
                  </a:lnTo>
                  <a:lnTo>
                    <a:pt x="124" y="86"/>
                  </a:lnTo>
                  <a:lnTo>
                    <a:pt x="148" y="82"/>
                  </a:lnTo>
                  <a:lnTo>
                    <a:pt x="172" y="80"/>
                  </a:lnTo>
                  <a:lnTo>
                    <a:pt x="194" y="80"/>
                  </a:lnTo>
                  <a:lnTo>
                    <a:pt x="216" y="80"/>
                  </a:lnTo>
                  <a:lnTo>
                    <a:pt x="266" y="86"/>
                  </a:lnTo>
                  <a:lnTo>
                    <a:pt x="266" y="86"/>
                  </a:lnTo>
                  <a:lnTo>
                    <a:pt x="212" y="86"/>
                  </a:lnTo>
                  <a:lnTo>
                    <a:pt x="186" y="86"/>
                  </a:lnTo>
                  <a:lnTo>
                    <a:pt x="162" y="88"/>
                  </a:lnTo>
                  <a:lnTo>
                    <a:pt x="138" y="92"/>
                  </a:lnTo>
                  <a:lnTo>
                    <a:pt x="112" y="100"/>
                  </a:lnTo>
                  <a:lnTo>
                    <a:pt x="86" y="112"/>
                  </a:lnTo>
                  <a:lnTo>
                    <a:pt x="56" y="130"/>
                  </a:lnTo>
                  <a:lnTo>
                    <a:pt x="52" y="134"/>
                  </a:lnTo>
                  <a:lnTo>
                    <a:pt x="52" y="134"/>
                  </a:lnTo>
                  <a:lnTo>
                    <a:pt x="26" y="176"/>
                  </a:lnTo>
                  <a:lnTo>
                    <a:pt x="0" y="222"/>
                  </a:lnTo>
                  <a:lnTo>
                    <a:pt x="0" y="222"/>
                  </a:lnTo>
                  <a:lnTo>
                    <a:pt x="28" y="228"/>
                  </a:lnTo>
                  <a:lnTo>
                    <a:pt x="60" y="234"/>
                  </a:lnTo>
                  <a:lnTo>
                    <a:pt x="102" y="238"/>
                  </a:lnTo>
                  <a:lnTo>
                    <a:pt x="102" y="238"/>
                  </a:lnTo>
                  <a:lnTo>
                    <a:pt x="134" y="236"/>
                  </a:lnTo>
                  <a:lnTo>
                    <a:pt x="164" y="234"/>
                  </a:lnTo>
                  <a:lnTo>
                    <a:pt x="192" y="228"/>
                  </a:lnTo>
                  <a:lnTo>
                    <a:pt x="218" y="218"/>
                  </a:lnTo>
                  <a:lnTo>
                    <a:pt x="242" y="206"/>
                  </a:lnTo>
                  <a:lnTo>
                    <a:pt x="264" y="192"/>
                  </a:lnTo>
                  <a:lnTo>
                    <a:pt x="284" y="178"/>
                  </a:lnTo>
                  <a:lnTo>
                    <a:pt x="304" y="160"/>
                  </a:lnTo>
                  <a:lnTo>
                    <a:pt x="344" y="124"/>
                  </a:lnTo>
                  <a:lnTo>
                    <a:pt x="384" y="84"/>
                  </a:lnTo>
                  <a:lnTo>
                    <a:pt x="406" y="66"/>
                  </a:lnTo>
                  <a:lnTo>
                    <a:pt x="430" y="46"/>
                  </a:lnTo>
                  <a:lnTo>
                    <a:pt x="454" y="28"/>
                  </a:lnTo>
                  <a:lnTo>
                    <a:pt x="480" y="10"/>
                  </a:lnTo>
                  <a:lnTo>
                    <a:pt x="2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71" name="Freeform 74">
              <a:extLst>
                <a:ext uri="{FF2B5EF4-FFF2-40B4-BE49-F238E27FC236}">
                  <a16:creationId xmlns:a16="http://schemas.microsoft.com/office/drawing/2014/main" id="{812F84F8-2E77-4573-82C5-BBD245413BE3}"/>
                </a:ext>
              </a:extLst>
            </p:cNvPr>
            <p:cNvSpPr>
              <a:spLocks/>
            </p:cNvSpPr>
            <p:nvPr/>
          </p:nvSpPr>
          <p:spPr bwMode="auto">
            <a:xfrm>
              <a:off x="2305" y="749"/>
              <a:ext cx="212" cy="516"/>
            </a:xfrm>
            <a:custGeom>
              <a:avLst/>
              <a:gdLst>
                <a:gd name="T0" fmla="*/ 48 w 212"/>
                <a:gd name="T1" fmla="*/ 516 h 516"/>
                <a:gd name="T2" fmla="*/ 48 w 212"/>
                <a:gd name="T3" fmla="*/ 516 h 516"/>
                <a:gd name="T4" fmla="*/ 100 w 212"/>
                <a:gd name="T5" fmla="*/ 466 h 516"/>
                <a:gd name="T6" fmla="*/ 100 w 212"/>
                <a:gd name="T7" fmla="*/ 466 h 516"/>
                <a:gd name="T8" fmla="*/ 110 w 212"/>
                <a:gd name="T9" fmla="*/ 446 h 516"/>
                <a:gd name="T10" fmla="*/ 110 w 212"/>
                <a:gd name="T11" fmla="*/ 446 h 516"/>
                <a:gd name="T12" fmla="*/ 124 w 212"/>
                <a:gd name="T13" fmla="*/ 410 h 516"/>
                <a:gd name="T14" fmla="*/ 132 w 212"/>
                <a:gd name="T15" fmla="*/ 376 h 516"/>
                <a:gd name="T16" fmla="*/ 138 w 212"/>
                <a:gd name="T17" fmla="*/ 346 h 516"/>
                <a:gd name="T18" fmla="*/ 140 w 212"/>
                <a:gd name="T19" fmla="*/ 316 h 516"/>
                <a:gd name="T20" fmla="*/ 140 w 212"/>
                <a:gd name="T21" fmla="*/ 286 h 516"/>
                <a:gd name="T22" fmla="*/ 140 w 212"/>
                <a:gd name="T23" fmla="*/ 256 h 516"/>
                <a:gd name="T24" fmla="*/ 138 w 212"/>
                <a:gd name="T25" fmla="*/ 190 h 516"/>
                <a:gd name="T26" fmla="*/ 138 w 212"/>
                <a:gd name="T27" fmla="*/ 190 h 516"/>
                <a:gd name="T28" fmla="*/ 144 w 212"/>
                <a:gd name="T29" fmla="*/ 252 h 516"/>
                <a:gd name="T30" fmla="*/ 146 w 212"/>
                <a:gd name="T31" fmla="*/ 280 h 516"/>
                <a:gd name="T32" fmla="*/ 146 w 212"/>
                <a:gd name="T33" fmla="*/ 310 h 516"/>
                <a:gd name="T34" fmla="*/ 146 w 212"/>
                <a:gd name="T35" fmla="*/ 338 h 516"/>
                <a:gd name="T36" fmla="*/ 144 w 212"/>
                <a:gd name="T37" fmla="*/ 370 h 516"/>
                <a:gd name="T38" fmla="*/ 138 w 212"/>
                <a:gd name="T39" fmla="*/ 402 h 516"/>
                <a:gd name="T40" fmla="*/ 132 w 212"/>
                <a:gd name="T41" fmla="*/ 436 h 516"/>
                <a:gd name="T42" fmla="*/ 132 w 212"/>
                <a:gd name="T43" fmla="*/ 436 h 516"/>
                <a:gd name="T44" fmla="*/ 154 w 212"/>
                <a:gd name="T45" fmla="*/ 412 h 516"/>
                <a:gd name="T46" fmla="*/ 174 w 212"/>
                <a:gd name="T47" fmla="*/ 386 h 516"/>
                <a:gd name="T48" fmla="*/ 190 w 212"/>
                <a:gd name="T49" fmla="*/ 360 h 516"/>
                <a:gd name="T50" fmla="*/ 202 w 212"/>
                <a:gd name="T51" fmla="*/ 332 h 516"/>
                <a:gd name="T52" fmla="*/ 206 w 212"/>
                <a:gd name="T53" fmla="*/ 318 h 516"/>
                <a:gd name="T54" fmla="*/ 210 w 212"/>
                <a:gd name="T55" fmla="*/ 302 h 516"/>
                <a:gd name="T56" fmla="*/ 212 w 212"/>
                <a:gd name="T57" fmla="*/ 288 h 516"/>
                <a:gd name="T58" fmla="*/ 212 w 212"/>
                <a:gd name="T59" fmla="*/ 270 h 516"/>
                <a:gd name="T60" fmla="*/ 212 w 212"/>
                <a:gd name="T61" fmla="*/ 254 h 516"/>
                <a:gd name="T62" fmla="*/ 210 w 212"/>
                <a:gd name="T63" fmla="*/ 236 h 516"/>
                <a:gd name="T64" fmla="*/ 206 w 212"/>
                <a:gd name="T65" fmla="*/ 218 h 516"/>
                <a:gd name="T66" fmla="*/ 202 w 212"/>
                <a:gd name="T67" fmla="*/ 198 h 516"/>
                <a:gd name="T68" fmla="*/ 146 w 212"/>
                <a:gd name="T69" fmla="*/ 0 h 516"/>
                <a:gd name="T70" fmla="*/ 146 w 212"/>
                <a:gd name="T71" fmla="*/ 0 h 516"/>
                <a:gd name="T72" fmla="*/ 134 w 212"/>
                <a:gd name="T73" fmla="*/ 30 h 516"/>
                <a:gd name="T74" fmla="*/ 122 w 212"/>
                <a:gd name="T75" fmla="*/ 58 h 516"/>
                <a:gd name="T76" fmla="*/ 110 w 212"/>
                <a:gd name="T77" fmla="*/ 84 h 516"/>
                <a:gd name="T78" fmla="*/ 96 w 212"/>
                <a:gd name="T79" fmla="*/ 110 h 516"/>
                <a:gd name="T80" fmla="*/ 66 w 212"/>
                <a:gd name="T81" fmla="*/ 158 h 516"/>
                <a:gd name="T82" fmla="*/ 40 w 212"/>
                <a:gd name="T83" fmla="*/ 204 h 516"/>
                <a:gd name="T84" fmla="*/ 28 w 212"/>
                <a:gd name="T85" fmla="*/ 228 h 516"/>
                <a:gd name="T86" fmla="*/ 18 w 212"/>
                <a:gd name="T87" fmla="*/ 252 h 516"/>
                <a:gd name="T88" fmla="*/ 8 w 212"/>
                <a:gd name="T89" fmla="*/ 276 h 516"/>
                <a:gd name="T90" fmla="*/ 2 w 212"/>
                <a:gd name="T91" fmla="*/ 302 h 516"/>
                <a:gd name="T92" fmla="*/ 0 w 212"/>
                <a:gd name="T93" fmla="*/ 330 h 516"/>
                <a:gd name="T94" fmla="*/ 0 w 212"/>
                <a:gd name="T95" fmla="*/ 358 h 516"/>
                <a:gd name="T96" fmla="*/ 4 w 212"/>
                <a:gd name="T97" fmla="*/ 388 h 516"/>
                <a:gd name="T98" fmla="*/ 10 w 212"/>
                <a:gd name="T99" fmla="*/ 420 h 516"/>
                <a:gd name="T100" fmla="*/ 10 w 212"/>
                <a:gd name="T101" fmla="*/ 420 h 516"/>
                <a:gd name="T102" fmla="*/ 24 w 212"/>
                <a:gd name="T103" fmla="*/ 460 h 516"/>
                <a:gd name="T104" fmla="*/ 36 w 212"/>
                <a:gd name="T105" fmla="*/ 490 h 516"/>
                <a:gd name="T106" fmla="*/ 48 w 212"/>
                <a:gd name="T107" fmla="*/ 516 h 516"/>
                <a:gd name="T108" fmla="*/ 48 w 212"/>
                <a:gd name="T109" fmla="*/ 516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2" h="516">
                  <a:moveTo>
                    <a:pt x="48" y="516"/>
                  </a:moveTo>
                  <a:lnTo>
                    <a:pt x="48" y="516"/>
                  </a:lnTo>
                  <a:lnTo>
                    <a:pt x="100" y="466"/>
                  </a:lnTo>
                  <a:lnTo>
                    <a:pt x="100" y="466"/>
                  </a:lnTo>
                  <a:lnTo>
                    <a:pt x="110" y="446"/>
                  </a:lnTo>
                  <a:lnTo>
                    <a:pt x="110" y="446"/>
                  </a:lnTo>
                  <a:lnTo>
                    <a:pt x="124" y="410"/>
                  </a:lnTo>
                  <a:lnTo>
                    <a:pt x="132" y="376"/>
                  </a:lnTo>
                  <a:lnTo>
                    <a:pt x="138" y="346"/>
                  </a:lnTo>
                  <a:lnTo>
                    <a:pt x="140" y="316"/>
                  </a:lnTo>
                  <a:lnTo>
                    <a:pt x="140" y="286"/>
                  </a:lnTo>
                  <a:lnTo>
                    <a:pt x="140" y="256"/>
                  </a:lnTo>
                  <a:lnTo>
                    <a:pt x="138" y="190"/>
                  </a:lnTo>
                  <a:lnTo>
                    <a:pt x="138" y="190"/>
                  </a:lnTo>
                  <a:lnTo>
                    <a:pt x="144" y="252"/>
                  </a:lnTo>
                  <a:lnTo>
                    <a:pt x="146" y="280"/>
                  </a:lnTo>
                  <a:lnTo>
                    <a:pt x="146" y="310"/>
                  </a:lnTo>
                  <a:lnTo>
                    <a:pt x="146" y="338"/>
                  </a:lnTo>
                  <a:lnTo>
                    <a:pt x="144" y="370"/>
                  </a:lnTo>
                  <a:lnTo>
                    <a:pt x="138" y="402"/>
                  </a:lnTo>
                  <a:lnTo>
                    <a:pt x="132" y="436"/>
                  </a:lnTo>
                  <a:lnTo>
                    <a:pt x="132" y="436"/>
                  </a:lnTo>
                  <a:lnTo>
                    <a:pt x="154" y="412"/>
                  </a:lnTo>
                  <a:lnTo>
                    <a:pt x="174" y="386"/>
                  </a:lnTo>
                  <a:lnTo>
                    <a:pt x="190" y="360"/>
                  </a:lnTo>
                  <a:lnTo>
                    <a:pt x="202" y="332"/>
                  </a:lnTo>
                  <a:lnTo>
                    <a:pt x="206" y="318"/>
                  </a:lnTo>
                  <a:lnTo>
                    <a:pt x="210" y="302"/>
                  </a:lnTo>
                  <a:lnTo>
                    <a:pt x="212" y="288"/>
                  </a:lnTo>
                  <a:lnTo>
                    <a:pt x="212" y="270"/>
                  </a:lnTo>
                  <a:lnTo>
                    <a:pt x="212" y="254"/>
                  </a:lnTo>
                  <a:lnTo>
                    <a:pt x="210" y="236"/>
                  </a:lnTo>
                  <a:lnTo>
                    <a:pt x="206" y="218"/>
                  </a:lnTo>
                  <a:lnTo>
                    <a:pt x="202" y="198"/>
                  </a:lnTo>
                  <a:lnTo>
                    <a:pt x="146" y="0"/>
                  </a:lnTo>
                  <a:lnTo>
                    <a:pt x="146" y="0"/>
                  </a:lnTo>
                  <a:lnTo>
                    <a:pt x="134" y="30"/>
                  </a:lnTo>
                  <a:lnTo>
                    <a:pt x="122" y="58"/>
                  </a:lnTo>
                  <a:lnTo>
                    <a:pt x="110" y="84"/>
                  </a:lnTo>
                  <a:lnTo>
                    <a:pt x="96" y="110"/>
                  </a:lnTo>
                  <a:lnTo>
                    <a:pt x="66" y="158"/>
                  </a:lnTo>
                  <a:lnTo>
                    <a:pt x="40" y="204"/>
                  </a:lnTo>
                  <a:lnTo>
                    <a:pt x="28" y="228"/>
                  </a:lnTo>
                  <a:lnTo>
                    <a:pt x="18" y="252"/>
                  </a:lnTo>
                  <a:lnTo>
                    <a:pt x="8" y="276"/>
                  </a:lnTo>
                  <a:lnTo>
                    <a:pt x="2" y="302"/>
                  </a:lnTo>
                  <a:lnTo>
                    <a:pt x="0" y="330"/>
                  </a:lnTo>
                  <a:lnTo>
                    <a:pt x="0" y="358"/>
                  </a:lnTo>
                  <a:lnTo>
                    <a:pt x="4" y="388"/>
                  </a:lnTo>
                  <a:lnTo>
                    <a:pt x="10" y="420"/>
                  </a:lnTo>
                  <a:lnTo>
                    <a:pt x="10" y="420"/>
                  </a:lnTo>
                  <a:lnTo>
                    <a:pt x="24" y="460"/>
                  </a:lnTo>
                  <a:lnTo>
                    <a:pt x="36" y="490"/>
                  </a:lnTo>
                  <a:lnTo>
                    <a:pt x="48" y="516"/>
                  </a:lnTo>
                  <a:lnTo>
                    <a:pt x="48" y="5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72" name="Freeform 75">
              <a:extLst>
                <a:ext uri="{FF2B5EF4-FFF2-40B4-BE49-F238E27FC236}">
                  <a16:creationId xmlns:a16="http://schemas.microsoft.com/office/drawing/2014/main" id="{3119FD76-20FF-4666-B359-F3FAF4C59D21}"/>
                </a:ext>
              </a:extLst>
            </p:cNvPr>
            <p:cNvSpPr>
              <a:spLocks/>
            </p:cNvSpPr>
            <p:nvPr/>
          </p:nvSpPr>
          <p:spPr bwMode="auto">
            <a:xfrm>
              <a:off x="4500" y="555"/>
              <a:ext cx="397" cy="240"/>
            </a:xfrm>
            <a:custGeom>
              <a:avLst/>
              <a:gdLst>
                <a:gd name="T0" fmla="*/ 303 w 397"/>
                <a:gd name="T1" fmla="*/ 240 h 240"/>
                <a:gd name="T2" fmla="*/ 303 w 397"/>
                <a:gd name="T3" fmla="*/ 240 h 240"/>
                <a:gd name="T4" fmla="*/ 255 w 397"/>
                <a:gd name="T5" fmla="*/ 208 h 240"/>
                <a:gd name="T6" fmla="*/ 232 w 397"/>
                <a:gd name="T7" fmla="*/ 192 h 240"/>
                <a:gd name="T8" fmla="*/ 214 w 397"/>
                <a:gd name="T9" fmla="*/ 176 h 240"/>
                <a:gd name="T10" fmla="*/ 196 w 397"/>
                <a:gd name="T11" fmla="*/ 158 h 240"/>
                <a:gd name="T12" fmla="*/ 178 w 397"/>
                <a:gd name="T13" fmla="*/ 140 h 240"/>
                <a:gd name="T14" fmla="*/ 144 w 397"/>
                <a:gd name="T15" fmla="*/ 100 h 240"/>
                <a:gd name="T16" fmla="*/ 144 w 397"/>
                <a:gd name="T17" fmla="*/ 100 h 240"/>
                <a:gd name="T18" fmla="*/ 182 w 397"/>
                <a:gd name="T19" fmla="*/ 138 h 240"/>
                <a:gd name="T20" fmla="*/ 200 w 397"/>
                <a:gd name="T21" fmla="*/ 156 h 240"/>
                <a:gd name="T22" fmla="*/ 218 w 397"/>
                <a:gd name="T23" fmla="*/ 172 h 240"/>
                <a:gd name="T24" fmla="*/ 238 w 397"/>
                <a:gd name="T25" fmla="*/ 188 h 240"/>
                <a:gd name="T26" fmla="*/ 261 w 397"/>
                <a:gd name="T27" fmla="*/ 202 h 240"/>
                <a:gd name="T28" fmla="*/ 287 w 397"/>
                <a:gd name="T29" fmla="*/ 216 h 240"/>
                <a:gd name="T30" fmla="*/ 317 w 397"/>
                <a:gd name="T31" fmla="*/ 228 h 240"/>
                <a:gd name="T32" fmla="*/ 317 w 397"/>
                <a:gd name="T33" fmla="*/ 228 h 240"/>
                <a:gd name="T34" fmla="*/ 333 w 397"/>
                <a:gd name="T35" fmla="*/ 234 h 240"/>
                <a:gd name="T36" fmla="*/ 347 w 397"/>
                <a:gd name="T37" fmla="*/ 238 h 240"/>
                <a:gd name="T38" fmla="*/ 347 w 397"/>
                <a:gd name="T39" fmla="*/ 238 h 240"/>
                <a:gd name="T40" fmla="*/ 397 w 397"/>
                <a:gd name="T41" fmla="*/ 234 h 240"/>
                <a:gd name="T42" fmla="*/ 397 w 397"/>
                <a:gd name="T43" fmla="*/ 234 h 240"/>
                <a:gd name="T44" fmla="*/ 387 w 397"/>
                <a:gd name="T45" fmla="*/ 212 h 240"/>
                <a:gd name="T46" fmla="*/ 375 w 397"/>
                <a:gd name="T47" fmla="*/ 186 h 240"/>
                <a:gd name="T48" fmla="*/ 355 w 397"/>
                <a:gd name="T49" fmla="*/ 156 h 240"/>
                <a:gd name="T50" fmla="*/ 355 w 397"/>
                <a:gd name="T51" fmla="*/ 156 h 240"/>
                <a:gd name="T52" fmla="*/ 339 w 397"/>
                <a:gd name="T53" fmla="*/ 134 h 240"/>
                <a:gd name="T54" fmla="*/ 321 w 397"/>
                <a:gd name="T55" fmla="*/ 114 h 240"/>
                <a:gd name="T56" fmla="*/ 303 w 397"/>
                <a:gd name="T57" fmla="*/ 98 h 240"/>
                <a:gd name="T58" fmla="*/ 285 w 397"/>
                <a:gd name="T59" fmla="*/ 86 h 240"/>
                <a:gd name="T60" fmla="*/ 263 w 397"/>
                <a:gd name="T61" fmla="*/ 74 h 240"/>
                <a:gd name="T62" fmla="*/ 242 w 397"/>
                <a:gd name="T63" fmla="*/ 66 h 240"/>
                <a:gd name="T64" fmla="*/ 220 w 397"/>
                <a:gd name="T65" fmla="*/ 58 h 240"/>
                <a:gd name="T66" fmla="*/ 198 w 397"/>
                <a:gd name="T67" fmla="*/ 52 h 240"/>
                <a:gd name="T68" fmla="*/ 152 w 397"/>
                <a:gd name="T69" fmla="*/ 42 h 240"/>
                <a:gd name="T70" fmla="*/ 102 w 397"/>
                <a:gd name="T71" fmla="*/ 32 h 240"/>
                <a:gd name="T72" fmla="*/ 52 w 397"/>
                <a:gd name="T73" fmla="*/ 20 h 240"/>
                <a:gd name="T74" fmla="*/ 26 w 397"/>
                <a:gd name="T75" fmla="*/ 12 h 240"/>
                <a:gd name="T76" fmla="*/ 0 w 397"/>
                <a:gd name="T77" fmla="*/ 0 h 240"/>
                <a:gd name="T78" fmla="*/ 96 w 397"/>
                <a:gd name="T79" fmla="*/ 146 h 240"/>
                <a:gd name="T80" fmla="*/ 96 w 397"/>
                <a:gd name="T81" fmla="*/ 146 h 240"/>
                <a:gd name="T82" fmla="*/ 106 w 397"/>
                <a:gd name="T83" fmla="*/ 162 h 240"/>
                <a:gd name="T84" fmla="*/ 118 w 397"/>
                <a:gd name="T85" fmla="*/ 174 h 240"/>
                <a:gd name="T86" fmla="*/ 128 w 397"/>
                <a:gd name="T87" fmla="*/ 186 h 240"/>
                <a:gd name="T88" fmla="*/ 140 w 397"/>
                <a:gd name="T89" fmla="*/ 196 h 240"/>
                <a:gd name="T90" fmla="*/ 152 w 397"/>
                <a:gd name="T91" fmla="*/ 206 h 240"/>
                <a:gd name="T92" fmla="*/ 164 w 397"/>
                <a:gd name="T93" fmla="*/ 212 h 240"/>
                <a:gd name="T94" fmla="*/ 188 w 397"/>
                <a:gd name="T95" fmla="*/ 224 h 240"/>
                <a:gd name="T96" fmla="*/ 216 w 397"/>
                <a:gd name="T97" fmla="*/ 232 h 240"/>
                <a:gd name="T98" fmla="*/ 244 w 397"/>
                <a:gd name="T99" fmla="*/ 238 h 240"/>
                <a:gd name="T100" fmla="*/ 273 w 397"/>
                <a:gd name="T101" fmla="*/ 240 h 240"/>
                <a:gd name="T102" fmla="*/ 303 w 397"/>
                <a:gd name="T103" fmla="*/ 240 h 240"/>
                <a:gd name="T104" fmla="*/ 303 w 397"/>
                <a:gd name="T10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7" h="240">
                  <a:moveTo>
                    <a:pt x="303" y="240"/>
                  </a:moveTo>
                  <a:lnTo>
                    <a:pt x="303" y="240"/>
                  </a:lnTo>
                  <a:lnTo>
                    <a:pt x="255" y="208"/>
                  </a:lnTo>
                  <a:lnTo>
                    <a:pt x="232" y="192"/>
                  </a:lnTo>
                  <a:lnTo>
                    <a:pt x="214" y="176"/>
                  </a:lnTo>
                  <a:lnTo>
                    <a:pt x="196" y="158"/>
                  </a:lnTo>
                  <a:lnTo>
                    <a:pt x="178" y="140"/>
                  </a:lnTo>
                  <a:lnTo>
                    <a:pt x="144" y="100"/>
                  </a:lnTo>
                  <a:lnTo>
                    <a:pt x="144" y="100"/>
                  </a:lnTo>
                  <a:lnTo>
                    <a:pt x="182" y="138"/>
                  </a:lnTo>
                  <a:lnTo>
                    <a:pt x="200" y="156"/>
                  </a:lnTo>
                  <a:lnTo>
                    <a:pt x="218" y="172"/>
                  </a:lnTo>
                  <a:lnTo>
                    <a:pt x="238" y="188"/>
                  </a:lnTo>
                  <a:lnTo>
                    <a:pt x="261" y="202"/>
                  </a:lnTo>
                  <a:lnTo>
                    <a:pt x="287" y="216"/>
                  </a:lnTo>
                  <a:lnTo>
                    <a:pt x="317" y="228"/>
                  </a:lnTo>
                  <a:lnTo>
                    <a:pt x="317" y="228"/>
                  </a:lnTo>
                  <a:lnTo>
                    <a:pt x="333" y="234"/>
                  </a:lnTo>
                  <a:lnTo>
                    <a:pt x="347" y="238"/>
                  </a:lnTo>
                  <a:lnTo>
                    <a:pt x="347" y="238"/>
                  </a:lnTo>
                  <a:lnTo>
                    <a:pt x="397" y="234"/>
                  </a:lnTo>
                  <a:lnTo>
                    <a:pt x="397" y="234"/>
                  </a:lnTo>
                  <a:lnTo>
                    <a:pt x="387" y="212"/>
                  </a:lnTo>
                  <a:lnTo>
                    <a:pt x="375" y="186"/>
                  </a:lnTo>
                  <a:lnTo>
                    <a:pt x="355" y="156"/>
                  </a:lnTo>
                  <a:lnTo>
                    <a:pt x="355" y="156"/>
                  </a:lnTo>
                  <a:lnTo>
                    <a:pt x="339" y="134"/>
                  </a:lnTo>
                  <a:lnTo>
                    <a:pt x="321" y="114"/>
                  </a:lnTo>
                  <a:lnTo>
                    <a:pt x="303" y="98"/>
                  </a:lnTo>
                  <a:lnTo>
                    <a:pt x="285" y="86"/>
                  </a:lnTo>
                  <a:lnTo>
                    <a:pt x="263" y="74"/>
                  </a:lnTo>
                  <a:lnTo>
                    <a:pt x="242" y="66"/>
                  </a:lnTo>
                  <a:lnTo>
                    <a:pt x="220" y="58"/>
                  </a:lnTo>
                  <a:lnTo>
                    <a:pt x="198" y="52"/>
                  </a:lnTo>
                  <a:lnTo>
                    <a:pt x="152" y="42"/>
                  </a:lnTo>
                  <a:lnTo>
                    <a:pt x="102" y="32"/>
                  </a:lnTo>
                  <a:lnTo>
                    <a:pt x="52" y="20"/>
                  </a:lnTo>
                  <a:lnTo>
                    <a:pt x="26" y="12"/>
                  </a:lnTo>
                  <a:lnTo>
                    <a:pt x="0" y="0"/>
                  </a:lnTo>
                  <a:lnTo>
                    <a:pt x="96" y="146"/>
                  </a:lnTo>
                  <a:lnTo>
                    <a:pt x="96" y="146"/>
                  </a:lnTo>
                  <a:lnTo>
                    <a:pt x="106" y="162"/>
                  </a:lnTo>
                  <a:lnTo>
                    <a:pt x="118" y="174"/>
                  </a:lnTo>
                  <a:lnTo>
                    <a:pt x="128" y="186"/>
                  </a:lnTo>
                  <a:lnTo>
                    <a:pt x="140" y="196"/>
                  </a:lnTo>
                  <a:lnTo>
                    <a:pt x="152" y="206"/>
                  </a:lnTo>
                  <a:lnTo>
                    <a:pt x="164" y="212"/>
                  </a:lnTo>
                  <a:lnTo>
                    <a:pt x="188" y="224"/>
                  </a:lnTo>
                  <a:lnTo>
                    <a:pt x="216" y="232"/>
                  </a:lnTo>
                  <a:lnTo>
                    <a:pt x="244" y="238"/>
                  </a:lnTo>
                  <a:lnTo>
                    <a:pt x="273" y="240"/>
                  </a:lnTo>
                  <a:lnTo>
                    <a:pt x="303" y="240"/>
                  </a:lnTo>
                  <a:lnTo>
                    <a:pt x="30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73" name="Freeform 76">
              <a:extLst>
                <a:ext uri="{FF2B5EF4-FFF2-40B4-BE49-F238E27FC236}">
                  <a16:creationId xmlns:a16="http://schemas.microsoft.com/office/drawing/2014/main" id="{91281679-D278-4363-8BC4-BF5A7A659E45}"/>
                </a:ext>
              </a:extLst>
            </p:cNvPr>
            <p:cNvSpPr>
              <a:spLocks/>
            </p:cNvSpPr>
            <p:nvPr/>
          </p:nvSpPr>
          <p:spPr bwMode="auto">
            <a:xfrm>
              <a:off x="4630" y="825"/>
              <a:ext cx="429" cy="176"/>
            </a:xfrm>
            <a:custGeom>
              <a:avLst/>
              <a:gdLst>
                <a:gd name="T0" fmla="*/ 345 w 429"/>
                <a:gd name="T1" fmla="*/ 50 h 176"/>
                <a:gd name="T2" fmla="*/ 345 w 429"/>
                <a:gd name="T3" fmla="*/ 50 h 176"/>
                <a:gd name="T4" fmla="*/ 327 w 429"/>
                <a:gd name="T5" fmla="*/ 36 h 176"/>
                <a:gd name="T6" fmla="*/ 307 w 429"/>
                <a:gd name="T7" fmla="*/ 24 h 176"/>
                <a:gd name="T8" fmla="*/ 287 w 429"/>
                <a:gd name="T9" fmla="*/ 14 h 176"/>
                <a:gd name="T10" fmla="*/ 265 w 429"/>
                <a:gd name="T11" fmla="*/ 6 h 176"/>
                <a:gd name="T12" fmla="*/ 243 w 429"/>
                <a:gd name="T13" fmla="*/ 2 h 176"/>
                <a:gd name="T14" fmla="*/ 219 w 429"/>
                <a:gd name="T15" fmla="*/ 0 h 176"/>
                <a:gd name="T16" fmla="*/ 193 w 429"/>
                <a:gd name="T17" fmla="*/ 2 h 176"/>
                <a:gd name="T18" fmla="*/ 163 w 429"/>
                <a:gd name="T19" fmla="*/ 10 h 176"/>
                <a:gd name="T20" fmla="*/ 0 w 429"/>
                <a:gd name="T21" fmla="*/ 56 h 176"/>
                <a:gd name="T22" fmla="*/ 0 w 429"/>
                <a:gd name="T23" fmla="*/ 56 h 176"/>
                <a:gd name="T24" fmla="*/ 24 w 429"/>
                <a:gd name="T25" fmla="*/ 66 h 176"/>
                <a:gd name="T26" fmla="*/ 48 w 429"/>
                <a:gd name="T27" fmla="*/ 76 h 176"/>
                <a:gd name="T28" fmla="*/ 90 w 429"/>
                <a:gd name="T29" fmla="*/ 98 h 176"/>
                <a:gd name="T30" fmla="*/ 131 w 429"/>
                <a:gd name="T31" fmla="*/ 122 h 176"/>
                <a:gd name="T32" fmla="*/ 171 w 429"/>
                <a:gd name="T33" fmla="*/ 144 h 176"/>
                <a:gd name="T34" fmla="*/ 189 w 429"/>
                <a:gd name="T35" fmla="*/ 154 h 176"/>
                <a:gd name="T36" fmla="*/ 209 w 429"/>
                <a:gd name="T37" fmla="*/ 162 h 176"/>
                <a:gd name="T38" fmla="*/ 231 w 429"/>
                <a:gd name="T39" fmla="*/ 170 h 176"/>
                <a:gd name="T40" fmla="*/ 251 w 429"/>
                <a:gd name="T41" fmla="*/ 174 h 176"/>
                <a:gd name="T42" fmla="*/ 273 w 429"/>
                <a:gd name="T43" fmla="*/ 176 h 176"/>
                <a:gd name="T44" fmla="*/ 297 w 429"/>
                <a:gd name="T45" fmla="*/ 176 h 176"/>
                <a:gd name="T46" fmla="*/ 323 w 429"/>
                <a:gd name="T47" fmla="*/ 174 h 176"/>
                <a:gd name="T48" fmla="*/ 349 w 429"/>
                <a:gd name="T49" fmla="*/ 168 h 176"/>
                <a:gd name="T50" fmla="*/ 349 w 429"/>
                <a:gd name="T51" fmla="*/ 168 h 176"/>
                <a:gd name="T52" fmla="*/ 383 w 429"/>
                <a:gd name="T53" fmla="*/ 156 h 176"/>
                <a:gd name="T54" fmla="*/ 407 w 429"/>
                <a:gd name="T55" fmla="*/ 146 h 176"/>
                <a:gd name="T56" fmla="*/ 429 w 429"/>
                <a:gd name="T57" fmla="*/ 136 h 176"/>
                <a:gd name="T58" fmla="*/ 429 w 429"/>
                <a:gd name="T59" fmla="*/ 136 h 176"/>
                <a:gd name="T60" fmla="*/ 399 w 429"/>
                <a:gd name="T61" fmla="*/ 104 h 176"/>
                <a:gd name="T62" fmla="*/ 371 w 429"/>
                <a:gd name="T63" fmla="*/ 74 h 176"/>
                <a:gd name="T64" fmla="*/ 365 w 429"/>
                <a:gd name="T65" fmla="*/ 72 h 176"/>
                <a:gd name="T66" fmla="*/ 365 w 429"/>
                <a:gd name="T67" fmla="*/ 72 h 176"/>
                <a:gd name="T68" fmla="*/ 339 w 429"/>
                <a:gd name="T69" fmla="*/ 64 h 176"/>
                <a:gd name="T70" fmla="*/ 313 w 429"/>
                <a:gd name="T71" fmla="*/ 60 h 176"/>
                <a:gd name="T72" fmla="*/ 291 w 429"/>
                <a:gd name="T73" fmla="*/ 58 h 176"/>
                <a:gd name="T74" fmla="*/ 271 w 429"/>
                <a:gd name="T75" fmla="*/ 60 h 176"/>
                <a:gd name="T76" fmla="*/ 251 w 429"/>
                <a:gd name="T77" fmla="*/ 62 h 176"/>
                <a:gd name="T78" fmla="*/ 231 w 429"/>
                <a:gd name="T79" fmla="*/ 66 h 176"/>
                <a:gd name="T80" fmla="*/ 189 w 429"/>
                <a:gd name="T81" fmla="*/ 78 h 176"/>
                <a:gd name="T82" fmla="*/ 189 w 429"/>
                <a:gd name="T83" fmla="*/ 78 h 176"/>
                <a:gd name="T84" fmla="*/ 227 w 429"/>
                <a:gd name="T85" fmla="*/ 62 h 176"/>
                <a:gd name="T86" fmla="*/ 245 w 429"/>
                <a:gd name="T87" fmla="*/ 58 h 176"/>
                <a:gd name="T88" fmla="*/ 263 w 429"/>
                <a:gd name="T89" fmla="*/ 54 h 176"/>
                <a:gd name="T90" fmla="*/ 281 w 429"/>
                <a:gd name="T91" fmla="*/ 50 h 176"/>
                <a:gd name="T92" fmla="*/ 301 w 429"/>
                <a:gd name="T93" fmla="*/ 50 h 176"/>
                <a:gd name="T94" fmla="*/ 323 w 429"/>
                <a:gd name="T95" fmla="*/ 50 h 176"/>
                <a:gd name="T96" fmla="*/ 345 w 429"/>
                <a:gd name="T97" fmla="*/ 50 h 176"/>
                <a:gd name="T98" fmla="*/ 345 w 429"/>
                <a:gd name="T99" fmla="*/ 5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9" h="176">
                  <a:moveTo>
                    <a:pt x="345" y="50"/>
                  </a:moveTo>
                  <a:lnTo>
                    <a:pt x="345" y="50"/>
                  </a:lnTo>
                  <a:lnTo>
                    <a:pt x="327" y="36"/>
                  </a:lnTo>
                  <a:lnTo>
                    <a:pt x="307" y="24"/>
                  </a:lnTo>
                  <a:lnTo>
                    <a:pt x="287" y="14"/>
                  </a:lnTo>
                  <a:lnTo>
                    <a:pt x="265" y="6"/>
                  </a:lnTo>
                  <a:lnTo>
                    <a:pt x="243" y="2"/>
                  </a:lnTo>
                  <a:lnTo>
                    <a:pt x="219" y="0"/>
                  </a:lnTo>
                  <a:lnTo>
                    <a:pt x="193" y="2"/>
                  </a:lnTo>
                  <a:lnTo>
                    <a:pt x="163" y="10"/>
                  </a:lnTo>
                  <a:lnTo>
                    <a:pt x="0" y="56"/>
                  </a:lnTo>
                  <a:lnTo>
                    <a:pt x="0" y="56"/>
                  </a:lnTo>
                  <a:lnTo>
                    <a:pt x="24" y="66"/>
                  </a:lnTo>
                  <a:lnTo>
                    <a:pt x="48" y="76"/>
                  </a:lnTo>
                  <a:lnTo>
                    <a:pt x="90" y="98"/>
                  </a:lnTo>
                  <a:lnTo>
                    <a:pt x="131" y="122"/>
                  </a:lnTo>
                  <a:lnTo>
                    <a:pt x="171" y="144"/>
                  </a:lnTo>
                  <a:lnTo>
                    <a:pt x="189" y="154"/>
                  </a:lnTo>
                  <a:lnTo>
                    <a:pt x="209" y="162"/>
                  </a:lnTo>
                  <a:lnTo>
                    <a:pt x="231" y="170"/>
                  </a:lnTo>
                  <a:lnTo>
                    <a:pt x="251" y="174"/>
                  </a:lnTo>
                  <a:lnTo>
                    <a:pt x="273" y="176"/>
                  </a:lnTo>
                  <a:lnTo>
                    <a:pt x="297" y="176"/>
                  </a:lnTo>
                  <a:lnTo>
                    <a:pt x="323" y="174"/>
                  </a:lnTo>
                  <a:lnTo>
                    <a:pt x="349" y="168"/>
                  </a:lnTo>
                  <a:lnTo>
                    <a:pt x="349" y="168"/>
                  </a:lnTo>
                  <a:lnTo>
                    <a:pt x="383" y="156"/>
                  </a:lnTo>
                  <a:lnTo>
                    <a:pt x="407" y="146"/>
                  </a:lnTo>
                  <a:lnTo>
                    <a:pt x="429" y="136"/>
                  </a:lnTo>
                  <a:lnTo>
                    <a:pt x="429" y="136"/>
                  </a:lnTo>
                  <a:lnTo>
                    <a:pt x="399" y="104"/>
                  </a:lnTo>
                  <a:lnTo>
                    <a:pt x="371" y="74"/>
                  </a:lnTo>
                  <a:lnTo>
                    <a:pt x="365" y="72"/>
                  </a:lnTo>
                  <a:lnTo>
                    <a:pt x="365" y="72"/>
                  </a:lnTo>
                  <a:lnTo>
                    <a:pt x="339" y="64"/>
                  </a:lnTo>
                  <a:lnTo>
                    <a:pt x="313" y="60"/>
                  </a:lnTo>
                  <a:lnTo>
                    <a:pt x="291" y="58"/>
                  </a:lnTo>
                  <a:lnTo>
                    <a:pt x="271" y="60"/>
                  </a:lnTo>
                  <a:lnTo>
                    <a:pt x="251" y="62"/>
                  </a:lnTo>
                  <a:lnTo>
                    <a:pt x="231" y="66"/>
                  </a:lnTo>
                  <a:lnTo>
                    <a:pt x="189" y="78"/>
                  </a:lnTo>
                  <a:lnTo>
                    <a:pt x="189" y="78"/>
                  </a:lnTo>
                  <a:lnTo>
                    <a:pt x="227" y="62"/>
                  </a:lnTo>
                  <a:lnTo>
                    <a:pt x="245" y="58"/>
                  </a:lnTo>
                  <a:lnTo>
                    <a:pt x="263" y="54"/>
                  </a:lnTo>
                  <a:lnTo>
                    <a:pt x="281" y="50"/>
                  </a:lnTo>
                  <a:lnTo>
                    <a:pt x="301" y="50"/>
                  </a:lnTo>
                  <a:lnTo>
                    <a:pt x="323" y="50"/>
                  </a:lnTo>
                  <a:lnTo>
                    <a:pt x="345" y="50"/>
                  </a:lnTo>
                  <a:lnTo>
                    <a:pt x="345"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74" name="Freeform 77">
              <a:extLst>
                <a:ext uri="{FF2B5EF4-FFF2-40B4-BE49-F238E27FC236}">
                  <a16:creationId xmlns:a16="http://schemas.microsoft.com/office/drawing/2014/main" id="{B45AFD1A-E2CF-4D71-9E76-D6C65EDA3768}"/>
                </a:ext>
              </a:extLst>
            </p:cNvPr>
            <p:cNvSpPr>
              <a:spLocks/>
            </p:cNvSpPr>
            <p:nvPr/>
          </p:nvSpPr>
          <p:spPr bwMode="auto">
            <a:xfrm>
              <a:off x="4905" y="515"/>
              <a:ext cx="196" cy="398"/>
            </a:xfrm>
            <a:custGeom>
              <a:avLst/>
              <a:gdLst>
                <a:gd name="T0" fmla="*/ 100 w 196"/>
                <a:gd name="T1" fmla="*/ 348 h 398"/>
                <a:gd name="T2" fmla="*/ 100 w 196"/>
                <a:gd name="T3" fmla="*/ 348 h 398"/>
                <a:gd name="T4" fmla="*/ 80 w 196"/>
                <a:gd name="T5" fmla="*/ 298 h 398"/>
                <a:gd name="T6" fmla="*/ 72 w 196"/>
                <a:gd name="T7" fmla="*/ 274 h 398"/>
                <a:gd name="T8" fmla="*/ 66 w 196"/>
                <a:gd name="T9" fmla="*/ 250 h 398"/>
                <a:gd name="T10" fmla="*/ 56 w 196"/>
                <a:gd name="T11" fmla="*/ 202 h 398"/>
                <a:gd name="T12" fmla="*/ 50 w 196"/>
                <a:gd name="T13" fmla="*/ 152 h 398"/>
                <a:gd name="T14" fmla="*/ 50 w 196"/>
                <a:gd name="T15" fmla="*/ 152 h 398"/>
                <a:gd name="T16" fmla="*/ 62 w 196"/>
                <a:gd name="T17" fmla="*/ 204 h 398"/>
                <a:gd name="T18" fmla="*/ 66 w 196"/>
                <a:gd name="T19" fmla="*/ 230 h 398"/>
                <a:gd name="T20" fmla="*/ 72 w 196"/>
                <a:gd name="T21" fmla="*/ 252 h 398"/>
                <a:gd name="T22" fmla="*/ 80 w 196"/>
                <a:gd name="T23" fmla="*/ 276 h 398"/>
                <a:gd name="T24" fmla="*/ 90 w 196"/>
                <a:gd name="T25" fmla="*/ 300 h 398"/>
                <a:gd name="T26" fmla="*/ 104 w 196"/>
                <a:gd name="T27" fmla="*/ 326 h 398"/>
                <a:gd name="T28" fmla="*/ 122 w 196"/>
                <a:gd name="T29" fmla="*/ 354 h 398"/>
                <a:gd name="T30" fmla="*/ 122 w 196"/>
                <a:gd name="T31" fmla="*/ 354 h 398"/>
                <a:gd name="T32" fmla="*/ 132 w 196"/>
                <a:gd name="T33" fmla="*/ 368 h 398"/>
                <a:gd name="T34" fmla="*/ 132 w 196"/>
                <a:gd name="T35" fmla="*/ 368 h 398"/>
                <a:gd name="T36" fmla="*/ 184 w 196"/>
                <a:gd name="T37" fmla="*/ 398 h 398"/>
                <a:gd name="T38" fmla="*/ 184 w 196"/>
                <a:gd name="T39" fmla="*/ 398 h 398"/>
                <a:gd name="T40" fmla="*/ 190 w 196"/>
                <a:gd name="T41" fmla="*/ 374 h 398"/>
                <a:gd name="T42" fmla="*/ 194 w 196"/>
                <a:gd name="T43" fmla="*/ 348 h 398"/>
                <a:gd name="T44" fmla="*/ 196 w 196"/>
                <a:gd name="T45" fmla="*/ 312 h 398"/>
                <a:gd name="T46" fmla="*/ 196 w 196"/>
                <a:gd name="T47" fmla="*/ 312 h 398"/>
                <a:gd name="T48" fmla="*/ 196 w 196"/>
                <a:gd name="T49" fmla="*/ 286 h 398"/>
                <a:gd name="T50" fmla="*/ 194 w 196"/>
                <a:gd name="T51" fmla="*/ 260 h 398"/>
                <a:gd name="T52" fmla="*/ 188 w 196"/>
                <a:gd name="T53" fmla="*/ 238 h 398"/>
                <a:gd name="T54" fmla="*/ 180 w 196"/>
                <a:gd name="T55" fmla="*/ 216 h 398"/>
                <a:gd name="T56" fmla="*/ 170 w 196"/>
                <a:gd name="T57" fmla="*/ 196 h 398"/>
                <a:gd name="T58" fmla="*/ 160 w 196"/>
                <a:gd name="T59" fmla="*/ 178 h 398"/>
                <a:gd name="T60" fmla="*/ 146 w 196"/>
                <a:gd name="T61" fmla="*/ 162 h 398"/>
                <a:gd name="T62" fmla="*/ 132 w 196"/>
                <a:gd name="T63" fmla="*/ 144 h 398"/>
                <a:gd name="T64" fmla="*/ 102 w 196"/>
                <a:gd name="T65" fmla="*/ 112 h 398"/>
                <a:gd name="T66" fmla="*/ 70 w 196"/>
                <a:gd name="T67" fmla="*/ 78 h 398"/>
                <a:gd name="T68" fmla="*/ 38 w 196"/>
                <a:gd name="T69" fmla="*/ 42 h 398"/>
                <a:gd name="T70" fmla="*/ 22 w 196"/>
                <a:gd name="T71" fmla="*/ 22 h 398"/>
                <a:gd name="T72" fmla="*/ 8 w 196"/>
                <a:gd name="T73" fmla="*/ 0 h 398"/>
                <a:gd name="T74" fmla="*/ 0 w 196"/>
                <a:gd name="T75" fmla="*/ 170 h 398"/>
                <a:gd name="T76" fmla="*/ 0 w 196"/>
                <a:gd name="T77" fmla="*/ 170 h 398"/>
                <a:gd name="T78" fmla="*/ 0 w 196"/>
                <a:gd name="T79" fmla="*/ 202 h 398"/>
                <a:gd name="T80" fmla="*/ 6 w 196"/>
                <a:gd name="T81" fmla="*/ 230 h 398"/>
                <a:gd name="T82" fmla="*/ 14 w 196"/>
                <a:gd name="T83" fmla="*/ 256 h 398"/>
                <a:gd name="T84" fmla="*/ 26 w 196"/>
                <a:gd name="T85" fmla="*/ 278 h 398"/>
                <a:gd name="T86" fmla="*/ 40 w 196"/>
                <a:gd name="T87" fmla="*/ 298 h 398"/>
                <a:gd name="T88" fmla="*/ 58 w 196"/>
                <a:gd name="T89" fmla="*/ 316 h 398"/>
                <a:gd name="T90" fmla="*/ 78 w 196"/>
                <a:gd name="T91" fmla="*/ 334 h 398"/>
                <a:gd name="T92" fmla="*/ 100 w 196"/>
                <a:gd name="T93" fmla="*/ 348 h 398"/>
                <a:gd name="T94" fmla="*/ 100 w 196"/>
                <a:gd name="T95" fmla="*/ 34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6" h="398">
                  <a:moveTo>
                    <a:pt x="100" y="348"/>
                  </a:moveTo>
                  <a:lnTo>
                    <a:pt x="100" y="348"/>
                  </a:lnTo>
                  <a:lnTo>
                    <a:pt x="80" y="298"/>
                  </a:lnTo>
                  <a:lnTo>
                    <a:pt x="72" y="274"/>
                  </a:lnTo>
                  <a:lnTo>
                    <a:pt x="66" y="250"/>
                  </a:lnTo>
                  <a:lnTo>
                    <a:pt x="56" y="202"/>
                  </a:lnTo>
                  <a:lnTo>
                    <a:pt x="50" y="152"/>
                  </a:lnTo>
                  <a:lnTo>
                    <a:pt x="50" y="152"/>
                  </a:lnTo>
                  <a:lnTo>
                    <a:pt x="62" y="204"/>
                  </a:lnTo>
                  <a:lnTo>
                    <a:pt x="66" y="230"/>
                  </a:lnTo>
                  <a:lnTo>
                    <a:pt x="72" y="252"/>
                  </a:lnTo>
                  <a:lnTo>
                    <a:pt x="80" y="276"/>
                  </a:lnTo>
                  <a:lnTo>
                    <a:pt x="90" y="300"/>
                  </a:lnTo>
                  <a:lnTo>
                    <a:pt x="104" y="326"/>
                  </a:lnTo>
                  <a:lnTo>
                    <a:pt x="122" y="354"/>
                  </a:lnTo>
                  <a:lnTo>
                    <a:pt x="122" y="354"/>
                  </a:lnTo>
                  <a:lnTo>
                    <a:pt x="132" y="368"/>
                  </a:lnTo>
                  <a:lnTo>
                    <a:pt x="132" y="368"/>
                  </a:lnTo>
                  <a:lnTo>
                    <a:pt x="184" y="398"/>
                  </a:lnTo>
                  <a:lnTo>
                    <a:pt x="184" y="398"/>
                  </a:lnTo>
                  <a:lnTo>
                    <a:pt x="190" y="374"/>
                  </a:lnTo>
                  <a:lnTo>
                    <a:pt x="194" y="348"/>
                  </a:lnTo>
                  <a:lnTo>
                    <a:pt x="196" y="312"/>
                  </a:lnTo>
                  <a:lnTo>
                    <a:pt x="196" y="312"/>
                  </a:lnTo>
                  <a:lnTo>
                    <a:pt x="196" y="286"/>
                  </a:lnTo>
                  <a:lnTo>
                    <a:pt x="194" y="260"/>
                  </a:lnTo>
                  <a:lnTo>
                    <a:pt x="188" y="238"/>
                  </a:lnTo>
                  <a:lnTo>
                    <a:pt x="180" y="216"/>
                  </a:lnTo>
                  <a:lnTo>
                    <a:pt x="170" y="196"/>
                  </a:lnTo>
                  <a:lnTo>
                    <a:pt x="160" y="178"/>
                  </a:lnTo>
                  <a:lnTo>
                    <a:pt x="146" y="162"/>
                  </a:lnTo>
                  <a:lnTo>
                    <a:pt x="132" y="144"/>
                  </a:lnTo>
                  <a:lnTo>
                    <a:pt x="102" y="112"/>
                  </a:lnTo>
                  <a:lnTo>
                    <a:pt x="70" y="78"/>
                  </a:lnTo>
                  <a:lnTo>
                    <a:pt x="38" y="42"/>
                  </a:lnTo>
                  <a:lnTo>
                    <a:pt x="22" y="22"/>
                  </a:lnTo>
                  <a:lnTo>
                    <a:pt x="8" y="0"/>
                  </a:lnTo>
                  <a:lnTo>
                    <a:pt x="0" y="170"/>
                  </a:lnTo>
                  <a:lnTo>
                    <a:pt x="0" y="170"/>
                  </a:lnTo>
                  <a:lnTo>
                    <a:pt x="0" y="202"/>
                  </a:lnTo>
                  <a:lnTo>
                    <a:pt x="6" y="230"/>
                  </a:lnTo>
                  <a:lnTo>
                    <a:pt x="14" y="256"/>
                  </a:lnTo>
                  <a:lnTo>
                    <a:pt x="26" y="278"/>
                  </a:lnTo>
                  <a:lnTo>
                    <a:pt x="40" y="298"/>
                  </a:lnTo>
                  <a:lnTo>
                    <a:pt x="58" y="316"/>
                  </a:lnTo>
                  <a:lnTo>
                    <a:pt x="78" y="334"/>
                  </a:lnTo>
                  <a:lnTo>
                    <a:pt x="100" y="348"/>
                  </a:lnTo>
                  <a:lnTo>
                    <a:pt x="100" y="3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75" name="Freeform 78">
              <a:extLst>
                <a:ext uri="{FF2B5EF4-FFF2-40B4-BE49-F238E27FC236}">
                  <a16:creationId xmlns:a16="http://schemas.microsoft.com/office/drawing/2014/main" id="{FA81DC2F-F7EC-4196-B838-BA2A469B91A3}"/>
                </a:ext>
              </a:extLst>
            </p:cNvPr>
            <p:cNvSpPr>
              <a:spLocks/>
            </p:cNvSpPr>
            <p:nvPr/>
          </p:nvSpPr>
          <p:spPr bwMode="auto">
            <a:xfrm>
              <a:off x="4935" y="1358"/>
              <a:ext cx="408" cy="414"/>
            </a:xfrm>
            <a:custGeom>
              <a:avLst/>
              <a:gdLst>
                <a:gd name="T0" fmla="*/ 212 w 408"/>
                <a:gd name="T1" fmla="*/ 78 h 414"/>
                <a:gd name="T2" fmla="*/ 0 w 408"/>
                <a:gd name="T3" fmla="*/ 0 h 414"/>
                <a:gd name="T4" fmla="*/ 0 w 408"/>
                <a:gd name="T5" fmla="*/ 0 h 414"/>
                <a:gd name="T6" fmla="*/ 20 w 408"/>
                <a:gd name="T7" fmla="*/ 30 h 414"/>
                <a:gd name="T8" fmla="*/ 38 w 408"/>
                <a:gd name="T9" fmla="*/ 58 h 414"/>
                <a:gd name="T10" fmla="*/ 54 w 408"/>
                <a:gd name="T11" fmla="*/ 86 h 414"/>
                <a:gd name="T12" fmla="*/ 68 w 408"/>
                <a:gd name="T13" fmla="*/ 114 h 414"/>
                <a:gd name="T14" fmla="*/ 94 w 408"/>
                <a:gd name="T15" fmla="*/ 170 h 414"/>
                <a:gd name="T16" fmla="*/ 122 w 408"/>
                <a:gd name="T17" fmla="*/ 224 h 414"/>
                <a:gd name="T18" fmla="*/ 136 w 408"/>
                <a:gd name="T19" fmla="*/ 248 h 414"/>
                <a:gd name="T20" fmla="*/ 152 w 408"/>
                <a:gd name="T21" fmla="*/ 272 h 414"/>
                <a:gd name="T22" fmla="*/ 168 w 408"/>
                <a:gd name="T23" fmla="*/ 296 h 414"/>
                <a:gd name="T24" fmla="*/ 188 w 408"/>
                <a:gd name="T25" fmla="*/ 316 h 414"/>
                <a:gd name="T26" fmla="*/ 210 w 408"/>
                <a:gd name="T27" fmla="*/ 336 h 414"/>
                <a:gd name="T28" fmla="*/ 236 w 408"/>
                <a:gd name="T29" fmla="*/ 354 h 414"/>
                <a:gd name="T30" fmla="*/ 266 w 408"/>
                <a:gd name="T31" fmla="*/ 370 h 414"/>
                <a:gd name="T32" fmla="*/ 298 w 408"/>
                <a:gd name="T33" fmla="*/ 384 h 414"/>
                <a:gd name="T34" fmla="*/ 298 w 408"/>
                <a:gd name="T35" fmla="*/ 384 h 414"/>
                <a:gd name="T36" fmla="*/ 342 w 408"/>
                <a:gd name="T37" fmla="*/ 400 h 414"/>
                <a:gd name="T38" fmla="*/ 378 w 408"/>
                <a:gd name="T39" fmla="*/ 408 h 414"/>
                <a:gd name="T40" fmla="*/ 408 w 408"/>
                <a:gd name="T41" fmla="*/ 414 h 414"/>
                <a:gd name="T42" fmla="*/ 408 w 408"/>
                <a:gd name="T43" fmla="*/ 414 h 414"/>
                <a:gd name="T44" fmla="*/ 396 w 408"/>
                <a:gd name="T45" fmla="*/ 340 h 414"/>
                <a:gd name="T46" fmla="*/ 396 w 408"/>
                <a:gd name="T47" fmla="*/ 340 h 414"/>
                <a:gd name="T48" fmla="*/ 372 w 408"/>
                <a:gd name="T49" fmla="*/ 300 h 414"/>
                <a:gd name="T50" fmla="*/ 372 w 408"/>
                <a:gd name="T51" fmla="*/ 300 h 414"/>
                <a:gd name="T52" fmla="*/ 360 w 408"/>
                <a:gd name="T53" fmla="*/ 284 h 414"/>
                <a:gd name="T54" fmla="*/ 350 w 408"/>
                <a:gd name="T55" fmla="*/ 270 h 414"/>
                <a:gd name="T56" fmla="*/ 338 w 408"/>
                <a:gd name="T57" fmla="*/ 256 h 414"/>
                <a:gd name="T58" fmla="*/ 328 w 408"/>
                <a:gd name="T59" fmla="*/ 246 h 414"/>
                <a:gd name="T60" fmla="*/ 306 w 408"/>
                <a:gd name="T61" fmla="*/ 230 h 414"/>
                <a:gd name="T62" fmla="*/ 282 w 408"/>
                <a:gd name="T63" fmla="*/ 216 h 414"/>
                <a:gd name="T64" fmla="*/ 258 w 408"/>
                <a:gd name="T65" fmla="*/ 208 h 414"/>
                <a:gd name="T66" fmla="*/ 234 w 408"/>
                <a:gd name="T67" fmla="*/ 200 h 414"/>
                <a:gd name="T68" fmla="*/ 178 w 408"/>
                <a:gd name="T69" fmla="*/ 182 h 414"/>
                <a:gd name="T70" fmla="*/ 178 w 408"/>
                <a:gd name="T71" fmla="*/ 182 h 414"/>
                <a:gd name="T72" fmla="*/ 208 w 408"/>
                <a:gd name="T73" fmla="*/ 186 h 414"/>
                <a:gd name="T74" fmla="*/ 234 w 408"/>
                <a:gd name="T75" fmla="*/ 190 h 414"/>
                <a:gd name="T76" fmla="*/ 260 w 408"/>
                <a:gd name="T77" fmla="*/ 198 h 414"/>
                <a:gd name="T78" fmla="*/ 284 w 408"/>
                <a:gd name="T79" fmla="*/ 206 h 414"/>
                <a:gd name="T80" fmla="*/ 308 w 408"/>
                <a:gd name="T81" fmla="*/ 218 h 414"/>
                <a:gd name="T82" fmla="*/ 332 w 408"/>
                <a:gd name="T83" fmla="*/ 230 h 414"/>
                <a:gd name="T84" fmla="*/ 356 w 408"/>
                <a:gd name="T85" fmla="*/ 248 h 414"/>
                <a:gd name="T86" fmla="*/ 380 w 408"/>
                <a:gd name="T87" fmla="*/ 268 h 414"/>
                <a:gd name="T88" fmla="*/ 380 w 408"/>
                <a:gd name="T89" fmla="*/ 268 h 414"/>
                <a:gd name="T90" fmla="*/ 372 w 408"/>
                <a:gd name="T91" fmla="*/ 238 h 414"/>
                <a:gd name="T92" fmla="*/ 360 w 408"/>
                <a:gd name="T93" fmla="*/ 208 h 414"/>
                <a:gd name="T94" fmla="*/ 346 w 408"/>
                <a:gd name="T95" fmla="*/ 182 h 414"/>
                <a:gd name="T96" fmla="*/ 328 w 408"/>
                <a:gd name="T97" fmla="*/ 156 h 414"/>
                <a:gd name="T98" fmla="*/ 306 w 408"/>
                <a:gd name="T99" fmla="*/ 134 h 414"/>
                <a:gd name="T100" fmla="*/ 294 w 408"/>
                <a:gd name="T101" fmla="*/ 122 h 414"/>
                <a:gd name="T102" fmla="*/ 280 w 408"/>
                <a:gd name="T103" fmla="*/ 112 h 414"/>
                <a:gd name="T104" fmla="*/ 264 w 408"/>
                <a:gd name="T105" fmla="*/ 102 h 414"/>
                <a:gd name="T106" fmla="*/ 248 w 408"/>
                <a:gd name="T107" fmla="*/ 94 h 414"/>
                <a:gd name="T108" fmla="*/ 230 w 408"/>
                <a:gd name="T109" fmla="*/ 86 h 414"/>
                <a:gd name="T110" fmla="*/ 212 w 408"/>
                <a:gd name="T111" fmla="*/ 78 h 414"/>
                <a:gd name="T112" fmla="*/ 212 w 408"/>
                <a:gd name="T113" fmla="*/ 78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8" h="414">
                  <a:moveTo>
                    <a:pt x="212" y="78"/>
                  </a:moveTo>
                  <a:lnTo>
                    <a:pt x="0" y="0"/>
                  </a:lnTo>
                  <a:lnTo>
                    <a:pt x="0" y="0"/>
                  </a:lnTo>
                  <a:lnTo>
                    <a:pt x="20" y="30"/>
                  </a:lnTo>
                  <a:lnTo>
                    <a:pt x="38" y="58"/>
                  </a:lnTo>
                  <a:lnTo>
                    <a:pt x="54" y="86"/>
                  </a:lnTo>
                  <a:lnTo>
                    <a:pt x="68" y="114"/>
                  </a:lnTo>
                  <a:lnTo>
                    <a:pt x="94" y="170"/>
                  </a:lnTo>
                  <a:lnTo>
                    <a:pt x="122" y="224"/>
                  </a:lnTo>
                  <a:lnTo>
                    <a:pt x="136" y="248"/>
                  </a:lnTo>
                  <a:lnTo>
                    <a:pt x="152" y="272"/>
                  </a:lnTo>
                  <a:lnTo>
                    <a:pt x="168" y="296"/>
                  </a:lnTo>
                  <a:lnTo>
                    <a:pt x="188" y="316"/>
                  </a:lnTo>
                  <a:lnTo>
                    <a:pt x="210" y="336"/>
                  </a:lnTo>
                  <a:lnTo>
                    <a:pt x="236" y="354"/>
                  </a:lnTo>
                  <a:lnTo>
                    <a:pt x="266" y="370"/>
                  </a:lnTo>
                  <a:lnTo>
                    <a:pt x="298" y="384"/>
                  </a:lnTo>
                  <a:lnTo>
                    <a:pt x="298" y="384"/>
                  </a:lnTo>
                  <a:lnTo>
                    <a:pt x="342" y="400"/>
                  </a:lnTo>
                  <a:lnTo>
                    <a:pt x="378" y="408"/>
                  </a:lnTo>
                  <a:lnTo>
                    <a:pt x="408" y="414"/>
                  </a:lnTo>
                  <a:lnTo>
                    <a:pt x="408" y="414"/>
                  </a:lnTo>
                  <a:lnTo>
                    <a:pt x="396" y="340"/>
                  </a:lnTo>
                  <a:lnTo>
                    <a:pt x="396" y="340"/>
                  </a:lnTo>
                  <a:lnTo>
                    <a:pt x="372" y="300"/>
                  </a:lnTo>
                  <a:lnTo>
                    <a:pt x="372" y="300"/>
                  </a:lnTo>
                  <a:lnTo>
                    <a:pt x="360" y="284"/>
                  </a:lnTo>
                  <a:lnTo>
                    <a:pt x="350" y="270"/>
                  </a:lnTo>
                  <a:lnTo>
                    <a:pt x="338" y="256"/>
                  </a:lnTo>
                  <a:lnTo>
                    <a:pt x="328" y="246"/>
                  </a:lnTo>
                  <a:lnTo>
                    <a:pt x="306" y="230"/>
                  </a:lnTo>
                  <a:lnTo>
                    <a:pt x="282" y="216"/>
                  </a:lnTo>
                  <a:lnTo>
                    <a:pt x="258" y="208"/>
                  </a:lnTo>
                  <a:lnTo>
                    <a:pt x="234" y="200"/>
                  </a:lnTo>
                  <a:lnTo>
                    <a:pt x="178" y="182"/>
                  </a:lnTo>
                  <a:lnTo>
                    <a:pt x="178" y="182"/>
                  </a:lnTo>
                  <a:lnTo>
                    <a:pt x="208" y="186"/>
                  </a:lnTo>
                  <a:lnTo>
                    <a:pt x="234" y="190"/>
                  </a:lnTo>
                  <a:lnTo>
                    <a:pt x="260" y="198"/>
                  </a:lnTo>
                  <a:lnTo>
                    <a:pt x="284" y="206"/>
                  </a:lnTo>
                  <a:lnTo>
                    <a:pt x="308" y="218"/>
                  </a:lnTo>
                  <a:lnTo>
                    <a:pt x="332" y="230"/>
                  </a:lnTo>
                  <a:lnTo>
                    <a:pt x="356" y="248"/>
                  </a:lnTo>
                  <a:lnTo>
                    <a:pt x="380" y="268"/>
                  </a:lnTo>
                  <a:lnTo>
                    <a:pt x="380" y="268"/>
                  </a:lnTo>
                  <a:lnTo>
                    <a:pt x="372" y="238"/>
                  </a:lnTo>
                  <a:lnTo>
                    <a:pt x="360" y="208"/>
                  </a:lnTo>
                  <a:lnTo>
                    <a:pt x="346" y="182"/>
                  </a:lnTo>
                  <a:lnTo>
                    <a:pt x="328" y="156"/>
                  </a:lnTo>
                  <a:lnTo>
                    <a:pt x="306" y="134"/>
                  </a:lnTo>
                  <a:lnTo>
                    <a:pt x="294" y="122"/>
                  </a:lnTo>
                  <a:lnTo>
                    <a:pt x="280" y="112"/>
                  </a:lnTo>
                  <a:lnTo>
                    <a:pt x="264" y="102"/>
                  </a:lnTo>
                  <a:lnTo>
                    <a:pt x="248" y="94"/>
                  </a:lnTo>
                  <a:lnTo>
                    <a:pt x="230" y="86"/>
                  </a:lnTo>
                  <a:lnTo>
                    <a:pt x="212" y="78"/>
                  </a:lnTo>
                  <a:lnTo>
                    <a:pt x="212"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76" name="Freeform 79">
              <a:extLst>
                <a:ext uri="{FF2B5EF4-FFF2-40B4-BE49-F238E27FC236}">
                  <a16:creationId xmlns:a16="http://schemas.microsoft.com/office/drawing/2014/main" id="{8E3EEC7C-3849-4937-A5A7-57F442B7D9E1}"/>
                </a:ext>
              </a:extLst>
            </p:cNvPr>
            <p:cNvSpPr>
              <a:spLocks/>
            </p:cNvSpPr>
            <p:nvPr/>
          </p:nvSpPr>
          <p:spPr bwMode="auto">
            <a:xfrm>
              <a:off x="5325" y="1175"/>
              <a:ext cx="214" cy="565"/>
            </a:xfrm>
            <a:custGeom>
              <a:avLst/>
              <a:gdLst>
                <a:gd name="T0" fmla="*/ 20 w 214"/>
                <a:gd name="T1" fmla="*/ 453 h 565"/>
                <a:gd name="T2" fmla="*/ 20 w 214"/>
                <a:gd name="T3" fmla="*/ 453 h 565"/>
                <a:gd name="T4" fmla="*/ 32 w 214"/>
                <a:gd name="T5" fmla="*/ 409 h 565"/>
                <a:gd name="T6" fmla="*/ 44 w 214"/>
                <a:gd name="T7" fmla="*/ 369 h 565"/>
                <a:gd name="T8" fmla="*/ 58 w 214"/>
                <a:gd name="T9" fmla="*/ 333 h 565"/>
                <a:gd name="T10" fmla="*/ 72 w 214"/>
                <a:gd name="T11" fmla="*/ 297 h 565"/>
                <a:gd name="T12" fmla="*/ 86 w 214"/>
                <a:gd name="T13" fmla="*/ 263 h 565"/>
                <a:gd name="T14" fmla="*/ 104 w 214"/>
                <a:gd name="T15" fmla="*/ 229 h 565"/>
                <a:gd name="T16" fmla="*/ 122 w 214"/>
                <a:gd name="T17" fmla="*/ 195 h 565"/>
                <a:gd name="T18" fmla="*/ 144 w 214"/>
                <a:gd name="T19" fmla="*/ 158 h 565"/>
                <a:gd name="T20" fmla="*/ 144 w 214"/>
                <a:gd name="T21" fmla="*/ 158 h 565"/>
                <a:gd name="T22" fmla="*/ 108 w 214"/>
                <a:gd name="T23" fmla="*/ 235 h 565"/>
                <a:gd name="T24" fmla="*/ 92 w 214"/>
                <a:gd name="T25" fmla="*/ 269 h 565"/>
                <a:gd name="T26" fmla="*/ 76 w 214"/>
                <a:gd name="T27" fmla="*/ 303 h 565"/>
                <a:gd name="T28" fmla="*/ 64 w 214"/>
                <a:gd name="T29" fmla="*/ 339 h 565"/>
                <a:gd name="T30" fmla="*/ 52 w 214"/>
                <a:gd name="T31" fmla="*/ 377 h 565"/>
                <a:gd name="T32" fmla="*/ 44 w 214"/>
                <a:gd name="T33" fmla="*/ 419 h 565"/>
                <a:gd name="T34" fmla="*/ 40 w 214"/>
                <a:gd name="T35" fmla="*/ 467 h 565"/>
                <a:gd name="T36" fmla="*/ 40 w 214"/>
                <a:gd name="T37" fmla="*/ 467 h 565"/>
                <a:gd name="T38" fmla="*/ 38 w 214"/>
                <a:gd name="T39" fmla="*/ 487 h 565"/>
                <a:gd name="T40" fmla="*/ 38 w 214"/>
                <a:gd name="T41" fmla="*/ 505 h 565"/>
                <a:gd name="T42" fmla="*/ 38 w 214"/>
                <a:gd name="T43" fmla="*/ 505 h 565"/>
                <a:gd name="T44" fmla="*/ 62 w 214"/>
                <a:gd name="T45" fmla="*/ 565 h 565"/>
                <a:gd name="T46" fmla="*/ 62 w 214"/>
                <a:gd name="T47" fmla="*/ 565 h 565"/>
                <a:gd name="T48" fmla="*/ 86 w 214"/>
                <a:gd name="T49" fmla="*/ 545 h 565"/>
                <a:gd name="T50" fmla="*/ 112 w 214"/>
                <a:gd name="T51" fmla="*/ 519 h 565"/>
                <a:gd name="T52" fmla="*/ 142 w 214"/>
                <a:gd name="T53" fmla="*/ 485 h 565"/>
                <a:gd name="T54" fmla="*/ 142 w 214"/>
                <a:gd name="T55" fmla="*/ 485 h 565"/>
                <a:gd name="T56" fmla="*/ 164 w 214"/>
                <a:gd name="T57" fmla="*/ 455 h 565"/>
                <a:gd name="T58" fmla="*/ 182 w 214"/>
                <a:gd name="T59" fmla="*/ 427 h 565"/>
                <a:gd name="T60" fmla="*/ 194 w 214"/>
                <a:gd name="T61" fmla="*/ 397 h 565"/>
                <a:gd name="T62" fmla="*/ 204 w 214"/>
                <a:gd name="T63" fmla="*/ 369 h 565"/>
                <a:gd name="T64" fmla="*/ 210 w 214"/>
                <a:gd name="T65" fmla="*/ 341 h 565"/>
                <a:gd name="T66" fmla="*/ 212 w 214"/>
                <a:gd name="T67" fmla="*/ 313 h 565"/>
                <a:gd name="T68" fmla="*/ 214 w 214"/>
                <a:gd name="T69" fmla="*/ 285 h 565"/>
                <a:gd name="T70" fmla="*/ 214 w 214"/>
                <a:gd name="T71" fmla="*/ 255 h 565"/>
                <a:gd name="T72" fmla="*/ 210 w 214"/>
                <a:gd name="T73" fmla="*/ 195 h 565"/>
                <a:gd name="T74" fmla="*/ 204 w 214"/>
                <a:gd name="T75" fmla="*/ 134 h 565"/>
                <a:gd name="T76" fmla="*/ 202 w 214"/>
                <a:gd name="T77" fmla="*/ 102 h 565"/>
                <a:gd name="T78" fmla="*/ 202 w 214"/>
                <a:gd name="T79" fmla="*/ 68 h 565"/>
                <a:gd name="T80" fmla="*/ 204 w 214"/>
                <a:gd name="T81" fmla="*/ 36 h 565"/>
                <a:gd name="T82" fmla="*/ 206 w 214"/>
                <a:gd name="T83" fmla="*/ 0 h 565"/>
                <a:gd name="T84" fmla="*/ 62 w 214"/>
                <a:gd name="T85" fmla="*/ 175 h 565"/>
                <a:gd name="T86" fmla="*/ 62 w 214"/>
                <a:gd name="T87" fmla="*/ 175 h 565"/>
                <a:gd name="T88" fmla="*/ 48 w 214"/>
                <a:gd name="T89" fmla="*/ 193 h 565"/>
                <a:gd name="T90" fmla="*/ 36 w 214"/>
                <a:gd name="T91" fmla="*/ 211 h 565"/>
                <a:gd name="T92" fmla="*/ 26 w 214"/>
                <a:gd name="T93" fmla="*/ 229 h 565"/>
                <a:gd name="T94" fmla="*/ 18 w 214"/>
                <a:gd name="T95" fmla="*/ 247 h 565"/>
                <a:gd name="T96" fmla="*/ 12 w 214"/>
                <a:gd name="T97" fmla="*/ 263 h 565"/>
                <a:gd name="T98" fmla="*/ 6 w 214"/>
                <a:gd name="T99" fmla="*/ 281 h 565"/>
                <a:gd name="T100" fmla="*/ 2 w 214"/>
                <a:gd name="T101" fmla="*/ 297 h 565"/>
                <a:gd name="T102" fmla="*/ 0 w 214"/>
                <a:gd name="T103" fmla="*/ 315 h 565"/>
                <a:gd name="T104" fmla="*/ 0 w 214"/>
                <a:gd name="T105" fmla="*/ 331 h 565"/>
                <a:gd name="T106" fmla="*/ 0 w 214"/>
                <a:gd name="T107" fmla="*/ 349 h 565"/>
                <a:gd name="T108" fmla="*/ 4 w 214"/>
                <a:gd name="T109" fmla="*/ 383 h 565"/>
                <a:gd name="T110" fmla="*/ 10 w 214"/>
                <a:gd name="T111" fmla="*/ 417 h 565"/>
                <a:gd name="T112" fmla="*/ 20 w 214"/>
                <a:gd name="T113" fmla="*/ 453 h 565"/>
                <a:gd name="T114" fmla="*/ 20 w 214"/>
                <a:gd name="T115" fmla="*/ 453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4" h="565">
                  <a:moveTo>
                    <a:pt x="20" y="453"/>
                  </a:moveTo>
                  <a:lnTo>
                    <a:pt x="20" y="453"/>
                  </a:lnTo>
                  <a:lnTo>
                    <a:pt x="32" y="409"/>
                  </a:lnTo>
                  <a:lnTo>
                    <a:pt x="44" y="369"/>
                  </a:lnTo>
                  <a:lnTo>
                    <a:pt x="58" y="333"/>
                  </a:lnTo>
                  <a:lnTo>
                    <a:pt x="72" y="297"/>
                  </a:lnTo>
                  <a:lnTo>
                    <a:pt x="86" y="263"/>
                  </a:lnTo>
                  <a:lnTo>
                    <a:pt x="104" y="229"/>
                  </a:lnTo>
                  <a:lnTo>
                    <a:pt x="122" y="195"/>
                  </a:lnTo>
                  <a:lnTo>
                    <a:pt x="144" y="158"/>
                  </a:lnTo>
                  <a:lnTo>
                    <a:pt x="144" y="158"/>
                  </a:lnTo>
                  <a:lnTo>
                    <a:pt x="108" y="235"/>
                  </a:lnTo>
                  <a:lnTo>
                    <a:pt x="92" y="269"/>
                  </a:lnTo>
                  <a:lnTo>
                    <a:pt x="76" y="303"/>
                  </a:lnTo>
                  <a:lnTo>
                    <a:pt x="64" y="339"/>
                  </a:lnTo>
                  <a:lnTo>
                    <a:pt x="52" y="377"/>
                  </a:lnTo>
                  <a:lnTo>
                    <a:pt x="44" y="419"/>
                  </a:lnTo>
                  <a:lnTo>
                    <a:pt x="40" y="467"/>
                  </a:lnTo>
                  <a:lnTo>
                    <a:pt x="40" y="467"/>
                  </a:lnTo>
                  <a:lnTo>
                    <a:pt x="38" y="487"/>
                  </a:lnTo>
                  <a:lnTo>
                    <a:pt x="38" y="505"/>
                  </a:lnTo>
                  <a:lnTo>
                    <a:pt x="38" y="505"/>
                  </a:lnTo>
                  <a:lnTo>
                    <a:pt x="62" y="565"/>
                  </a:lnTo>
                  <a:lnTo>
                    <a:pt x="62" y="565"/>
                  </a:lnTo>
                  <a:lnTo>
                    <a:pt x="86" y="545"/>
                  </a:lnTo>
                  <a:lnTo>
                    <a:pt x="112" y="519"/>
                  </a:lnTo>
                  <a:lnTo>
                    <a:pt x="142" y="485"/>
                  </a:lnTo>
                  <a:lnTo>
                    <a:pt x="142" y="485"/>
                  </a:lnTo>
                  <a:lnTo>
                    <a:pt x="164" y="455"/>
                  </a:lnTo>
                  <a:lnTo>
                    <a:pt x="182" y="427"/>
                  </a:lnTo>
                  <a:lnTo>
                    <a:pt x="194" y="397"/>
                  </a:lnTo>
                  <a:lnTo>
                    <a:pt x="204" y="369"/>
                  </a:lnTo>
                  <a:lnTo>
                    <a:pt x="210" y="341"/>
                  </a:lnTo>
                  <a:lnTo>
                    <a:pt x="212" y="313"/>
                  </a:lnTo>
                  <a:lnTo>
                    <a:pt x="214" y="285"/>
                  </a:lnTo>
                  <a:lnTo>
                    <a:pt x="214" y="255"/>
                  </a:lnTo>
                  <a:lnTo>
                    <a:pt x="210" y="195"/>
                  </a:lnTo>
                  <a:lnTo>
                    <a:pt x="204" y="134"/>
                  </a:lnTo>
                  <a:lnTo>
                    <a:pt x="202" y="102"/>
                  </a:lnTo>
                  <a:lnTo>
                    <a:pt x="202" y="68"/>
                  </a:lnTo>
                  <a:lnTo>
                    <a:pt x="204" y="36"/>
                  </a:lnTo>
                  <a:lnTo>
                    <a:pt x="206" y="0"/>
                  </a:lnTo>
                  <a:lnTo>
                    <a:pt x="62" y="175"/>
                  </a:lnTo>
                  <a:lnTo>
                    <a:pt x="62" y="175"/>
                  </a:lnTo>
                  <a:lnTo>
                    <a:pt x="48" y="193"/>
                  </a:lnTo>
                  <a:lnTo>
                    <a:pt x="36" y="211"/>
                  </a:lnTo>
                  <a:lnTo>
                    <a:pt x="26" y="229"/>
                  </a:lnTo>
                  <a:lnTo>
                    <a:pt x="18" y="247"/>
                  </a:lnTo>
                  <a:lnTo>
                    <a:pt x="12" y="263"/>
                  </a:lnTo>
                  <a:lnTo>
                    <a:pt x="6" y="281"/>
                  </a:lnTo>
                  <a:lnTo>
                    <a:pt x="2" y="297"/>
                  </a:lnTo>
                  <a:lnTo>
                    <a:pt x="0" y="315"/>
                  </a:lnTo>
                  <a:lnTo>
                    <a:pt x="0" y="331"/>
                  </a:lnTo>
                  <a:lnTo>
                    <a:pt x="0" y="349"/>
                  </a:lnTo>
                  <a:lnTo>
                    <a:pt x="4" y="383"/>
                  </a:lnTo>
                  <a:lnTo>
                    <a:pt x="10" y="417"/>
                  </a:lnTo>
                  <a:lnTo>
                    <a:pt x="20" y="453"/>
                  </a:lnTo>
                  <a:lnTo>
                    <a:pt x="20" y="4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77" name="Freeform 80">
              <a:extLst>
                <a:ext uri="{FF2B5EF4-FFF2-40B4-BE49-F238E27FC236}">
                  <a16:creationId xmlns:a16="http://schemas.microsoft.com/office/drawing/2014/main" id="{7C38F686-504D-4109-A350-8EF9553C4DA3}"/>
                </a:ext>
              </a:extLst>
            </p:cNvPr>
            <p:cNvSpPr>
              <a:spLocks/>
            </p:cNvSpPr>
            <p:nvPr/>
          </p:nvSpPr>
          <p:spPr bwMode="auto">
            <a:xfrm>
              <a:off x="4977" y="1778"/>
              <a:ext cx="392" cy="450"/>
            </a:xfrm>
            <a:custGeom>
              <a:avLst/>
              <a:gdLst>
                <a:gd name="T0" fmla="*/ 392 w 392"/>
                <a:gd name="T1" fmla="*/ 450 h 450"/>
                <a:gd name="T2" fmla="*/ 392 w 392"/>
                <a:gd name="T3" fmla="*/ 450 h 450"/>
                <a:gd name="T4" fmla="*/ 384 w 392"/>
                <a:gd name="T5" fmla="*/ 378 h 450"/>
                <a:gd name="T6" fmla="*/ 384 w 392"/>
                <a:gd name="T7" fmla="*/ 378 h 450"/>
                <a:gd name="T8" fmla="*/ 374 w 392"/>
                <a:gd name="T9" fmla="*/ 350 h 450"/>
                <a:gd name="T10" fmla="*/ 374 w 392"/>
                <a:gd name="T11" fmla="*/ 350 h 450"/>
                <a:gd name="T12" fmla="*/ 362 w 392"/>
                <a:gd name="T13" fmla="*/ 328 h 450"/>
                <a:gd name="T14" fmla="*/ 352 w 392"/>
                <a:gd name="T15" fmla="*/ 308 h 450"/>
                <a:gd name="T16" fmla="*/ 340 w 392"/>
                <a:gd name="T17" fmla="*/ 290 h 450"/>
                <a:gd name="T18" fmla="*/ 328 w 392"/>
                <a:gd name="T19" fmla="*/ 274 h 450"/>
                <a:gd name="T20" fmla="*/ 314 w 392"/>
                <a:gd name="T21" fmla="*/ 258 h 450"/>
                <a:gd name="T22" fmla="*/ 302 w 392"/>
                <a:gd name="T23" fmla="*/ 244 h 450"/>
                <a:gd name="T24" fmla="*/ 274 w 392"/>
                <a:gd name="T25" fmla="*/ 220 h 450"/>
                <a:gd name="T26" fmla="*/ 244 w 392"/>
                <a:gd name="T27" fmla="*/ 198 h 450"/>
                <a:gd name="T28" fmla="*/ 214 w 392"/>
                <a:gd name="T29" fmla="*/ 176 h 450"/>
                <a:gd name="T30" fmla="*/ 180 w 392"/>
                <a:gd name="T31" fmla="*/ 154 h 450"/>
                <a:gd name="T32" fmla="*/ 144 w 392"/>
                <a:gd name="T33" fmla="*/ 132 h 450"/>
                <a:gd name="T34" fmla="*/ 144 w 392"/>
                <a:gd name="T35" fmla="*/ 132 h 450"/>
                <a:gd name="T36" fmla="*/ 180 w 392"/>
                <a:gd name="T37" fmla="*/ 148 h 450"/>
                <a:gd name="T38" fmla="*/ 212 w 392"/>
                <a:gd name="T39" fmla="*/ 166 h 450"/>
                <a:gd name="T40" fmla="*/ 240 w 392"/>
                <a:gd name="T41" fmla="*/ 184 h 450"/>
                <a:gd name="T42" fmla="*/ 268 w 392"/>
                <a:gd name="T43" fmla="*/ 202 h 450"/>
                <a:gd name="T44" fmla="*/ 296 w 392"/>
                <a:gd name="T45" fmla="*/ 222 h 450"/>
                <a:gd name="T46" fmla="*/ 322 w 392"/>
                <a:gd name="T47" fmla="*/ 246 h 450"/>
                <a:gd name="T48" fmla="*/ 346 w 392"/>
                <a:gd name="T49" fmla="*/ 270 h 450"/>
                <a:gd name="T50" fmla="*/ 372 w 392"/>
                <a:gd name="T51" fmla="*/ 298 h 450"/>
                <a:gd name="T52" fmla="*/ 372 w 392"/>
                <a:gd name="T53" fmla="*/ 298 h 450"/>
                <a:gd name="T54" fmla="*/ 364 w 392"/>
                <a:gd name="T55" fmla="*/ 266 h 450"/>
                <a:gd name="T56" fmla="*/ 354 w 392"/>
                <a:gd name="T57" fmla="*/ 236 h 450"/>
                <a:gd name="T58" fmla="*/ 342 w 392"/>
                <a:gd name="T59" fmla="*/ 208 h 450"/>
                <a:gd name="T60" fmla="*/ 324 w 392"/>
                <a:gd name="T61" fmla="*/ 180 h 450"/>
                <a:gd name="T62" fmla="*/ 304 w 392"/>
                <a:gd name="T63" fmla="*/ 156 h 450"/>
                <a:gd name="T64" fmla="*/ 292 w 392"/>
                <a:gd name="T65" fmla="*/ 144 h 450"/>
                <a:gd name="T66" fmla="*/ 278 w 392"/>
                <a:gd name="T67" fmla="*/ 132 h 450"/>
                <a:gd name="T68" fmla="*/ 264 w 392"/>
                <a:gd name="T69" fmla="*/ 122 h 450"/>
                <a:gd name="T70" fmla="*/ 248 w 392"/>
                <a:gd name="T71" fmla="*/ 112 h 450"/>
                <a:gd name="T72" fmla="*/ 230 w 392"/>
                <a:gd name="T73" fmla="*/ 102 h 450"/>
                <a:gd name="T74" fmla="*/ 212 w 392"/>
                <a:gd name="T75" fmla="*/ 92 h 450"/>
                <a:gd name="T76" fmla="*/ 0 w 392"/>
                <a:gd name="T77" fmla="*/ 0 h 450"/>
                <a:gd name="T78" fmla="*/ 0 w 392"/>
                <a:gd name="T79" fmla="*/ 0 h 450"/>
                <a:gd name="T80" fmla="*/ 18 w 392"/>
                <a:gd name="T81" fmla="*/ 30 h 450"/>
                <a:gd name="T82" fmla="*/ 34 w 392"/>
                <a:gd name="T83" fmla="*/ 60 h 450"/>
                <a:gd name="T84" fmla="*/ 50 w 392"/>
                <a:gd name="T85" fmla="*/ 90 h 450"/>
                <a:gd name="T86" fmla="*/ 62 w 392"/>
                <a:gd name="T87" fmla="*/ 120 h 450"/>
                <a:gd name="T88" fmla="*/ 86 w 392"/>
                <a:gd name="T89" fmla="*/ 180 h 450"/>
                <a:gd name="T90" fmla="*/ 110 w 392"/>
                <a:gd name="T91" fmla="*/ 236 h 450"/>
                <a:gd name="T92" fmla="*/ 122 w 392"/>
                <a:gd name="T93" fmla="*/ 262 h 450"/>
                <a:gd name="T94" fmla="*/ 136 w 392"/>
                <a:gd name="T95" fmla="*/ 288 h 450"/>
                <a:gd name="T96" fmla="*/ 152 w 392"/>
                <a:gd name="T97" fmla="*/ 312 h 450"/>
                <a:gd name="T98" fmla="*/ 172 w 392"/>
                <a:gd name="T99" fmla="*/ 336 h 450"/>
                <a:gd name="T100" fmla="*/ 194 w 392"/>
                <a:gd name="T101" fmla="*/ 358 h 450"/>
                <a:gd name="T102" fmla="*/ 218 w 392"/>
                <a:gd name="T103" fmla="*/ 378 h 450"/>
                <a:gd name="T104" fmla="*/ 246 w 392"/>
                <a:gd name="T105" fmla="*/ 396 h 450"/>
                <a:gd name="T106" fmla="*/ 280 w 392"/>
                <a:gd name="T107" fmla="*/ 412 h 450"/>
                <a:gd name="T108" fmla="*/ 280 w 392"/>
                <a:gd name="T109" fmla="*/ 412 h 450"/>
                <a:gd name="T110" fmla="*/ 324 w 392"/>
                <a:gd name="T111" fmla="*/ 430 h 450"/>
                <a:gd name="T112" fmla="*/ 360 w 392"/>
                <a:gd name="T113" fmla="*/ 442 h 450"/>
                <a:gd name="T114" fmla="*/ 392 w 392"/>
                <a:gd name="T115" fmla="*/ 450 h 450"/>
                <a:gd name="T116" fmla="*/ 392 w 392"/>
                <a:gd name="T117"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 h="450">
                  <a:moveTo>
                    <a:pt x="392" y="450"/>
                  </a:moveTo>
                  <a:lnTo>
                    <a:pt x="392" y="450"/>
                  </a:lnTo>
                  <a:lnTo>
                    <a:pt x="384" y="378"/>
                  </a:lnTo>
                  <a:lnTo>
                    <a:pt x="384" y="378"/>
                  </a:lnTo>
                  <a:lnTo>
                    <a:pt x="374" y="350"/>
                  </a:lnTo>
                  <a:lnTo>
                    <a:pt x="374" y="350"/>
                  </a:lnTo>
                  <a:lnTo>
                    <a:pt x="362" y="328"/>
                  </a:lnTo>
                  <a:lnTo>
                    <a:pt x="352" y="308"/>
                  </a:lnTo>
                  <a:lnTo>
                    <a:pt x="340" y="290"/>
                  </a:lnTo>
                  <a:lnTo>
                    <a:pt x="328" y="274"/>
                  </a:lnTo>
                  <a:lnTo>
                    <a:pt x="314" y="258"/>
                  </a:lnTo>
                  <a:lnTo>
                    <a:pt x="302" y="244"/>
                  </a:lnTo>
                  <a:lnTo>
                    <a:pt x="274" y="220"/>
                  </a:lnTo>
                  <a:lnTo>
                    <a:pt x="244" y="198"/>
                  </a:lnTo>
                  <a:lnTo>
                    <a:pt x="214" y="176"/>
                  </a:lnTo>
                  <a:lnTo>
                    <a:pt x="180" y="154"/>
                  </a:lnTo>
                  <a:lnTo>
                    <a:pt x="144" y="132"/>
                  </a:lnTo>
                  <a:lnTo>
                    <a:pt x="144" y="132"/>
                  </a:lnTo>
                  <a:lnTo>
                    <a:pt x="180" y="148"/>
                  </a:lnTo>
                  <a:lnTo>
                    <a:pt x="212" y="166"/>
                  </a:lnTo>
                  <a:lnTo>
                    <a:pt x="240" y="184"/>
                  </a:lnTo>
                  <a:lnTo>
                    <a:pt x="268" y="202"/>
                  </a:lnTo>
                  <a:lnTo>
                    <a:pt x="296" y="222"/>
                  </a:lnTo>
                  <a:lnTo>
                    <a:pt x="322" y="246"/>
                  </a:lnTo>
                  <a:lnTo>
                    <a:pt x="346" y="270"/>
                  </a:lnTo>
                  <a:lnTo>
                    <a:pt x="372" y="298"/>
                  </a:lnTo>
                  <a:lnTo>
                    <a:pt x="372" y="298"/>
                  </a:lnTo>
                  <a:lnTo>
                    <a:pt x="364" y="266"/>
                  </a:lnTo>
                  <a:lnTo>
                    <a:pt x="354" y="236"/>
                  </a:lnTo>
                  <a:lnTo>
                    <a:pt x="342" y="208"/>
                  </a:lnTo>
                  <a:lnTo>
                    <a:pt x="324" y="180"/>
                  </a:lnTo>
                  <a:lnTo>
                    <a:pt x="304" y="156"/>
                  </a:lnTo>
                  <a:lnTo>
                    <a:pt x="292" y="144"/>
                  </a:lnTo>
                  <a:lnTo>
                    <a:pt x="278" y="132"/>
                  </a:lnTo>
                  <a:lnTo>
                    <a:pt x="264" y="122"/>
                  </a:lnTo>
                  <a:lnTo>
                    <a:pt x="248" y="112"/>
                  </a:lnTo>
                  <a:lnTo>
                    <a:pt x="230" y="102"/>
                  </a:lnTo>
                  <a:lnTo>
                    <a:pt x="212" y="92"/>
                  </a:lnTo>
                  <a:lnTo>
                    <a:pt x="0" y="0"/>
                  </a:lnTo>
                  <a:lnTo>
                    <a:pt x="0" y="0"/>
                  </a:lnTo>
                  <a:lnTo>
                    <a:pt x="18" y="30"/>
                  </a:lnTo>
                  <a:lnTo>
                    <a:pt x="34" y="60"/>
                  </a:lnTo>
                  <a:lnTo>
                    <a:pt x="50" y="90"/>
                  </a:lnTo>
                  <a:lnTo>
                    <a:pt x="62" y="120"/>
                  </a:lnTo>
                  <a:lnTo>
                    <a:pt x="86" y="180"/>
                  </a:lnTo>
                  <a:lnTo>
                    <a:pt x="110" y="236"/>
                  </a:lnTo>
                  <a:lnTo>
                    <a:pt x="122" y="262"/>
                  </a:lnTo>
                  <a:lnTo>
                    <a:pt x="136" y="288"/>
                  </a:lnTo>
                  <a:lnTo>
                    <a:pt x="152" y="312"/>
                  </a:lnTo>
                  <a:lnTo>
                    <a:pt x="172" y="336"/>
                  </a:lnTo>
                  <a:lnTo>
                    <a:pt x="194" y="358"/>
                  </a:lnTo>
                  <a:lnTo>
                    <a:pt x="218" y="378"/>
                  </a:lnTo>
                  <a:lnTo>
                    <a:pt x="246" y="396"/>
                  </a:lnTo>
                  <a:lnTo>
                    <a:pt x="280" y="412"/>
                  </a:lnTo>
                  <a:lnTo>
                    <a:pt x="280" y="412"/>
                  </a:lnTo>
                  <a:lnTo>
                    <a:pt x="324" y="430"/>
                  </a:lnTo>
                  <a:lnTo>
                    <a:pt x="360" y="442"/>
                  </a:lnTo>
                  <a:lnTo>
                    <a:pt x="392" y="450"/>
                  </a:lnTo>
                  <a:lnTo>
                    <a:pt x="392" y="4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78" name="Freeform 81">
              <a:extLst>
                <a:ext uri="{FF2B5EF4-FFF2-40B4-BE49-F238E27FC236}">
                  <a16:creationId xmlns:a16="http://schemas.microsoft.com/office/drawing/2014/main" id="{5DE019CC-2C53-4E58-BB47-CA77BA151B14}"/>
                </a:ext>
              </a:extLst>
            </p:cNvPr>
            <p:cNvSpPr>
              <a:spLocks/>
            </p:cNvSpPr>
            <p:nvPr/>
          </p:nvSpPr>
          <p:spPr bwMode="auto">
            <a:xfrm>
              <a:off x="5399" y="1658"/>
              <a:ext cx="252" cy="558"/>
            </a:xfrm>
            <a:custGeom>
              <a:avLst/>
              <a:gdLst>
                <a:gd name="T0" fmla="*/ 2 w 252"/>
                <a:gd name="T1" fmla="*/ 442 h 558"/>
                <a:gd name="T2" fmla="*/ 2 w 252"/>
                <a:gd name="T3" fmla="*/ 442 h 558"/>
                <a:gd name="T4" fmla="*/ 4 w 252"/>
                <a:gd name="T5" fmla="*/ 466 h 558"/>
                <a:gd name="T6" fmla="*/ 4 w 252"/>
                <a:gd name="T7" fmla="*/ 466 h 558"/>
                <a:gd name="T8" fmla="*/ 26 w 252"/>
                <a:gd name="T9" fmla="*/ 426 h 558"/>
                <a:gd name="T10" fmla="*/ 46 w 252"/>
                <a:gd name="T11" fmla="*/ 390 h 558"/>
                <a:gd name="T12" fmla="*/ 66 w 252"/>
                <a:gd name="T13" fmla="*/ 358 h 558"/>
                <a:gd name="T14" fmla="*/ 88 w 252"/>
                <a:gd name="T15" fmla="*/ 328 h 558"/>
                <a:gd name="T16" fmla="*/ 110 w 252"/>
                <a:gd name="T17" fmla="*/ 302 h 558"/>
                <a:gd name="T18" fmla="*/ 136 w 252"/>
                <a:gd name="T19" fmla="*/ 276 h 558"/>
                <a:gd name="T20" fmla="*/ 164 w 252"/>
                <a:gd name="T21" fmla="*/ 248 h 558"/>
                <a:gd name="T22" fmla="*/ 200 w 252"/>
                <a:gd name="T23" fmla="*/ 222 h 558"/>
                <a:gd name="T24" fmla="*/ 200 w 252"/>
                <a:gd name="T25" fmla="*/ 222 h 558"/>
                <a:gd name="T26" fmla="*/ 142 w 252"/>
                <a:gd name="T27" fmla="*/ 282 h 558"/>
                <a:gd name="T28" fmla="*/ 118 w 252"/>
                <a:gd name="T29" fmla="*/ 308 h 558"/>
                <a:gd name="T30" fmla="*/ 96 w 252"/>
                <a:gd name="T31" fmla="*/ 336 h 558"/>
                <a:gd name="T32" fmla="*/ 78 w 252"/>
                <a:gd name="T33" fmla="*/ 364 h 558"/>
                <a:gd name="T34" fmla="*/ 62 w 252"/>
                <a:gd name="T35" fmla="*/ 398 h 558"/>
                <a:gd name="T36" fmla="*/ 46 w 252"/>
                <a:gd name="T37" fmla="*/ 436 h 558"/>
                <a:gd name="T38" fmla="*/ 30 w 252"/>
                <a:gd name="T39" fmla="*/ 484 h 558"/>
                <a:gd name="T40" fmla="*/ 30 w 252"/>
                <a:gd name="T41" fmla="*/ 484 h 558"/>
                <a:gd name="T42" fmla="*/ 24 w 252"/>
                <a:gd name="T43" fmla="*/ 510 h 558"/>
                <a:gd name="T44" fmla="*/ 20 w 252"/>
                <a:gd name="T45" fmla="*/ 538 h 558"/>
                <a:gd name="T46" fmla="*/ 16 w 252"/>
                <a:gd name="T47" fmla="*/ 534 h 558"/>
                <a:gd name="T48" fmla="*/ 16 w 252"/>
                <a:gd name="T49" fmla="*/ 534 h 558"/>
                <a:gd name="T50" fmla="*/ 22 w 252"/>
                <a:gd name="T51" fmla="*/ 558 h 558"/>
                <a:gd name="T52" fmla="*/ 22 w 252"/>
                <a:gd name="T53" fmla="*/ 558 h 558"/>
                <a:gd name="T54" fmla="*/ 68 w 252"/>
                <a:gd name="T55" fmla="*/ 526 h 558"/>
                <a:gd name="T56" fmla="*/ 112 w 252"/>
                <a:gd name="T57" fmla="*/ 496 h 558"/>
                <a:gd name="T58" fmla="*/ 154 w 252"/>
                <a:gd name="T59" fmla="*/ 464 h 558"/>
                <a:gd name="T60" fmla="*/ 172 w 252"/>
                <a:gd name="T61" fmla="*/ 446 h 558"/>
                <a:gd name="T62" fmla="*/ 190 w 252"/>
                <a:gd name="T63" fmla="*/ 428 h 558"/>
                <a:gd name="T64" fmla="*/ 204 w 252"/>
                <a:gd name="T65" fmla="*/ 410 h 558"/>
                <a:gd name="T66" fmla="*/ 218 w 252"/>
                <a:gd name="T67" fmla="*/ 390 h 558"/>
                <a:gd name="T68" fmla="*/ 230 w 252"/>
                <a:gd name="T69" fmla="*/ 368 h 558"/>
                <a:gd name="T70" fmla="*/ 240 w 252"/>
                <a:gd name="T71" fmla="*/ 346 h 558"/>
                <a:gd name="T72" fmla="*/ 246 w 252"/>
                <a:gd name="T73" fmla="*/ 320 h 558"/>
                <a:gd name="T74" fmla="*/ 250 w 252"/>
                <a:gd name="T75" fmla="*/ 294 h 558"/>
                <a:gd name="T76" fmla="*/ 252 w 252"/>
                <a:gd name="T77" fmla="*/ 264 h 558"/>
                <a:gd name="T78" fmla="*/ 252 w 252"/>
                <a:gd name="T79" fmla="*/ 232 h 558"/>
                <a:gd name="T80" fmla="*/ 234 w 252"/>
                <a:gd name="T81" fmla="*/ 0 h 558"/>
                <a:gd name="T82" fmla="*/ 234 w 252"/>
                <a:gd name="T83" fmla="*/ 0 h 558"/>
                <a:gd name="T84" fmla="*/ 216 w 252"/>
                <a:gd name="T85" fmla="*/ 32 h 558"/>
                <a:gd name="T86" fmla="*/ 196 w 252"/>
                <a:gd name="T87" fmla="*/ 60 h 558"/>
                <a:gd name="T88" fmla="*/ 178 w 252"/>
                <a:gd name="T89" fmla="*/ 88 h 558"/>
                <a:gd name="T90" fmla="*/ 156 w 252"/>
                <a:gd name="T91" fmla="*/ 114 h 558"/>
                <a:gd name="T92" fmla="*/ 116 w 252"/>
                <a:gd name="T93" fmla="*/ 162 h 558"/>
                <a:gd name="T94" fmla="*/ 78 w 252"/>
                <a:gd name="T95" fmla="*/ 208 h 558"/>
                <a:gd name="T96" fmla="*/ 60 w 252"/>
                <a:gd name="T97" fmla="*/ 232 h 558"/>
                <a:gd name="T98" fmla="*/ 44 w 252"/>
                <a:gd name="T99" fmla="*/ 258 h 558"/>
                <a:gd name="T100" fmla="*/ 30 w 252"/>
                <a:gd name="T101" fmla="*/ 284 h 558"/>
                <a:gd name="T102" fmla="*/ 18 w 252"/>
                <a:gd name="T103" fmla="*/ 310 h 558"/>
                <a:gd name="T104" fmla="*/ 10 w 252"/>
                <a:gd name="T105" fmla="*/ 340 h 558"/>
                <a:gd name="T106" fmla="*/ 4 w 252"/>
                <a:gd name="T107" fmla="*/ 372 h 558"/>
                <a:gd name="T108" fmla="*/ 0 w 252"/>
                <a:gd name="T109" fmla="*/ 406 h 558"/>
                <a:gd name="T110" fmla="*/ 2 w 252"/>
                <a:gd name="T111" fmla="*/ 442 h 558"/>
                <a:gd name="T112" fmla="*/ 2 w 252"/>
                <a:gd name="T113" fmla="*/ 442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2" h="558">
                  <a:moveTo>
                    <a:pt x="2" y="442"/>
                  </a:moveTo>
                  <a:lnTo>
                    <a:pt x="2" y="442"/>
                  </a:lnTo>
                  <a:lnTo>
                    <a:pt x="4" y="466"/>
                  </a:lnTo>
                  <a:lnTo>
                    <a:pt x="4" y="466"/>
                  </a:lnTo>
                  <a:lnTo>
                    <a:pt x="26" y="426"/>
                  </a:lnTo>
                  <a:lnTo>
                    <a:pt x="46" y="390"/>
                  </a:lnTo>
                  <a:lnTo>
                    <a:pt x="66" y="358"/>
                  </a:lnTo>
                  <a:lnTo>
                    <a:pt x="88" y="328"/>
                  </a:lnTo>
                  <a:lnTo>
                    <a:pt x="110" y="302"/>
                  </a:lnTo>
                  <a:lnTo>
                    <a:pt x="136" y="276"/>
                  </a:lnTo>
                  <a:lnTo>
                    <a:pt x="164" y="248"/>
                  </a:lnTo>
                  <a:lnTo>
                    <a:pt x="200" y="222"/>
                  </a:lnTo>
                  <a:lnTo>
                    <a:pt x="200" y="222"/>
                  </a:lnTo>
                  <a:lnTo>
                    <a:pt x="142" y="282"/>
                  </a:lnTo>
                  <a:lnTo>
                    <a:pt x="118" y="308"/>
                  </a:lnTo>
                  <a:lnTo>
                    <a:pt x="96" y="336"/>
                  </a:lnTo>
                  <a:lnTo>
                    <a:pt x="78" y="364"/>
                  </a:lnTo>
                  <a:lnTo>
                    <a:pt x="62" y="398"/>
                  </a:lnTo>
                  <a:lnTo>
                    <a:pt x="46" y="436"/>
                  </a:lnTo>
                  <a:lnTo>
                    <a:pt x="30" y="484"/>
                  </a:lnTo>
                  <a:lnTo>
                    <a:pt x="30" y="484"/>
                  </a:lnTo>
                  <a:lnTo>
                    <a:pt x="24" y="510"/>
                  </a:lnTo>
                  <a:lnTo>
                    <a:pt x="20" y="538"/>
                  </a:lnTo>
                  <a:lnTo>
                    <a:pt x="16" y="534"/>
                  </a:lnTo>
                  <a:lnTo>
                    <a:pt x="16" y="534"/>
                  </a:lnTo>
                  <a:lnTo>
                    <a:pt x="22" y="558"/>
                  </a:lnTo>
                  <a:lnTo>
                    <a:pt x="22" y="558"/>
                  </a:lnTo>
                  <a:lnTo>
                    <a:pt x="68" y="526"/>
                  </a:lnTo>
                  <a:lnTo>
                    <a:pt x="112" y="496"/>
                  </a:lnTo>
                  <a:lnTo>
                    <a:pt x="154" y="464"/>
                  </a:lnTo>
                  <a:lnTo>
                    <a:pt x="172" y="446"/>
                  </a:lnTo>
                  <a:lnTo>
                    <a:pt x="190" y="428"/>
                  </a:lnTo>
                  <a:lnTo>
                    <a:pt x="204" y="410"/>
                  </a:lnTo>
                  <a:lnTo>
                    <a:pt x="218" y="390"/>
                  </a:lnTo>
                  <a:lnTo>
                    <a:pt x="230" y="368"/>
                  </a:lnTo>
                  <a:lnTo>
                    <a:pt x="240" y="346"/>
                  </a:lnTo>
                  <a:lnTo>
                    <a:pt x="246" y="320"/>
                  </a:lnTo>
                  <a:lnTo>
                    <a:pt x="250" y="294"/>
                  </a:lnTo>
                  <a:lnTo>
                    <a:pt x="252" y="264"/>
                  </a:lnTo>
                  <a:lnTo>
                    <a:pt x="252" y="232"/>
                  </a:lnTo>
                  <a:lnTo>
                    <a:pt x="234" y="0"/>
                  </a:lnTo>
                  <a:lnTo>
                    <a:pt x="234" y="0"/>
                  </a:lnTo>
                  <a:lnTo>
                    <a:pt x="216" y="32"/>
                  </a:lnTo>
                  <a:lnTo>
                    <a:pt x="196" y="60"/>
                  </a:lnTo>
                  <a:lnTo>
                    <a:pt x="178" y="88"/>
                  </a:lnTo>
                  <a:lnTo>
                    <a:pt x="156" y="114"/>
                  </a:lnTo>
                  <a:lnTo>
                    <a:pt x="116" y="162"/>
                  </a:lnTo>
                  <a:lnTo>
                    <a:pt x="78" y="208"/>
                  </a:lnTo>
                  <a:lnTo>
                    <a:pt x="60" y="232"/>
                  </a:lnTo>
                  <a:lnTo>
                    <a:pt x="44" y="258"/>
                  </a:lnTo>
                  <a:lnTo>
                    <a:pt x="30" y="284"/>
                  </a:lnTo>
                  <a:lnTo>
                    <a:pt x="18" y="310"/>
                  </a:lnTo>
                  <a:lnTo>
                    <a:pt x="10" y="340"/>
                  </a:lnTo>
                  <a:lnTo>
                    <a:pt x="4" y="372"/>
                  </a:lnTo>
                  <a:lnTo>
                    <a:pt x="0" y="406"/>
                  </a:lnTo>
                  <a:lnTo>
                    <a:pt x="2" y="442"/>
                  </a:lnTo>
                  <a:lnTo>
                    <a:pt x="2"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79" name="Freeform 82">
              <a:extLst>
                <a:ext uri="{FF2B5EF4-FFF2-40B4-BE49-F238E27FC236}">
                  <a16:creationId xmlns:a16="http://schemas.microsoft.com/office/drawing/2014/main" id="{A056C3C7-44E7-4F4D-AA1B-EC7F07CD2624}"/>
                </a:ext>
              </a:extLst>
            </p:cNvPr>
            <p:cNvSpPr>
              <a:spLocks/>
            </p:cNvSpPr>
            <p:nvPr/>
          </p:nvSpPr>
          <p:spPr bwMode="auto">
            <a:xfrm>
              <a:off x="5173" y="2274"/>
              <a:ext cx="462" cy="448"/>
            </a:xfrm>
            <a:custGeom>
              <a:avLst/>
              <a:gdLst>
                <a:gd name="T0" fmla="*/ 72 w 462"/>
                <a:gd name="T1" fmla="*/ 298 h 448"/>
                <a:gd name="T2" fmla="*/ 72 w 462"/>
                <a:gd name="T3" fmla="*/ 298 h 448"/>
                <a:gd name="T4" fmla="*/ 100 w 462"/>
                <a:gd name="T5" fmla="*/ 278 h 448"/>
                <a:gd name="T6" fmla="*/ 128 w 462"/>
                <a:gd name="T7" fmla="*/ 262 h 448"/>
                <a:gd name="T8" fmla="*/ 154 w 462"/>
                <a:gd name="T9" fmla="*/ 246 h 448"/>
                <a:gd name="T10" fmla="*/ 182 w 462"/>
                <a:gd name="T11" fmla="*/ 232 h 448"/>
                <a:gd name="T12" fmla="*/ 212 w 462"/>
                <a:gd name="T13" fmla="*/ 218 h 448"/>
                <a:gd name="T14" fmla="*/ 242 w 462"/>
                <a:gd name="T15" fmla="*/ 206 h 448"/>
                <a:gd name="T16" fmla="*/ 310 w 462"/>
                <a:gd name="T17" fmla="*/ 184 h 448"/>
                <a:gd name="T18" fmla="*/ 310 w 462"/>
                <a:gd name="T19" fmla="*/ 184 h 448"/>
                <a:gd name="T20" fmla="*/ 236 w 462"/>
                <a:gd name="T21" fmla="*/ 218 h 448"/>
                <a:gd name="T22" fmla="*/ 202 w 462"/>
                <a:gd name="T23" fmla="*/ 234 h 448"/>
                <a:gd name="T24" fmla="*/ 170 w 462"/>
                <a:gd name="T25" fmla="*/ 250 h 448"/>
                <a:gd name="T26" fmla="*/ 138 w 462"/>
                <a:gd name="T27" fmla="*/ 268 h 448"/>
                <a:gd name="T28" fmla="*/ 110 w 462"/>
                <a:gd name="T29" fmla="*/ 290 h 448"/>
                <a:gd name="T30" fmla="*/ 80 w 462"/>
                <a:gd name="T31" fmla="*/ 316 h 448"/>
                <a:gd name="T32" fmla="*/ 66 w 462"/>
                <a:gd name="T33" fmla="*/ 330 h 448"/>
                <a:gd name="T34" fmla="*/ 54 w 462"/>
                <a:gd name="T35" fmla="*/ 346 h 448"/>
                <a:gd name="T36" fmla="*/ 54 w 462"/>
                <a:gd name="T37" fmla="*/ 346 h 448"/>
                <a:gd name="T38" fmla="*/ 34 w 462"/>
                <a:gd name="T39" fmla="*/ 384 h 448"/>
                <a:gd name="T40" fmla="*/ 18 w 462"/>
                <a:gd name="T41" fmla="*/ 418 h 448"/>
                <a:gd name="T42" fmla="*/ 0 w 462"/>
                <a:gd name="T43" fmla="*/ 448 h 448"/>
                <a:gd name="T44" fmla="*/ 0 w 462"/>
                <a:gd name="T45" fmla="*/ 448 h 448"/>
                <a:gd name="T46" fmla="*/ 58 w 462"/>
                <a:gd name="T47" fmla="*/ 438 h 448"/>
                <a:gd name="T48" fmla="*/ 116 w 462"/>
                <a:gd name="T49" fmla="*/ 424 h 448"/>
                <a:gd name="T50" fmla="*/ 144 w 462"/>
                <a:gd name="T51" fmla="*/ 416 h 448"/>
                <a:gd name="T52" fmla="*/ 172 w 462"/>
                <a:gd name="T53" fmla="*/ 408 h 448"/>
                <a:gd name="T54" fmla="*/ 200 w 462"/>
                <a:gd name="T55" fmla="*/ 396 h 448"/>
                <a:gd name="T56" fmla="*/ 226 w 462"/>
                <a:gd name="T57" fmla="*/ 384 h 448"/>
                <a:gd name="T58" fmla="*/ 252 w 462"/>
                <a:gd name="T59" fmla="*/ 372 h 448"/>
                <a:gd name="T60" fmla="*/ 276 w 462"/>
                <a:gd name="T61" fmla="*/ 356 h 448"/>
                <a:gd name="T62" fmla="*/ 298 w 462"/>
                <a:gd name="T63" fmla="*/ 340 h 448"/>
                <a:gd name="T64" fmla="*/ 320 w 462"/>
                <a:gd name="T65" fmla="*/ 320 h 448"/>
                <a:gd name="T66" fmla="*/ 338 w 462"/>
                <a:gd name="T67" fmla="*/ 298 h 448"/>
                <a:gd name="T68" fmla="*/ 356 w 462"/>
                <a:gd name="T69" fmla="*/ 274 h 448"/>
                <a:gd name="T70" fmla="*/ 372 w 462"/>
                <a:gd name="T71" fmla="*/ 246 h 448"/>
                <a:gd name="T72" fmla="*/ 384 w 462"/>
                <a:gd name="T73" fmla="*/ 216 h 448"/>
                <a:gd name="T74" fmla="*/ 462 w 462"/>
                <a:gd name="T75" fmla="*/ 0 h 448"/>
                <a:gd name="T76" fmla="*/ 462 w 462"/>
                <a:gd name="T77" fmla="*/ 0 h 448"/>
                <a:gd name="T78" fmla="*/ 434 w 462"/>
                <a:gd name="T79" fmla="*/ 20 h 448"/>
                <a:gd name="T80" fmla="*/ 406 w 462"/>
                <a:gd name="T81" fmla="*/ 38 h 448"/>
                <a:gd name="T82" fmla="*/ 376 w 462"/>
                <a:gd name="T83" fmla="*/ 54 h 448"/>
                <a:gd name="T84" fmla="*/ 348 w 462"/>
                <a:gd name="T85" fmla="*/ 70 h 448"/>
                <a:gd name="T86" fmla="*/ 292 w 462"/>
                <a:gd name="T87" fmla="*/ 96 h 448"/>
                <a:gd name="T88" fmla="*/ 238 w 462"/>
                <a:gd name="T89" fmla="*/ 122 h 448"/>
                <a:gd name="T90" fmla="*/ 212 w 462"/>
                <a:gd name="T91" fmla="*/ 136 h 448"/>
                <a:gd name="T92" fmla="*/ 188 w 462"/>
                <a:gd name="T93" fmla="*/ 152 h 448"/>
                <a:gd name="T94" fmla="*/ 164 w 462"/>
                <a:gd name="T95" fmla="*/ 170 h 448"/>
                <a:gd name="T96" fmla="*/ 144 w 462"/>
                <a:gd name="T97" fmla="*/ 190 h 448"/>
                <a:gd name="T98" fmla="*/ 122 w 462"/>
                <a:gd name="T99" fmla="*/ 212 h 448"/>
                <a:gd name="T100" fmla="*/ 104 w 462"/>
                <a:gd name="T101" fmla="*/ 236 h 448"/>
                <a:gd name="T102" fmla="*/ 88 w 462"/>
                <a:gd name="T103" fmla="*/ 264 h 448"/>
                <a:gd name="T104" fmla="*/ 72 w 462"/>
                <a:gd name="T105" fmla="*/ 298 h 448"/>
                <a:gd name="T106" fmla="*/ 72 w 462"/>
                <a:gd name="T107" fmla="*/ 29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2" h="448">
                  <a:moveTo>
                    <a:pt x="72" y="298"/>
                  </a:moveTo>
                  <a:lnTo>
                    <a:pt x="72" y="298"/>
                  </a:lnTo>
                  <a:lnTo>
                    <a:pt x="100" y="278"/>
                  </a:lnTo>
                  <a:lnTo>
                    <a:pt x="128" y="262"/>
                  </a:lnTo>
                  <a:lnTo>
                    <a:pt x="154" y="246"/>
                  </a:lnTo>
                  <a:lnTo>
                    <a:pt x="182" y="232"/>
                  </a:lnTo>
                  <a:lnTo>
                    <a:pt x="212" y="218"/>
                  </a:lnTo>
                  <a:lnTo>
                    <a:pt x="242" y="206"/>
                  </a:lnTo>
                  <a:lnTo>
                    <a:pt x="310" y="184"/>
                  </a:lnTo>
                  <a:lnTo>
                    <a:pt x="310" y="184"/>
                  </a:lnTo>
                  <a:lnTo>
                    <a:pt x="236" y="218"/>
                  </a:lnTo>
                  <a:lnTo>
                    <a:pt x="202" y="234"/>
                  </a:lnTo>
                  <a:lnTo>
                    <a:pt x="170" y="250"/>
                  </a:lnTo>
                  <a:lnTo>
                    <a:pt x="138" y="268"/>
                  </a:lnTo>
                  <a:lnTo>
                    <a:pt x="110" y="290"/>
                  </a:lnTo>
                  <a:lnTo>
                    <a:pt x="80" y="316"/>
                  </a:lnTo>
                  <a:lnTo>
                    <a:pt x="66" y="330"/>
                  </a:lnTo>
                  <a:lnTo>
                    <a:pt x="54" y="346"/>
                  </a:lnTo>
                  <a:lnTo>
                    <a:pt x="54" y="346"/>
                  </a:lnTo>
                  <a:lnTo>
                    <a:pt x="34" y="384"/>
                  </a:lnTo>
                  <a:lnTo>
                    <a:pt x="18" y="418"/>
                  </a:lnTo>
                  <a:lnTo>
                    <a:pt x="0" y="448"/>
                  </a:lnTo>
                  <a:lnTo>
                    <a:pt x="0" y="448"/>
                  </a:lnTo>
                  <a:lnTo>
                    <a:pt x="58" y="438"/>
                  </a:lnTo>
                  <a:lnTo>
                    <a:pt x="116" y="424"/>
                  </a:lnTo>
                  <a:lnTo>
                    <a:pt x="144" y="416"/>
                  </a:lnTo>
                  <a:lnTo>
                    <a:pt x="172" y="408"/>
                  </a:lnTo>
                  <a:lnTo>
                    <a:pt x="200" y="396"/>
                  </a:lnTo>
                  <a:lnTo>
                    <a:pt x="226" y="384"/>
                  </a:lnTo>
                  <a:lnTo>
                    <a:pt x="252" y="372"/>
                  </a:lnTo>
                  <a:lnTo>
                    <a:pt x="276" y="356"/>
                  </a:lnTo>
                  <a:lnTo>
                    <a:pt x="298" y="340"/>
                  </a:lnTo>
                  <a:lnTo>
                    <a:pt x="320" y="320"/>
                  </a:lnTo>
                  <a:lnTo>
                    <a:pt x="338" y="298"/>
                  </a:lnTo>
                  <a:lnTo>
                    <a:pt x="356" y="274"/>
                  </a:lnTo>
                  <a:lnTo>
                    <a:pt x="372" y="246"/>
                  </a:lnTo>
                  <a:lnTo>
                    <a:pt x="384" y="216"/>
                  </a:lnTo>
                  <a:lnTo>
                    <a:pt x="462" y="0"/>
                  </a:lnTo>
                  <a:lnTo>
                    <a:pt x="462" y="0"/>
                  </a:lnTo>
                  <a:lnTo>
                    <a:pt x="434" y="20"/>
                  </a:lnTo>
                  <a:lnTo>
                    <a:pt x="406" y="38"/>
                  </a:lnTo>
                  <a:lnTo>
                    <a:pt x="376" y="54"/>
                  </a:lnTo>
                  <a:lnTo>
                    <a:pt x="348" y="70"/>
                  </a:lnTo>
                  <a:lnTo>
                    <a:pt x="292" y="96"/>
                  </a:lnTo>
                  <a:lnTo>
                    <a:pt x="238" y="122"/>
                  </a:lnTo>
                  <a:lnTo>
                    <a:pt x="212" y="136"/>
                  </a:lnTo>
                  <a:lnTo>
                    <a:pt x="188" y="152"/>
                  </a:lnTo>
                  <a:lnTo>
                    <a:pt x="164" y="170"/>
                  </a:lnTo>
                  <a:lnTo>
                    <a:pt x="144" y="190"/>
                  </a:lnTo>
                  <a:lnTo>
                    <a:pt x="122" y="212"/>
                  </a:lnTo>
                  <a:lnTo>
                    <a:pt x="104" y="236"/>
                  </a:lnTo>
                  <a:lnTo>
                    <a:pt x="88" y="264"/>
                  </a:lnTo>
                  <a:lnTo>
                    <a:pt x="72" y="298"/>
                  </a:lnTo>
                  <a:lnTo>
                    <a:pt x="72"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80" name="Freeform 83">
              <a:extLst>
                <a:ext uri="{FF2B5EF4-FFF2-40B4-BE49-F238E27FC236}">
                  <a16:creationId xmlns:a16="http://schemas.microsoft.com/office/drawing/2014/main" id="{97438EFD-F0D3-4208-AB2D-0A7EE27D5271}"/>
                </a:ext>
              </a:extLst>
            </p:cNvPr>
            <p:cNvSpPr>
              <a:spLocks/>
            </p:cNvSpPr>
            <p:nvPr/>
          </p:nvSpPr>
          <p:spPr bwMode="auto">
            <a:xfrm>
              <a:off x="4919" y="2088"/>
              <a:ext cx="256" cy="630"/>
            </a:xfrm>
            <a:custGeom>
              <a:avLst/>
              <a:gdLst>
                <a:gd name="T0" fmla="*/ 240 w 256"/>
                <a:gd name="T1" fmla="*/ 494 h 630"/>
                <a:gd name="T2" fmla="*/ 240 w 256"/>
                <a:gd name="T3" fmla="*/ 494 h 630"/>
                <a:gd name="T4" fmla="*/ 250 w 256"/>
                <a:gd name="T5" fmla="*/ 450 h 630"/>
                <a:gd name="T6" fmla="*/ 254 w 256"/>
                <a:gd name="T7" fmla="*/ 408 h 630"/>
                <a:gd name="T8" fmla="*/ 256 w 256"/>
                <a:gd name="T9" fmla="*/ 366 h 630"/>
                <a:gd name="T10" fmla="*/ 254 w 256"/>
                <a:gd name="T11" fmla="*/ 346 h 630"/>
                <a:gd name="T12" fmla="*/ 252 w 256"/>
                <a:gd name="T13" fmla="*/ 326 h 630"/>
                <a:gd name="T14" fmla="*/ 248 w 256"/>
                <a:gd name="T15" fmla="*/ 306 h 630"/>
                <a:gd name="T16" fmla="*/ 242 w 256"/>
                <a:gd name="T17" fmla="*/ 286 h 630"/>
                <a:gd name="T18" fmla="*/ 236 w 256"/>
                <a:gd name="T19" fmla="*/ 266 h 630"/>
                <a:gd name="T20" fmla="*/ 228 w 256"/>
                <a:gd name="T21" fmla="*/ 248 h 630"/>
                <a:gd name="T22" fmla="*/ 218 w 256"/>
                <a:gd name="T23" fmla="*/ 228 h 630"/>
                <a:gd name="T24" fmla="*/ 206 w 256"/>
                <a:gd name="T25" fmla="*/ 210 h 630"/>
                <a:gd name="T26" fmla="*/ 194 w 256"/>
                <a:gd name="T27" fmla="*/ 192 h 630"/>
                <a:gd name="T28" fmla="*/ 178 w 256"/>
                <a:gd name="T29" fmla="*/ 174 h 630"/>
                <a:gd name="T30" fmla="*/ 24 w 256"/>
                <a:gd name="T31" fmla="*/ 0 h 630"/>
                <a:gd name="T32" fmla="*/ 24 w 256"/>
                <a:gd name="T33" fmla="*/ 0 h 630"/>
                <a:gd name="T34" fmla="*/ 26 w 256"/>
                <a:gd name="T35" fmla="*/ 38 h 630"/>
                <a:gd name="T36" fmla="*/ 26 w 256"/>
                <a:gd name="T37" fmla="*/ 76 h 630"/>
                <a:gd name="T38" fmla="*/ 24 w 256"/>
                <a:gd name="T39" fmla="*/ 112 h 630"/>
                <a:gd name="T40" fmla="*/ 20 w 256"/>
                <a:gd name="T41" fmla="*/ 148 h 630"/>
                <a:gd name="T42" fmla="*/ 10 w 256"/>
                <a:gd name="T43" fmla="*/ 218 h 630"/>
                <a:gd name="T44" fmla="*/ 2 w 256"/>
                <a:gd name="T45" fmla="*/ 284 h 630"/>
                <a:gd name="T46" fmla="*/ 0 w 256"/>
                <a:gd name="T47" fmla="*/ 316 h 630"/>
                <a:gd name="T48" fmla="*/ 0 w 256"/>
                <a:gd name="T49" fmla="*/ 348 h 630"/>
                <a:gd name="T50" fmla="*/ 2 w 256"/>
                <a:gd name="T51" fmla="*/ 380 h 630"/>
                <a:gd name="T52" fmla="*/ 8 w 256"/>
                <a:gd name="T53" fmla="*/ 410 h 630"/>
                <a:gd name="T54" fmla="*/ 18 w 256"/>
                <a:gd name="T55" fmla="*/ 440 h 630"/>
                <a:gd name="T56" fmla="*/ 30 w 256"/>
                <a:gd name="T57" fmla="*/ 470 h 630"/>
                <a:gd name="T58" fmla="*/ 48 w 256"/>
                <a:gd name="T59" fmla="*/ 500 h 630"/>
                <a:gd name="T60" fmla="*/ 72 w 256"/>
                <a:gd name="T61" fmla="*/ 530 h 630"/>
                <a:gd name="T62" fmla="*/ 72 w 256"/>
                <a:gd name="T63" fmla="*/ 530 h 630"/>
                <a:gd name="T64" fmla="*/ 90 w 256"/>
                <a:gd name="T65" fmla="*/ 548 h 630"/>
                <a:gd name="T66" fmla="*/ 110 w 256"/>
                <a:gd name="T67" fmla="*/ 566 h 630"/>
                <a:gd name="T68" fmla="*/ 150 w 256"/>
                <a:gd name="T69" fmla="*/ 600 h 630"/>
                <a:gd name="T70" fmla="*/ 182 w 256"/>
                <a:gd name="T71" fmla="*/ 622 h 630"/>
                <a:gd name="T72" fmla="*/ 194 w 256"/>
                <a:gd name="T73" fmla="*/ 630 h 630"/>
                <a:gd name="T74" fmla="*/ 194 w 256"/>
                <a:gd name="T75" fmla="*/ 630 h 630"/>
                <a:gd name="T76" fmla="*/ 218 w 256"/>
                <a:gd name="T77" fmla="*/ 566 h 630"/>
                <a:gd name="T78" fmla="*/ 218 w 256"/>
                <a:gd name="T79" fmla="*/ 566 h 630"/>
                <a:gd name="T80" fmla="*/ 218 w 256"/>
                <a:gd name="T81" fmla="*/ 542 h 630"/>
                <a:gd name="T82" fmla="*/ 216 w 256"/>
                <a:gd name="T83" fmla="*/ 516 h 630"/>
                <a:gd name="T84" fmla="*/ 216 w 256"/>
                <a:gd name="T85" fmla="*/ 516 h 630"/>
                <a:gd name="T86" fmla="*/ 210 w 256"/>
                <a:gd name="T87" fmla="*/ 492 h 630"/>
                <a:gd name="T88" fmla="*/ 204 w 256"/>
                <a:gd name="T89" fmla="*/ 470 h 630"/>
                <a:gd name="T90" fmla="*/ 198 w 256"/>
                <a:gd name="T91" fmla="*/ 448 h 630"/>
                <a:gd name="T92" fmla="*/ 190 w 256"/>
                <a:gd name="T93" fmla="*/ 430 h 630"/>
                <a:gd name="T94" fmla="*/ 182 w 256"/>
                <a:gd name="T95" fmla="*/ 410 h 630"/>
                <a:gd name="T96" fmla="*/ 172 w 256"/>
                <a:gd name="T97" fmla="*/ 394 h 630"/>
                <a:gd name="T98" fmla="*/ 150 w 256"/>
                <a:gd name="T99" fmla="*/ 362 h 630"/>
                <a:gd name="T100" fmla="*/ 126 w 256"/>
                <a:gd name="T101" fmla="*/ 332 h 630"/>
                <a:gd name="T102" fmla="*/ 100 w 256"/>
                <a:gd name="T103" fmla="*/ 302 h 630"/>
                <a:gd name="T104" fmla="*/ 44 w 256"/>
                <a:gd name="T105" fmla="*/ 236 h 630"/>
                <a:gd name="T106" fmla="*/ 44 w 256"/>
                <a:gd name="T107" fmla="*/ 236 h 630"/>
                <a:gd name="T108" fmla="*/ 76 w 256"/>
                <a:gd name="T109" fmla="*/ 266 h 630"/>
                <a:gd name="T110" fmla="*/ 106 w 256"/>
                <a:gd name="T111" fmla="*/ 294 h 630"/>
                <a:gd name="T112" fmla="*/ 132 w 256"/>
                <a:gd name="T113" fmla="*/ 324 h 630"/>
                <a:gd name="T114" fmla="*/ 158 w 256"/>
                <a:gd name="T115" fmla="*/ 352 h 630"/>
                <a:gd name="T116" fmla="*/ 180 w 256"/>
                <a:gd name="T117" fmla="*/ 384 h 630"/>
                <a:gd name="T118" fmla="*/ 200 w 256"/>
                <a:gd name="T119" fmla="*/ 418 h 630"/>
                <a:gd name="T120" fmla="*/ 220 w 256"/>
                <a:gd name="T121" fmla="*/ 454 h 630"/>
                <a:gd name="T122" fmla="*/ 240 w 256"/>
                <a:gd name="T123" fmla="*/ 494 h 630"/>
                <a:gd name="T124" fmla="*/ 240 w 256"/>
                <a:gd name="T125" fmla="*/ 494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6" h="630">
                  <a:moveTo>
                    <a:pt x="240" y="494"/>
                  </a:moveTo>
                  <a:lnTo>
                    <a:pt x="240" y="494"/>
                  </a:lnTo>
                  <a:lnTo>
                    <a:pt x="250" y="450"/>
                  </a:lnTo>
                  <a:lnTo>
                    <a:pt x="254" y="408"/>
                  </a:lnTo>
                  <a:lnTo>
                    <a:pt x="256" y="366"/>
                  </a:lnTo>
                  <a:lnTo>
                    <a:pt x="254" y="346"/>
                  </a:lnTo>
                  <a:lnTo>
                    <a:pt x="252" y="326"/>
                  </a:lnTo>
                  <a:lnTo>
                    <a:pt x="248" y="306"/>
                  </a:lnTo>
                  <a:lnTo>
                    <a:pt x="242" y="286"/>
                  </a:lnTo>
                  <a:lnTo>
                    <a:pt x="236" y="266"/>
                  </a:lnTo>
                  <a:lnTo>
                    <a:pt x="228" y="248"/>
                  </a:lnTo>
                  <a:lnTo>
                    <a:pt x="218" y="228"/>
                  </a:lnTo>
                  <a:lnTo>
                    <a:pt x="206" y="210"/>
                  </a:lnTo>
                  <a:lnTo>
                    <a:pt x="194" y="192"/>
                  </a:lnTo>
                  <a:lnTo>
                    <a:pt x="178" y="174"/>
                  </a:lnTo>
                  <a:lnTo>
                    <a:pt x="24" y="0"/>
                  </a:lnTo>
                  <a:lnTo>
                    <a:pt x="24" y="0"/>
                  </a:lnTo>
                  <a:lnTo>
                    <a:pt x="26" y="38"/>
                  </a:lnTo>
                  <a:lnTo>
                    <a:pt x="26" y="76"/>
                  </a:lnTo>
                  <a:lnTo>
                    <a:pt x="24" y="112"/>
                  </a:lnTo>
                  <a:lnTo>
                    <a:pt x="20" y="148"/>
                  </a:lnTo>
                  <a:lnTo>
                    <a:pt x="10" y="218"/>
                  </a:lnTo>
                  <a:lnTo>
                    <a:pt x="2" y="284"/>
                  </a:lnTo>
                  <a:lnTo>
                    <a:pt x="0" y="316"/>
                  </a:lnTo>
                  <a:lnTo>
                    <a:pt x="0" y="348"/>
                  </a:lnTo>
                  <a:lnTo>
                    <a:pt x="2" y="380"/>
                  </a:lnTo>
                  <a:lnTo>
                    <a:pt x="8" y="410"/>
                  </a:lnTo>
                  <a:lnTo>
                    <a:pt x="18" y="440"/>
                  </a:lnTo>
                  <a:lnTo>
                    <a:pt x="30" y="470"/>
                  </a:lnTo>
                  <a:lnTo>
                    <a:pt x="48" y="500"/>
                  </a:lnTo>
                  <a:lnTo>
                    <a:pt x="72" y="530"/>
                  </a:lnTo>
                  <a:lnTo>
                    <a:pt x="72" y="530"/>
                  </a:lnTo>
                  <a:lnTo>
                    <a:pt x="90" y="548"/>
                  </a:lnTo>
                  <a:lnTo>
                    <a:pt x="110" y="566"/>
                  </a:lnTo>
                  <a:lnTo>
                    <a:pt x="150" y="600"/>
                  </a:lnTo>
                  <a:lnTo>
                    <a:pt x="182" y="622"/>
                  </a:lnTo>
                  <a:lnTo>
                    <a:pt x="194" y="630"/>
                  </a:lnTo>
                  <a:lnTo>
                    <a:pt x="194" y="630"/>
                  </a:lnTo>
                  <a:lnTo>
                    <a:pt x="218" y="566"/>
                  </a:lnTo>
                  <a:lnTo>
                    <a:pt x="218" y="566"/>
                  </a:lnTo>
                  <a:lnTo>
                    <a:pt x="218" y="542"/>
                  </a:lnTo>
                  <a:lnTo>
                    <a:pt x="216" y="516"/>
                  </a:lnTo>
                  <a:lnTo>
                    <a:pt x="216" y="516"/>
                  </a:lnTo>
                  <a:lnTo>
                    <a:pt x="210" y="492"/>
                  </a:lnTo>
                  <a:lnTo>
                    <a:pt x="204" y="470"/>
                  </a:lnTo>
                  <a:lnTo>
                    <a:pt x="198" y="448"/>
                  </a:lnTo>
                  <a:lnTo>
                    <a:pt x="190" y="430"/>
                  </a:lnTo>
                  <a:lnTo>
                    <a:pt x="182" y="410"/>
                  </a:lnTo>
                  <a:lnTo>
                    <a:pt x="172" y="394"/>
                  </a:lnTo>
                  <a:lnTo>
                    <a:pt x="150" y="362"/>
                  </a:lnTo>
                  <a:lnTo>
                    <a:pt x="126" y="332"/>
                  </a:lnTo>
                  <a:lnTo>
                    <a:pt x="100" y="302"/>
                  </a:lnTo>
                  <a:lnTo>
                    <a:pt x="44" y="236"/>
                  </a:lnTo>
                  <a:lnTo>
                    <a:pt x="44" y="236"/>
                  </a:lnTo>
                  <a:lnTo>
                    <a:pt x="76" y="266"/>
                  </a:lnTo>
                  <a:lnTo>
                    <a:pt x="106" y="294"/>
                  </a:lnTo>
                  <a:lnTo>
                    <a:pt x="132" y="324"/>
                  </a:lnTo>
                  <a:lnTo>
                    <a:pt x="158" y="352"/>
                  </a:lnTo>
                  <a:lnTo>
                    <a:pt x="180" y="384"/>
                  </a:lnTo>
                  <a:lnTo>
                    <a:pt x="200" y="418"/>
                  </a:lnTo>
                  <a:lnTo>
                    <a:pt x="220" y="454"/>
                  </a:lnTo>
                  <a:lnTo>
                    <a:pt x="240" y="494"/>
                  </a:lnTo>
                  <a:lnTo>
                    <a:pt x="240" y="4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81" name="Freeform 84">
              <a:extLst>
                <a:ext uri="{FF2B5EF4-FFF2-40B4-BE49-F238E27FC236}">
                  <a16:creationId xmlns:a16="http://schemas.microsoft.com/office/drawing/2014/main" id="{0C2E8305-69F3-4C90-9652-6287B2CF56AC}"/>
                </a:ext>
              </a:extLst>
            </p:cNvPr>
            <p:cNvSpPr>
              <a:spLocks/>
            </p:cNvSpPr>
            <p:nvPr/>
          </p:nvSpPr>
          <p:spPr bwMode="auto">
            <a:xfrm>
              <a:off x="4714" y="2904"/>
              <a:ext cx="677" cy="241"/>
            </a:xfrm>
            <a:custGeom>
              <a:avLst/>
              <a:gdLst>
                <a:gd name="T0" fmla="*/ 99 w 677"/>
                <a:gd name="T1" fmla="*/ 111 h 241"/>
                <a:gd name="T2" fmla="*/ 137 w 677"/>
                <a:gd name="T3" fmla="*/ 107 h 241"/>
                <a:gd name="T4" fmla="*/ 211 w 677"/>
                <a:gd name="T5" fmla="*/ 103 h 241"/>
                <a:gd name="T6" fmla="*/ 283 w 677"/>
                <a:gd name="T7" fmla="*/ 107 h 241"/>
                <a:gd name="T8" fmla="*/ 361 w 677"/>
                <a:gd name="T9" fmla="*/ 119 h 241"/>
                <a:gd name="T10" fmla="*/ 405 w 677"/>
                <a:gd name="T11" fmla="*/ 127 h 241"/>
                <a:gd name="T12" fmla="*/ 311 w 677"/>
                <a:gd name="T13" fmla="*/ 119 h 241"/>
                <a:gd name="T14" fmla="*/ 229 w 677"/>
                <a:gd name="T15" fmla="*/ 113 h 241"/>
                <a:gd name="T16" fmla="*/ 169 w 677"/>
                <a:gd name="T17" fmla="*/ 119 h 241"/>
                <a:gd name="T18" fmla="*/ 129 w 677"/>
                <a:gd name="T19" fmla="*/ 129 h 241"/>
                <a:gd name="T20" fmla="*/ 87 w 677"/>
                <a:gd name="T21" fmla="*/ 145 h 241"/>
                <a:gd name="T22" fmla="*/ 67 w 677"/>
                <a:gd name="T23" fmla="*/ 157 h 241"/>
                <a:gd name="T24" fmla="*/ 53 w 677"/>
                <a:gd name="T25" fmla="*/ 165 h 241"/>
                <a:gd name="T26" fmla="*/ 0 w 677"/>
                <a:gd name="T27" fmla="*/ 219 h 241"/>
                <a:gd name="T28" fmla="*/ 33 w 677"/>
                <a:gd name="T29" fmla="*/ 227 h 241"/>
                <a:gd name="T30" fmla="*/ 99 w 677"/>
                <a:gd name="T31" fmla="*/ 237 h 241"/>
                <a:gd name="T32" fmla="*/ 159 w 677"/>
                <a:gd name="T33" fmla="*/ 241 h 241"/>
                <a:gd name="T34" fmla="*/ 217 w 677"/>
                <a:gd name="T35" fmla="*/ 239 h 241"/>
                <a:gd name="T36" fmla="*/ 299 w 677"/>
                <a:gd name="T37" fmla="*/ 227 h 241"/>
                <a:gd name="T38" fmla="*/ 397 w 677"/>
                <a:gd name="T39" fmla="*/ 197 h 241"/>
                <a:gd name="T40" fmla="*/ 481 w 677"/>
                <a:gd name="T41" fmla="*/ 159 h 241"/>
                <a:gd name="T42" fmla="*/ 553 w 677"/>
                <a:gd name="T43" fmla="*/ 117 h 241"/>
                <a:gd name="T44" fmla="*/ 637 w 677"/>
                <a:gd name="T45" fmla="*/ 58 h 241"/>
                <a:gd name="T46" fmla="*/ 677 w 677"/>
                <a:gd name="T47" fmla="*/ 30 h 241"/>
                <a:gd name="T48" fmla="*/ 537 w 677"/>
                <a:gd name="T49" fmla="*/ 8 h 241"/>
                <a:gd name="T50" fmla="*/ 457 w 677"/>
                <a:gd name="T51" fmla="*/ 0 h 241"/>
                <a:gd name="T52" fmla="*/ 377 w 677"/>
                <a:gd name="T53" fmla="*/ 0 h 241"/>
                <a:gd name="T54" fmla="*/ 299 w 677"/>
                <a:gd name="T55" fmla="*/ 6 h 241"/>
                <a:gd name="T56" fmla="*/ 225 w 677"/>
                <a:gd name="T57" fmla="*/ 24 h 241"/>
                <a:gd name="T58" fmla="*/ 173 w 677"/>
                <a:gd name="T59" fmla="*/ 48 h 241"/>
                <a:gd name="T60" fmla="*/ 143 w 677"/>
                <a:gd name="T61" fmla="*/ 68 h 241"/>
                <a:gd name="T62" fmla="*/ 117 w 677"/>
                <a:gd name="T63" fmla="*/ 93 h 241"/>
                <a:gd name="T64" fmla="*/ 103 w 677"/>
                <a:gd name="T65" fmla="*/ 107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7" h="241">
                  <a:moveTo>
                    <a:pt x="103" y="107"/>
                  </a:moveTo>
                  <a:lnTo>
                    <a:pt x="99" y="111"/>
                  </a:lnTo>
                  <a:lnTo>
                    <a:pt x="99" y="111"/>
                  </a:lnTo>
                  <a:lnTo>
                    <a:pt x="137" y="107"/>
                  </a:lnTo>
                  <a:lnTo>
                    <a:pt x="175" y="103"/>
                  </a:lnTo>
                  <a:lnTo>
                    <a:pt x="211" y="103"/>
                  </a:lnTo>
                  <a:lnTo>
                    <a:pt x="247" y="103"/>
                  </a:lnTo>
                  <a:lnTo>
                    <a:pt x="283" y="107"/>
                  </a:lnTo>
                  <a:lnTo>
                    <a:pt x="321" y="111"/>
                  </a:lnTo>
                  <a:lnTo>
                    <a:pt x="361" y="119"/>
                  </a:lnTo>
                  <a:lnTo>
                    <a:pt x="405" y="127"/>
                  </a:lnTo>
                  <a:lnTo>
                    <a:pt x="405" y="127"/>
                  </a:lnTo>
                  <a:lnTo>
                    <a:pt x="357" y="123"/>
                  </a:lnTo>
                  <a:lnTo>
                    <a:pt x="311" y="119"/>
                  </a:lnTo>
                  <a:lnTo>
                    <a:pt x="269" y="115"/>
                  </a:lnTo>
                  <a:lnTo>
                    <a:pt x="229" y="113"/>
                  </a:lnTo>
                  <a:lnTo>
                    <a:pt x="189" y="115"/>
                  </a:lnTo>
                  <a:lnTo>
                    <a:pt x="169" y="119"/>
                  </a:lnTo>
                  <a:lnTo>
                    <a:pt x="149" y="123"/>
                  </a:lnTo>
                  <a:lnTo>
                    <a:pt x="129" y="129"/>
                  </a:lnTo>
                  <a:lnTo>
                    <a:pt x="109" y="135"/>
                  </a:lnTo>
                  <a:lnTo>
                    <a:pt x="87" y="145"/>
                  </a:lnTo>
                  <a:lnTo>
                    <a:pt x="67" y="157"/>
                  </a:lnTo>
                  <a:lnTo>
                    <a:pt x="67" y="157"/>
                  </a:lnTo>
                  <a:lnTo>
                    <a:pt x="53" y="165"/>
                  </a:lnTo>
                  <a:lnTo>
                    <a:pt x="53" y="165"/>
                  </a:lnTo>
                  <a:lnTo>
                    <a:pt x="14" y="203"/>
                  </a:lnTo>
                  <a:lnTo>
                    <a:pt x="0" y="219"/>
                  </a:lnTo>
                  <a:lnTo>
                    <a:pt x="0" y="219"/>
                  </a:lnTo>
                  <a:lnTo>
                    <a:pt x="33" y="227"/>
                  </a:lnTo>
                  <a:lnTo>
                    <a:pt x="67" y="233"/>
                  </a:lnTo>
                  <a:lnTo>
                    <a:pt x="99" y="237"/>
                  </a:lnTo>
                  <a:lnTo>
                    <a:pt x="129" y="239"/>
                  </a:lnTo>
                  <a:lnTo>
                    <a:pt x="159" y="241"/>
                  </a:lnTo>
                  <a:lnTo>
                    <a:pt x="189" y="239"/>
                  </a:lnTo>
                  <a:lnTo>
                    <a:pt x="217" y="239"/>
                  </a:lnTo>
                  <a:lnTo>
                    <a:pt x="245" y="235"/>
                  </a:lnTo>
                  <a:lnTo>
                    <a:pt x="299" y="227"/>
                  </a:lnTo>
                  <a:lnTo>
                    <a:pt x="349" y="213"/>
                  </a:lnTo>
                  <a:lnTo>
                    <a:pt x="397" y="197"/>
                  </a:lnTo>
                  <a:lnTo>
                    <a:pt x="441" y="179"/>
                  </a:lnTo>
                  <a:lnTo>
                    <a:pt x="481" y="159"/>
                  </a:lnTo>
                  <a:lnTo>
                    <a:pt x="519" y="137"/>
                  </a:lnTo>
                  <a:lnTo>
                    <a:pt x="553" y="117"/>
                  </a:lnTo>
                  <a:lnTo>
                    <a:pt x="583" y="95"/>
                  </a:lnTo>
                  <a:lnTo>
                    <a:pt x="637" y="58"/>
                  </a:lnTo>
                  <a:lnTo>
                    <a:pt x="677" y="30"/>
                  </a:lnTo>
                  <a:lnTo>
                    <a:pt x="677" y="30"/>
                  </a:lnTo>
                  <a:lnTo>
                    <a:pt x="611" y="18"/>
                  </a:lnTo>
                  <a:lnTo>
                    <a:pt x="537" y="8"/>
                  </a:lnTo>
                  <a:lnTo>
                    <a:pt x="497" y="4"/>
                  </a:lnTo>
                  <a:lnTo>
                    <a:pt x="457" y="0"/>
                  </a:lnTo>
                  <a:lnTo>
                    <a:pt x="417" y="0"/>
                  </a:lnTo>
                  <a:lnTo>
                    <a:pt x="377" y="0"/>
                  </a:lnTo>
                  <a:lnTo>
                    <a:pt x="337" y="2"/>
                  </a:lnTo>
                  <a:lnTo>
                    <a:pt x="299" y="6"/>
                  </a:lnTo>
                  <a:lnTo>
                    <a:pt x="261" y="14"/>
                  </a:lnTo>
                  <a:lnTo>
                    <a:pt x="225" y="24"/>
                  </a:lnTo>
                  <a:lnTo>
                    <a:pt x="191" y="38"/>
                  </a:lnTo>
                  <a:lnTo>
                    <a:pt x="173" y="48"/>
                  </a:lnTo>
                  <a:lnTo>
                    <a:pt x="159" y="58"/>
                  </a:lnTo>
                  <a:lnTo>
                    <a:pt x="143" y="68"/>
                  </a:lnTo>
                  <a:lnTo>
                    <a:pt x="129" y="81"/>
                  </a:lnTo>
                  <a:lnTo>
                    <a:pt x="117" y="93"/>
                  </a:lnTo>
                  <a:lnTo>
                    <a:pt x="103" y="107"/>
                  </a:lnTo>
                  <a:lnTo>
                    <a:pt x="103"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82" name="Freeform 85">
              <a:extLst>
                <a:ext uri="{FF2B5EF4-FFF2-40B4-BE49-F238E27FC236}">
                  <a16:creationId xmlns:a16="http://schemas.microsoft.com/office/drawing/2014/main" id="{E438C1B6-71ED-46FF-8910-445BDA5DFD39}"/>
                </a:ext>
              </a:extLst>
            </p:cNvPr>
            <p:cNvSpPr>
              <a:spLocks/>
            </p:cNvSpPr>
            <p:nvPr/>
          </p:nvSpPr>
          <p:spPr bwMode="auto">
            <a:xfrm>
              <a:off x="4634" y="2412"/>
              <a:ext cx="253" cy="613"/>
            </a:xfrm>
            <a:custGeom>
              <a:avLst/>
              <a:gdLst>
                <a:gd name="T0" fmla="*/ 221 w 253"/>
                <a:gd name="T1" fmla="*/ 200 h 613"/>
                <a:gd name="T2" fmla="*/ 119 w 253"/>
                <a:gd name="T3" fmla="*/ 0 h 613"/>
                <a:gd name="T4" fmla="*/ 119 w 253"/>
                <a:gd name="T5" fmla="*/ 0 h 613"/>
                <a:gd name="T6" fmla="*/ 110 w 253"/>
                <a:gd name="T7" fmla="*/ 36 h 613"/>
                <a:gd name="T8" fmla="*/ 100 w 253"/>
                <a:gd name="T9" fmla="*/ 70 h 613"/>
                <a:gd name="T10" fmla="*/ 90 w 253"/>
                <a:gd name="T11" fmla="*/ 104 h 613"/>
                <a:gd name="T12" fmla="*/ 76 w 253"/>
                <a:gd name="T13" fmla="*/ 136 h 613"/>
                <a:gd name="T14" fmla="*/ 52 w 253"/>
                <a:gd name="T15" fmla="*/ 200 h 613"/>
                <a:gd name="T16" fmla="*/ 28 w 253"/>
                <a:gd name="T17" fmla="*/ 260 h 613"/>
                <a:gd name="T18" fmla="*/ 18 w 253"/>
                <a:gd name="T19" fmla="*/ 290 h 613"/>
                <a:gd name="T20" fmla="*/ 8 w 253"/>
                <a:gd name="T21" fmla="*/ 320 h 613"/>
                <a:gd name="T22" fmla="*/ 4 w 253"/>
                <a:gd name="T23" fmla="*/ 350 h 613"/>
                <a:gd name="T24" fmla="*/ 0 w 253"/>
                <a:gd name="T25" fmla="*/ 380 h 613"/>
                <a:gd name="T26" fmla="*/ 2 w 253"/>
                <a:gd name="T27" fmla="*/ 410 h 613"/>
                <a:gd name="T28" fmla="*/ 6 w 253"/>
                <a:gd name="T29" fmla="*/ 442 h 613"/>
                <a:gd name="T30" fmla="*/ 16 w 253"/>
                <a:gd name="T31" fmla="*/ 474 h 613"/>
                <a:gd name="T32" fmla="*/ 30 w 253"/>
                <a:gd name="T33" fmla="*/ 506 h 613"/>
                <a:gd name="T34" fmla="*/ 30 w 253"/>
                <a:gd name="T35" fmla="*/ 506 h 613"/>
                <a:gd name="T36" fmla="*/ 48 w 253"/>
                <a:gd name="T37" fmla="*/ 536 h 613"/>
                <a:gd name="T38" fmla="*/ 66 w 253"/>
                <a:gd name="T39" fmla="*/ 566 h 613"/>
                <a:gd name="T40" fmla="*/ 86 w 253"/>
                <a:gd name="T41" fmla="*/ 593 h 613"/>
                <a:gd name="T42" fmla="*/ 104 w 253"/>
                <a:gd name="T43" fmla="*/ 613 h 613"/>
                <a:gd name="T44" fmla="*/ 104 w 253"/>
                <a:gd name="T45" fmla="*/ 613 h 613"/>
                <a:gd name="T46" fmla="*/ 115 w 253"/>
                <a:gd name="T47" fmla="*/ 595 h 613"/>
                <a:gd name="T48" fmla="*/ 115 w 253"/>
                <a:gd name="T49" fmla="*/ 595 h 613"/>
                <a:gd name="T50" fmla="*/ 123 w 253"/>
                <a:gd name="T51" fmla="*/ 577 h 613"/>
                <a:gd name="T52" fmla="*/ 131 w 253"/>
                <a:gd name="T53" fmla="*/ 558 h 613"/>
                <a:gd name="T54" fmla="*/ 137 w 253"/>
                <a:gd name="T55" fmla="*/ 540 h 613"/>
                <a:gd name="T56" fmla="*/ 141 w 253"/>
                <a:gd name="T57" fmla="*/ 522 h 613"/>
                <a:gd name="T58" fmla="*/ 145 w 253"/>
                <a:gd name="T59" fmla="*/ 488 h 613"/>
                <a:gd name="T60" fmla="*/ 145 w 253"/>
                <a:gd name="T61" fmla="*/ 454 h 613"/>
                <a:gd name="T62" fmla="*/ 143 w 253"/>
                <a:gd name="T63" fmla="*/ 420 h 613"/>
                <a:gd name="T64" fmla="*/ 137 w 253"/>
                <a:gd name="T65" fmla="*/ 384 h 613"/>
                <a:gd name="T66" fmla="*/ 127 w 253"/>
                <a:gd name="T67" fmla="*/ 306 h 613"/>
                <a:gd name="T68" fmla="*/ 127 w 253"/>
                <a:gd name="T69" fmla="*/ 306 h 613"/>
                <a:gd name="T70" fmla="*/ 137 w 253"/>
                <a:gd name="T71" fmla="*/ 346 h 613"/>
                <a:gd name="T72" fmla="*/ 145 w 253"/>
                <a:gd name="T73" fmla="*/ 384 h 613"/>
                <a:gd name="T74" fmla="*/ 151 w 253"/>
                <a:gd name="T75" fmla="*/ 418 h 613"/>
                <a:gd name="T76" fmla="*/ 155 w 253"/>
                <a:gd name="T77" fmla="*/ 454 h 613"/>
                <a:gd name="T78" fmla="*/ 157 w 253"/>
                <a:gd name="T79" fmla="*/ 488 h 613"/>
                <a:gd name="T80" fmla="*/ 155 w 253"/>
                <a:gd name="T81" fmla="*/ 522 h 613"/>
                <a:gd name="T82" fmla="*/ 153 w 253"/>
                <a:gd name="T83" fmla="*/ 558 h 613"/>
                <a:gd name="T84" fmla="*/ 147 w 253"/>
                <a:gd name="T85" fmla="*/ 599 h 613"/>
                <a:gd name="T86" fmla="*/ 147 w 253"/>
                <a:gd name="T87" fmla="*/ 599 h 613"/>
                <a:gd name="T88" fmla="*/ 179 w 253"/>
                <a:gd name="T89" fmla="*/ 550 h 613"/>
                <a:gd name="T90" fmla="*/ 205 w 253"/>
                <a:gd name="T91" fmla="*/ 502 h 613"/>
                <a:gd name="T92" fmla="*/ 217 w 253"/>
                <a:gd name="T93" fmla="*/ 478 h 613"/>
                <a:gd name="T94" fmla="*/ 229 w 253"/>
                <a:gd name="T95" fmla="*/ 454 h 613"/>
                <a:gd name="T96" fmla="*/ 237 w 253"/>
                <a:gd name="T97" fmla="*/ 428 h 613"/>
                <a:gd name="T98" fmla="*/ 243 w 253"/>
                <a:gd name="T99" fmla="*/ 404 h 613"/>
                <a:gd name="T100" fmla="*/ 249 w 253"/>
                <a:gd name="T101" fmla="*/ 380 h 613"/>
                <a:gd name="T102" fmla="*/ 251 w 253"/>
                <a:gd name="T103" fmla="*/ 354 h 613"/>
                <a:gd name="T104" fmla="*/ 253 w 253"/>
                <a:gd name="T105" fmla="*/ 330 h 613"/>
                <a:gd name="T106" fmla="*/ 251 w 253"/>
                <a:gd name="T107" fmla="*/ 304 h 613"/>
                <a:gd name="T108" fmla="*/ 247 w 253"/>
                <a:gd name="T109" fmla="*/ 278 h 613"/>
                <a:gd name="T110" fmla="*/ 241 w 253"/>
                <a:gd name="T111" fmla="*/ 252 h 613"/>
                <a:gd name="T112" fmla="*/ 233 w 253"/>
                <a:gd name="T113" fmla="*/ 226 h 613"/>
                <a:gd name="T114" fmla="*/ 221 w 253"/>
                <a:gd name="T115" fmla="*/ 200 h 613"/>
                <a:gd name="T116" fmla="*/ 221 w 253"/>
                <a:gd name="T117" fmla="*/ 200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3" h="613">
                  <a:moveTo>
                    <a:pt x="221" y="200"/>
                  </a:moveTo>
                  <a:lnTo>
                    <a:pt x="119" y="0"/>
                  </a:lnTo>
                  <a:lnTo>
                    <a:pt x="119" y="0"/>
                  </a:lnTo>
                  <a:lnTo>
                    <a:pt x="110" y="36"/>
                  </a:lnTo>
                  <a:lnTo>
                    <a:pt x="100" y="70"/>
                  </a:lnTo>
                  <a:lnTo>
                    <a:pt x="90" y="104"/>
                  </a:lnTo>
                  <a:lnTo>
                    <a:pt x="76" y="136"/>
                  </a:lnTo>
                  <a:lnTo>
                    <a:pt x="52" y="200"/>
                  </a:lnTo>
                  <a:lnTo>
                    <a:pt x="28" y="260"/>
                  </a:lnTo>
                  <a:lnTo>
                    <a:pt x="18" y="290"/>
                  </a:lnTo>
                  <a:lnTo>
                    <a:pt x="8" y="320"/>
                  </a:lnTo>
                  <a:lnTo>
                    <a:pt x="4" y="350"/>
                  </a:lnTo>
                  <a:lnTo>
                    <a:pt x="0" y="380"/>
                  </a:lnTo>
                  <a:lnTo>
                    <a:pt x="2" y="410"/>
                  </a:lnTo>
                  <a:lnTo>
                    <a:pt x="6" y="442"/>
                  </a:lnTo>
                  <a:lnTo>
                    <a:pt x="16" y="474"/>
                  </a:lnTo>
                  <a:lnTo>
                    <a:pt x="30" y="506"/>
                  </a:lnTo>
                  <a:lnTo>
                    <a:pt x="30" y="506"/>
                  </a:lnTo>
                  <a:lnTo>
                    <a:pt x="48" y="536"/>
                  </a:lnTo>
                  <a:lnTo>
                    <a:pt x="66" y="566"/>
                  </a:lnTo>
                  <a:lnTo>
                    <a:pt x="86" y="593"/>
                  </a:lnTo>
                  <a:lnTo>
                    <a:pt x="104" y="613"/>
                  </a:lnTo>
                  <a:lnTo>
                    <a:pt x="104" y="613"/>
                  </a:lnTo>
                  <a:lnTo>
                    <a:pt x="115" y="595"/>
                  </a:lnTo>
                  <a:lnTo>
                    <a:pt x="115" y="595"/>
                  </a:lnTo>
                  <a:lnTo>
                    <a:pt x="123" y="577"/>
                  </a:lnTo>
                  <a:lnTo>
                    <a:pt x="131" y="558"/>
                  </a:lnTo>
                  <a:lnTo>
                    <a:pt x="137" y="540"/>
                  </a:lnTo>
                  <a:lnTo>
                    <a:pt x="141" y="522"/>
                  </a:lnTo>
                  <a:lnTo>
                    <a:pt x="145" y="488"/>
                  </a:lnTo>
                  <a:lnTo>
                    <a:pt x="145" y="454"/>
                  </a:lnTo>
                  <a:lnTo>
                    <a:pt x="143" y="420"/>
                  </a:lnTo>
                  <a:lnTo>
                    <a:pt x="137" y="384"/>
                  </a:lnTo>
                  <a:lnTo>
                    <a:pt x="127" y="306"/>
                  </a:lnTo>
                  <a:lnTo>
                    <a:pt x="127" y="306"/>
                  </a:lnTo>
                  <a:lnTo>
                    <a:pt x="137" y="346"/>
                  </a:lnTo>
                  <a:lnTo>
                    <a:pt x="145" y="384"/>
                  </a:lnTo>
                  <a:lnTo>
                    <a:pt x="151" y="418"/>
                  </a:lnTo>
                  <a:lnTo>
                    <a:pt x="155" y="454"/>
                  </a:lnTo>
                  <a:lnTo>
                    <a:pt x="157" y="488"/>
                  </a:lnTo>
                  <a:lnTo>
                    <a:pt x="155" y="522"/>
                  </a:lnTo>
                  <a:lnTo>
                    <a:pt x="153" y="558"/>
                  </a:lnTo>
                  <a:lnTo>
                    <a:pt x="147" y="599"/>
                  </a:lnTo>
                  <a:lnTo>
                    <a:pt x="147" y="599"/>
                  </a:lnTo>
                  <a:lnTo>
                    <a:pt x="179" y="550"/>
                  </a:lnTo>
                  <a:lnTo>
                    <a:pt x="205" y="502"/>
                  </a:lnTo>
                  <a:lnTo>
                    <a:pt x="217" y="478"/>
                  </a:lnTo>
                  <a:lnTo>
                    <a:pt x="229" y="454"/>
                  </a:lnTo>
                  <a:lnTo>
                    <a:pt x="237" y="428"/>
                  </a:lnTo>
                  <a:lnTo>
                    <a:pt x="243" y="404"/>
                  </a:lnTo>
                  <a:lnTo>
                    <a:pt x="249" y="380"/>
                  </a:lnTo>
                  <a:lnTo>
                    <a:pt x="251" y="354"/>
                  </a:lnTo>
                  <a:lnTo>
                    <a:pt x="253" y="330"/>
                  </a:lnTo>
                  <a:lnTo>
                    <a:pt x="251" y="304"/>
                  </a:lnTo>
                  <a:lnTo>
                    <a:pt x="247" y="278"/>
                  </a:lnTo>
                  <a:lnTo>
                    <a:pt x="241" y="252"/>
                  </a:lnTo>
                  <a:lnTo>
                    <a:pt x="233" y="226"/>
                  </a:lnTo>
                  <a:lnTo>
                    <a:pt x="221" y="200"/>
                  </a:lnTo>
                  <a:lnTo>
                    <a:pt x="221"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83" name="Freeform 86">
              <a:extLst>
                <a:ext uri="{FF2B5EF4-FFF2-40B4-BE49-F238E27FC236}">
                  <a16:creationId xmlns:a16="http://schemas.microsoft.com/office/drawing/2014/main" id="{78CB8786-5DC8-4D72-A335-A7270328EE69}"/>
                </a:ext>
              </a:extLst>
            </p:cNvPr>
            <p:cNvSpPr>
              <a:spLocks/>
            </p:cNvSpPr>
            <p:nvPr/>
          </p:nvSpPr>
          <p:spPr bwMode="auto">
            <a:xfrm>
              <a:off x="4236" y="3175"/>
              <a:ext cx="717" cy="284"/>
            </a:xfrm>
            <a:custGeom>
              <a:avLst/>
              <a:gdLst>
                <a:gd name="T0" fmla="*/ 144 w 717"/>
                <a:gd name="T1" fmla="*/ 30 h 284"/>
                <a:gd name="T2" fmla="*/ 70 w 717"/>
                <a:gd name="T3" fmla="*/ 74 h 284"/>
                <a:gd name="T4" fmla="*/ 108 w 717"/>
                <a:gd name="T5" fmla="*/ 78 h 284"/>
                <a:gd name="T6" fmla="*/ 178 w 717"/>
                <a:gd name="T7" fmla="*/ 94 h 284"/>
                <a:gd name="T8" fmla="*/ 246 w 717"/>
                <a:gd name="T9" fmla="*/ 116 h 284"/>
                <a:gd name="T10" fmla="*/ 316 w 717"/>
                <a:gd name="T11" fmla="*/ 150 h 284"/>
                <a:gd name="T12" fmla="*/ 354 w 717"/>
                <a:gd name="T13" fmla="*/ 168 h 284"/>
                <a:gd name="T14" fmla="*/ 272 w 717"/>
                <a:gd name="T15" fmla="*/ 136 h 284"/>
                <a:gd name="T16" fmla="*/ 196 w 717"/>
                <a:gd name="T17" fmla="*/ 110 h 284"/>
                <a:gd name="T18" fmla="*/ 140 w 717"/>
                <a:gd name="T19" fmla="*/ 100 h 284"/>
                <a:gd name="T20" fmla="*/ 102 w 717"/>
                <a:gd name="T21" fmla="*/ 98 h 284"/>
                <a:gd name="T22" fmla="*/ 60 w 717"/>
                <a:gd name="T23" fmla="*/ 102 h 284"/>
                <a:gd name="T24" fmla="*/ 36 w 717"/>
                <a:gd name="T25" fmla="*/ 106 h 284"/>
                <a:gd name="T26" fmla="*/ 22 w 717"/>
                <a:gd name="T27" fmla="*/ 112 h 284"/>
                <a:gd name="T28" fmla="*/ 0 w 717"/>
                <a:gd name="T29" fmla="*/ 130 h 284"/>
                <a:gd name="T30" fmla="*/ 86 w 717"/>
                <a:gd name="T31" fmla="*/ 192 h 284"/>
                <a:gd name="T32" fmla="*/ 144 w 717"/>
                <a:gd name="T33" fmla="*/ 228 h 284"/>
                <a:gd name="T34" fmla="*/ 204 w 717"/>
                <a:gd name="T35" fmla="*/ 256 h 284"/>
                <a:gd name="T36" fmla="*/ 264 w 717"/>
                <a:gd name="T37" fmla="*/ 276 h 284"/>
                <a:gd name="T38" fmla="*/ 326 w 717"/>
                <a:gd name="T39" fmla="*/ 284 h 284"/>
                <a:gd name="T40" fmla="*/ 390 w 717"/>
                <a:gd name="T41" fmla="*/ 282 h 284"/>
                <a:gd name="T42" fmla="*/ 454 w 717"/>
                <a:gd name="T43" fmla="*/ 264 h 284"/>
                <a:gd name="T44" fmla="*/ 486 w 717"/>
                <a:gd name="T45" fmla="*/ 250 h 284"/>
                <a:gd name="T46" fmla="*/ 717 w 717"/>
                <a:gd name="T47" fmla="*/ 140 h 284"/>
                <a:gd name="T48" fmla="*/ 637 w 717"/>
                <a:gd name="T49" fmla="*/ 118 h 284"/>
                <a:gd name="T50" fmla="*/ 561 w 717"/>
                <a:gd name="T51" fmla="*/ 90 h 284"/>
                <a:gd name="T52" fmla="*/ 422 w 717"/>
                <a:gd name="T53" fmla="*/ 32 h 284"/>
                <a:gd name="T54" fmla="*/ 356 w 717"/>
                <a:gd name="T55" fmla="*/ 10 h 284"/>
                <a:gd name="T56" fmla="*/ 288 w 717"/>
                <a:gd name="T57" fmla="*/ 0 h 284"/>
                <a:gd name="T58" fmla="*/ 218 w 717"/>
                <a:gd name="T59" fmla="*/ 4 h 284"/>
                <a:gd name="T60" fmla="*/ 180 w 717"/>
                <a:gd name="T61" fmla="*/ 14 h 284"/>
                <a:gd name="T62" fmla="*/ 144 w 717"/>
                <a:gd name="T63" fmla="*/ 3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7" h="284">
                  <a:moveTo>
                    <a:pt x="144" y="30"/>
                  </a:moveTo>
                  <a:lnTo>
                    <a:pt x="144" y="30"/>
                  </a:lnTo>
                  <a:lnTo>
                    <a:pt x="106" y="50"/>
                  </a:lnTo>
                  <a:lnTo>
                    <a:pt x="70" y="74"/>
                  </a:lnTo>
                  <a:lnTo>
                    <a:pt x="70" y="74"/>
                  </a:lnTo>
                  <a:lnTo>
                    <a:pt x="108" y="78"/>
                  </a:lnTo>
                  <a:lnTo>
                    <a:pt x="144" y="86"/>
                  </a:lnTo>
                  <a:lnTo>
                    <a:pt x="178" y="94"/>
                  </a:lnTo>
                  <a:lnTo>
                    <a:pt x="212" y="104"/>
                  </a:lnTo>
                  <a:lnTo>
                    <a:pt x="246" y="116"/>
                  </a:lnTo>
                  <a:lnTo>
                    <a:pt x="280" y="132"/>
                  </a:lnTo>
                  <a:lnTo>
                    <a:pt x="316" y="150"/>
                  </a:lnTo>
                  <a:lnTo>
                    <a:pt x="354" y="168"/>
                  </a:lnTo>
                  <a:lnTo>
                    <a:pt x="354" y="168"/>
                  </a:lnTo>
                  <a:lnTo>
                    <a:pt x="310" y="152"/>
                  </a:lnTo>
                  <a:lnTo>
                    <a:pt x="272" y="136"/>
                  </a:lnTo>
                  <a:lnTo>
                    <a:pt x="234" y="122"/>
                  </a:lnTo>
                  <a:lnTo>
                    <a:pt x="196" y="110"/>
                  </a:lnTo>
                  <a:lnTo>
                    <a:pt x="160" y="102"/>
                  </a:lnTo>
                  <a:lnTo>
                    <a:pt x="140" y="100"/>
                  </a:lnTo>
                  <a:lnTo>
                    <a:pt x="122" y="98"/>
                  </a:lnTo>
                  <a:lnTo>
                    <a:pt x="102" y="98"/>
                  </a:lnTo>
                  <a:lnTo>
                    <a:pt x="80" y="98"/>
                  </a:lnTo>
                  <a:lnTo>
                    <a:pt x="60" y="102"/>
                  </a:lnTo>
                  <a:lnTo>
                    <a:pt x="36" y="106"/>
                  </a:lnTo>
                  <a:lnTo>
                    <a:pt x="36" y="106"/>
                  </a:lnTo>
                  <a:lnTo>
                    <a:pt x="22" y="112"/>
                  </a:lnTo>
                  <a:lnTo>
                    <a:pt x="22" y="112"/>
                  </a:lnTo>
                  <a:lnTo>
                    <a:pt x="0" y="130"/>
                  </a:lnTo>
                  <a:lnTo>
                    <a:pt x="0" y="130"/>
                  </a:lnTo>
                  <a:lnTo>
                    <a:pt x="58" y="172"/>
                  </a:lnTo>
                  <a:lnTo>
                    <a:pt x="86" y="192"/>
                  </a:lnTo>
                  <a:lnTo>
                    <a:pt x="116" y="212"/>
                  </a:lnTo>
                  <a:lnTo>
                    <a:pt x="144" y="228"/>
                  </a:lnTo>
                  <a:lnTo>
                    <a:pt x="174" y="244"/>
                  </a:lnTo>
                  <a:lnTo>
                    <a:pt x="204" y="256"/>
                  </a:lnTo>
                  <a:lnTo>
                    <a:pt x="234" y="268"/>
                  </a:lnTo>
                  <a:lnTo>
                    <a:pt x="264" y="276"/>
                  </a:lnTo>
                  <a:lnTo>
                    <a:pt x="296" y="282"/>
                  </a:lnTo>
                  <a:lnTo>
                    <a:pt x="326" y="284"/>
                  </a:lnTo>
                  <a:lnTo>
                    <a:pt x="358" y="284"/>
                  </a:lnTo>
                  <a:lnTo>
                    <a:pt x="390" y="282"/>
                  </a:lnTo>
                  <a:lnTo>
                    <a:pt x="422" y="274"/>
                  </a:lnTo>
                  <a:lnTo>
                    <a:pt x="454" y="264"/>
                  </a:lnTo>
                  <a:lnTo>
                    <a:pt x="486" y="250"/>
                  </a:lnTo>
                  <a:lnTo>
                    <a:pt x="486" y="250"/>
                  </a:lnTo>
                  <a:lnTo>
                    <a:pt x="717" y="140"/>
                  </a:lnTo>
                  <a:lnTo>
                    <a:pt x="717" y="140"/>
                  </a:lnTo>
                  <a:lnTo>
                    <a:pt x="675" y="130"/>
                  </a:lnTo>
                  <a:lnTo>
                    <a:pt x="637" y="118"/>
                  </a:lnTo>
                  <a:lnTo>
                    <a:pt x="599" y="106"/>
                  </a:lnTo>
                  <a:lnTo>
                    <a:pt x="561" y="90"/>
                  </a:lnTo>
                  <a:lnTo>
                    <a:pt x="490" y="60"/>
                  </a:lnTo>
                  <a:lnTo>
                    <a:pt x="422" y="32"/>
                  </a:lnTo>
                  <a:lnTo>
                    <a:pt x="388" y="20"/>
                  </a:lnTo>
                  <a:lnTo>
                    <a:pt x="356" y="10"/>
                  </a:lnTo>
                  <a:lnTo>
                    <a:pt x="322" y="4"/>
                  </a:lnTo>
                  <a:lnTo>
                    <a:pt x="288" y="0"/>
                  </a:lnTo>
                  <a:lnTo>
                    <a:pt x="252" y="0"/>
                  </a:lnTo>
                  <a:lnTo>
                    <a:pt x="218" y="4"/>
                  </a:lnTo>
                  <a:lnTo>
                    <a:pt x="200" y="10"/>
                  </a:lnTo>
                  <a:lnTo>
                    <a:pt x="180" y="14"/>
                  </a:lnTo>
                  <a:lnTo>
                    <a:pt x="162" y="22"/>
                  </a:lnTo>
                  <a:lnTo>
                    <a:pt x="144" y="30"/>
                  </a:lnTo>
                  <a:lnTo>
                    <a:pt x="14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84" name="Freeform 87">
              <a:extLst>
                <a:ext uri="{FF2B5EF4-FFF2-40B4-BE49-F238E27FC236}">
                  <a16:creationId xmlns:a16="http://schemas.microsoft.com/office/drawing/2014/main" id="{35D2EEB3-EC53-46FF-B765-2264C87AD1C2}"/>
                </a:ext>
              </a:extLst>
            </p:cNvPr>
            <p:cNvSpPr>
              <a:spLocks/>
            </p:cNvSpPr>
            <p:nvPr/>
          </p:nvSpPr>
          <p:spPr bwMode="auto">
            <a:xfrm>
              <a:off x="4190" y="2630"/>
              <a:ext cx="382" cy="587"/>
            </a:xfrm>
            <a:custGeom>
              <a:avLst/>
              <a:gdLst>
                <a:gd name="T0" fmla="*/ 44 w 382"/>
                <a:gd name="T1" fmla="*/ 573 h 587"/>
                <a:gd name="T2" fmla="*/ 82 w 382"/>
                <a:gd name="T3" fmla="*/ 547 h 587"/>
                <a:gd name="T4" fmla="*/ 112 w 382"/>
                <a:gd name="T5" fmla="*/ 521 h 587"/>
                <a:gd name="T6" fmla="*/ 136 w 382"/>
                <a:gd name="T7" fmla="*/ 491 h 587"/>
                <a:gd name="T8" fmla="*/ 176 w 382"/>
                <a:gd name="T9" fmla="*/ 425 h 587"/>
                <a:gd name="T10" fmla="*/ 212 w 382"/>
                <a:gd name="T11" fmla="*/ 348 h 587"/>
                <a:gd name="T12" fmla="*/ 232 w 382"/>
                <a:gd name="T13" fmla="*/ 308 h 587"/>
                <a:gd name="T14" fmla="*/ 204 w 382"/>
                <a:gd name="T15" fmla="*/ 383 h 587"/>
                <a:gd name="T16" fmla="*/ 174 w 382"/>
                <a:gd name="T17" fmla="*/ 453 h 587"/>
                <a:gd name="T18" fmla="*/ 138 w 382"/>
                <a:gd name="T19" fmla="*/ 519 h 587"/>
                <a:gd name="T20" fmla="*/ 96 w 382"/>
                <a:gd name="T21" fmla="*/ 581 h 587"/>
                <a:gd name="T22" fmla="*/ 148 w 382"/>
                <a:gd name="T23" fmla="*/ 555 h 587"/>
                <a:gd name="T24" fmla="*/ 196 w 382"/>
                <a:gd name="T25" fmla="*/ 525 h 587"/>
                <a:gd name="T26" fmla="*/ 240 w 382"/>
                <a:gd name="T27" fmla="*/ 491 h 587"/>
                <a:gd name="T28" fmla="*/ 280 w 382"/>
                <a:gd name="T29" fmla="*/ 455 h 587"/>
                <a:gd name="T30" fmla="*/ 312 w 382"/>
                <a:gd name="T31" fmla="*/ 413 h 587"/>
                <a:gd name="T32" fmla="*/ 336 w 382"/>
                <a:gd name="T33" fmla="*/ 367 h 587"/>
                <a:gd name="T34" fmla="*/ 354 w 382"/>
                <a:gd name="T35" fmla="*/ 312 h 587"/>
                <a:gd name="T36" fmla="*/ 364 w 382"/>
                <a:gd name="T37" fmla="*/ 254 h 587"/>
                <a:gd name="T38" fmla="*/ 382 w 382"/>
                <a:gd name="T39" fmla="*/ 0 h 587"/>
                <a:gd name="T40" fmla="*/ 324 w 382"/>
                <a:gd name="T41" fmla="*/ 60 h 587"/>
                <a:gd name="T42" fmla="*/ 262 w 382"/>
                <a:gd name="T43" fmla="*/ 110 h 587"/>
                <a:gd name="T44" fmla="*/ 142 w 382"/>
                <a:gd name="T45" fmla="*/ 200 h 587"/>
                <a:gd name="T46" fmla="*/ 90 w 382"/>
                <a:gd name="T47" fmla="*/ 248 h 587"/>
                <a:gd name="T48" fmla="*/ 46 w 382"/>
                <a:gd name="T49" fmla="*/ 302 h 587"/>
                <a:gd name="T50" fmla="*/ 16 w 382"/>
                <a:gd name="T51" fmla="*/ 365 h 587"/>
                <a:gd name="T52" fmla="*/ 6 w 382"/>
                <a:gd name="T53" fmla="*/ 403 h 587"/>
                <a:gd name="T54" fmla="*/ 2 w 382"/>
                <a:gd name="T55" fmla="*/ 443 h 587"/>
                <a:gd name="T56" fmla="*/ 0 w 382"/>
                <a:gd name="T57" fmla="*/ 481 h 587"/>
                <a:gd name="T58" fmla="*/ 6 w 382"/>
                <a:gd name="T59" fmla="*/ 557 h 587"/>
                <a:gd name="T60" fmla="*/ 10 w 382"/>
                <a:gd name="T61" fmla="*/ 587 h 587"/>
                <a:gd name="T62" fmla="*/ 44 w 382"/>
                <a:gd name="T63" fmla="*/ 573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2" h="587">
                  <a:moveTo>
                    <a:pt x="44" y="573"/>
                  </a:moveTo>
                  <a:lnTo>
                    <a:pt x="44" y="573"/>
                  </a:lnTo>
                  <a:lnTo>
                    <a:pt x="64" y="561"/>
                  </a:lnTo>
                  <a:lnTo>
                    <a:pt x="82" y="547"/>
                  </a:lnTo>
                  <a:lnTo>
                    <a:pt x="98" y="535"/>
                  </a:lnTo>
                  <a:lnTo>
                    <a:pt x="112" y="521"/>
                  </a:lnTo>
                  <a:lnTo>
                    <a:pt x="124" y="505"/>
                  </a:lnTo>
                  <a:lnTo>
                    <a:pt x="136" y="491"/>
                  </a:lnTo>
                  <a:lnTo>
                    <a:pt x="158" y="459"/>
                  </a:lnTo>
                  <a:lnTo>
                    <a:pt x="176" y="425"/>
                  </a:lnTo>
                  <a:lnTo>
                    <a:pt x="194" y="389"/>
                  </a:lnTo>
                  <a:lnTo>
                    <a:pt x="212" y="348"/>
                  </a:lnTo>
                  <a:lnTo>
                    <a:pt x="232" y="308"/>
                  </a:lnTo>
                  <a:lnTo>
                    <a:pt x="232" y="308"/>
                  </a:lnTo>
                  <a:lnTo>
                    <a:pt x="218" y="346"/>
                  </a:lnTo>
                  <a:lnTo>
                    <a:pt x="204" y="383"/>
                  </a:lnTo>
                  <a:lnTo>
                    <a:pt x="190" y="419"/>
                  </a:lnTo>
                  <a:lnTo>
                    <a:pt x="174" y="453"/>
                  </a:lnTo>
                  <a:lnTo>
                    <a:pt x="158" y="487"/>
                  </a:lnTo>
                  <a:lnTo>
                    <a:pt x="138" y="519"/>
                  </a:lnTo>
                  <a:lnTo>
                    <a:pt x="118" y="551"/>
                  </a:lnTo>
                  <a:lnTo>
                    <a:pt x="96" y="581"/>
                  </a:lnTo>
                  <a:lnTo>
                    <a:pt x="96" y="581"/>
                  </a:lnTo>
                  <a:lnTo>
                    <a:pt x="148" y="555"/>
                  </a:lnTo>
                  <a:lnTo>
                    <a:pt x="174" y="539"/>
                  </a:lnTo>
                  <a:lnTo>
                    <a:pt x="196" y="525"/>
                  </a:lnTo>
                  <a:lnTo>
                    <a:pt x="220" y="509"/>
                  </a:lnTo>
                  <a:lnTo>
                    <a:pt x="240" y="491"/>
                  </a:lnTo>
                  <a:lnTo>
                    <a:pt x="260" y="473"/>
                  </a:lnTo>
                  <a:lnTo>
                    <a:pt x="280" y="455"/>
                  </a:lnTo>
                  <a:lnTo>
                    <a:pt x="296" y="435"/>
                  </a:lnTo>
                  <a:lnTo>
                    <a:pt x="312" y="413"/>
                  </a:lnTo>
                  <a:lnTo>
                    <a:pt x="326" y="391"/>
                  </a:lnTo>
                  <a:lnTo>
                    <a:pt x="336" y="367"/>
                  </a:lnTo>
                  <a:lnTo>
                    <a:pt x="346" y="340"/>
                  </a:lnTo>
                  <a:lnTo>
                    <a:pt x="354" y="312"/>
                  </a:lnTo>
                  <a:lnTo>
                    <a:pt x="360" y="284"/>
                  </a:lnTo>
                  <a:lnTo>
                    <a:pt x="364" y="254"/>
                  </a:lnTo>
                  <a:lnTo>
                    <a:pt x="382" y="0"/>
                  </a:lnTo>
                  <a:lnTo>
                    <a:pt x="382" y="0"/>
                  </a:lnTo>
                  <a:lnTo>
                    <a:pt x="354" y="32"/>
                  </a:lnTo>
                  <a:lnTo>
                    <a:pt x="324" y="60"/>
                  </a:lnTo>
                  <a:lnTo>
                    <a:pt x="294" y="86"/>
                  </a:lnTo>
                  <a:lnTo>
                    <a:pt x="262" y="110"/>
                  </a:lnTo>
                  <a:lnTo>
                    <a:pt x="200" y="156"/>
                  </a:lnTo>
                  <a:lnTo>
                    <a:pt x="142" y="200"/>
                  </a:lnTo>
                  <a:lnTo>
                    <a:pt x="116" y="224"/>
                  </a:lnTo>
                  <a:lnTo>
                    <a:pt x="90" y="248"/>
                  </a:lnTo>
                  <a:lnTo>
                    <a:pt x="68" y="274"/>
                  </a:lnTo>
                  <a:lnTo>
                    <a:pt x="46" y="302"/>
                  </a:lnTo>
                  <a:lnTo>
                    <a:pt x="30" y="332"/>
                  </a:lnTo>
                  <a:lnTo>
                    <a:pt x="16" y="365"/>
                  </a:lnTo>
                  <a:lnTo>
                    <a:pt x="10" y="383"/>
                  </a:lnTo>
                  <a:lnTo>
                    <a:pt x="6" y="403"/>
                  </a:lnTo>
                  <a:lnTo>
                    <a:pt x="4" y="421"/>
                  </a:lnTo>
                  <a:lnTo>
                    <a:pt x="2" y="443"/>
                  </a:lnTo>
                  <a:lnTo>
                    <a:pt x="2" y="443"/>
                  </a:lnTo>
                  <a:lnTo>
                    <a:pt x="0" y="481"/>
                  </a:lnTo>
                  <a:lnTo>
                    <a:pt x="2" y="521"/>
                  </a:lnTo>
                  <a:lnTo>
                    <a:pt x="6" y="557"/>
                  </a:lnTo>
                  <a:lnTo>
                    <a:pt x="10" y="587"/>
                  </a:lnTo>
                  <a:lnTo>
                    <a:pt x="10" y="587"/>
                  </a:lnTo>
                  <a:lnTo>
                    <a:pt x="26" y="581"/>
                  </a:lnTo>
                  <a:lnTo>
                    <a:pt x="44" y="573"/>
                  </a:lnTo>
                  <a:lnTo>
                    <a:pt x="44" y="5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85" name="Freeform 88">
              <a:extLst>
                <a:ext uri="{FF2B5EF4-FFF2-40B4-BE49-F238E27FC236}">
                  <a16:creationId xmlns:a16="http://schemas.microsoft.com/office/drawing/2014/main" id="{CED1327E-3C6A-4E5F-B9E5-BFA862FB61CA}"/>
                </a:ext>
              </a:extLst>
            </p:cNvPr>
            <p:cNvSpPr>
              <a:spLocks/>
            </p:cNvSpPr>
            <p:nvPr/>
          </p:nvSpPr>
          <p:spPr bwMode="auto">
            <a:xfrm>
              <a:off x="3880" y="2920"/>
              <a:ext cx="272" cy="401"/>
            </a:xfrm>
            <a:custGeom>
              <a:avLst/>
              <a:gdLst>
                <a:gd name="T0" fmla="*/ 134 w 272"/>
                <a:gd name="T1" fmla="*/ 211 h 401"/>
                <a:gd name="T2" fmla="*/ 134 w 272"/>
                <a:gd name="T3" fmla="*/ 211 h 401"/>
                <a:gd name="T4" fmla="*/ 96 w 272"/>
                <a:gd name="T5" fmla="*/ 257 h 401"/>
                <a:gd name="T6" fmla="*/ 80 w 272"/>
                <a:gd name="T7" fmla="*/ 279 h 401"/>
                <a:gd name="T8" fmla="*/ 64 w 272"/>
                <a:gd name="T9" fmla="*/ 299 h 401"/>
                <a:gd name="T10" fmla="*/ 52 w 272"/>
                <a:gd name="T11" fmla="*/ 321 h 401"/>
                <a:gd name="T12" fmla="*/ 40 w 272"/>
                <a:gd name="T13" fmla="*/ 345 h 401"/>
                <a:gd name="T14" fmla="*/ 34 w 272"/>
                <a:gd name="T15" fmla="*/ 371 h 401"/>
                <a:gd name="T16" fmla="*/ 28 w 272"/>
                <a:gd name="T17" fmla="*/ 401 h 401"/>
                <a:gd name="T18" fmla="*/ 28 w 272"/>
                <a:gd name="T19" fmla="*/ 401 h 401"/>
                <a:gd name="T20" fmla="*/ 58 w 272"/>
                <a:gd name="T21" fmla="*/ 389 h 401"/>
                <a:gd name="T22" fmla="*/ 92 w 272"/>
                <a:gd name="T23" fmla="*/ 371 h 401"/>
                <a:gd name="T24" fmla="*/ 92 w 272"/>
                <a:gd name="T25" fmla="*/ 371 h 401"/>
                <a:gd name="T26" fmla="*/ 118 w 272"/>
                <a:gd name="T27" fmla="*/ 353 h 401"/>
                <a:gd name="T28" fmla="*/ 140 w 272"/>
                <a:gd name="T29" fmla="*/ 335 h 401"/>
                <a:gd name="T30" fmla="*/ 158 w 272"/>
                <a:gd name="T31" fmla="*/ 317 h 401"/>
                <a:gd name="T32" fmla="*/ 172 w 272"/>
                <a:gd name="T33" fmla="*/ 297 h 401"/>
                <a:gd name="T34" fmla="*/ 186 w 272"/>
                <a:gd name="T35" fmla="*/ 275 h 401"/>
                <a:gd name="T36" fmla="*/ 196 w 272"/>
                <a:gd name="T37" fmla="*/ 253 h 401"/>
                <a:gd name="T38" fmla="*/ 204 w 272"/>
                <a:gd name="T39" fmla="*/ 231 h 401"/>
                <a:gd name="T40" fmla="*/ 212 w 272"/>
                <a:gd name="T41" fmla="*/ 207 h 401"/>
                <a:gd name="T42" fmla="*/ 224 w 272"/>
                <a:gd name="T43" fmla="*/ 159 h 401"/>
                <a:gd name="T44" fmla="*/ 234 w 272"/>
                <a:gd name="T45" fmla="*/ 107 h 401"/>
                <a:gd name="T46" fmla="*/ 242 w 272"/>
                <a:gd name="T47" fmla="*/ 81 h 401"/>
                <a:gd name="T48" fmla="*/ 250 w 272"/>
                <a:gd name="T49" fmla="*/ 54 h 401"/>
                <a:gd name="T50" fmla="*/ 260 w 272"/>
                <a:gd name="T51" fmla="*/ 26 h 401"/>
                <a:gd name="T52" fmla="*/ 272 w 272"/>
                <a:gd name="T53" fmla="*/ 0 h 401"/>
                <a:gd name="T54" fmla="*/ 106 w 272"/>
                <a:gd name="T55" fmla="*/ 97 h 401"/>
                <a:gd name="T56" fmla="*/ 106 w 272"/>
                <a:gd name="T57" fmla="*/ 97 h 401"/>
                <a:gd name="T58" fmla="*/ 86 w 272"/>
                <a:gd name="T59" fmla="*/ 111 h 401"/>
                <a:gd name="T60" fmla="*/ 66 w 272"/>
                <a:gd name="T61" fmla="*/ 127 h 401"/>
                <a:gd name="T62" fmla="*/ 50 w 272"/>
                <a:gd name="T63" fmla="*/ 141 h 401"/>
                <a:gd name="T64" fmla="*/ 38 w 272"/>
                <a:gd name="T65" fmla="*/ 157 h 401"/>
                <a:gd name="T66" fmla="*/ 26 w 272"/>
                <a:gd name="T67" fmla="*/ 175 h 401"/>
                <a:gd name="T68" fmla="*/ 18 w 272"/>
                <a:gd name="T69" fmla="*/ 193 h 401"/>
                <a:gd name="T70" fmla="*/ 12 w 272"/>
                <a:gd name="T71" fmla="*/ 211 h 401"/>
                <a:gd name="T72" fmla="*/ 6 w 272"/>
                <a:gd name="T73" fmla="*/ 229 h 401"/>
                <a:gd name="T74" fmla="*/ 4 w 272"/>
                <a:gd name="T75" fmla="*/ 249 h 401"/>
                <a:gd name="T76" fmla="*/ 2 w 272"/>
                <a:gd name="T77" fmla="*/ 269 h 401"/>
                <a:gd name="T78" fmla="*/ 0 w 272"/>
                <a:gd name="T79" fmla="*/ 311 h 401"/>
                <a:gd name="T80" fmla="*/ 2 w 272"/>
                <a:gd name="T81" fmla="*/ 353 h 401"/>
                <a:gd name="T82" fmla="*/ 4 w 272"/>
                <a:gd name="T83" fmla="*/ 399 h 401"/>
                <a:gd name="T84" fmla="*/ 4 w 272"/>
                <a:gd name="T85" fmla="*/ 399 h 401"/>
                <a:gd name="T86" fmla="*/ 16 w 272"/>
                <a:gd name="T87" fmla="*/ 371 h 401"/>
                <a:gd name="T88" fmla="*/ 28 w 272"/>
                <a:gd name="T89" fmla="*/ 345 h 401"/>
                <a:gd name="T90" fmla="*/ 42 w 272"/>
                <a:gd name="T91" fmla="*/ 321 h 401"/>
                <a:gd name="T92" fmla="*/ 56 w 272"/>
                <a:gd name="T93" fmla="*/ 299 h 401"/>
                <a:gd name="T94" fmla="*/ 72 w 272"/>
                <a:gd name="T95" fmla="*/ 277 h 401"/>
                <a:gd name="T96" fmla="*/ 90 w 272"/>
                <a:gd name="T97" fmla="*/ 255 h 401"/>
                <a:gd name="T98" fmla="*/ 110 w 272"/>
                <a:gd name="T99" fmla="*/ 235 h 401"/>
                <a:gd name="T100" fmla="*/ 134 w 272"/>
                <a:gd name="T101" fmla="*/ 211 h 401"/>
                <a:gd name="T102" fmla="*/ 134 w 272"/>
                <a:gd name="T103" fmla="*/ 21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2" h="401">
                  <a:moveTo>
                    <a:pt x="134" y="211"/>
                  </a:moveTo>
                  <a:lnTo>
                    <a:pt x="134" y="211"/>
                  </a:lnTo>
                  <a:lnTo>
                    <a:pt x="96" y="257"/>
                  </a:lnTo>
                  <a:lnTo>
                    <a:pt x="80" y="279"/>
                  </a:lnTo>
                  <a:lnTo>
                    <a:pt x="64" y="299"/>
                  </a:lnTo>
                  <a:lnTo>
                    <a:pt x="52" y="321"/>
                  </a:lnTo>
                  <a:lnTo>
                    <a:pt x="40" y="345"/>
                  </a:lnTo>
                  <a:lnTo>
                    <a:pt x="34" y="371"/>
                  </a:lnTo>
                  <a:lnTo>
                    <a:pt x="28" y="401"/>
                  </a:lnTo>
                  <a:lnTo>
                    <a:pt x="28" y="401"/>
                  </a:lnTo>
                  <a:lnTo>
                    <a:pt x="58" y="389"/>
                  </a:lnTo>
                  <a:lnTo>
                    <a:pt x="92" y="371"/>
                  </a:lnTo>
                  <a:lnTo>
                    <a:pt x="92" y="371"/>
                  </a:lnTo>
                  <a:lnTo>
                    <a:pt x="118" y="353"/>
                  </a:lnTo>
                  <a:lnTo>
                    <a:pt x="140" y="335"/>
                  </a:lnTo>
                  <a:lnTo>
                    <a:pt x="158" y="317"/>
                  </a:lnTo>
                  <a:lnTo>
                    <a:pt x="172" y="297"/>
                  </a:lnTo>
                  <a:lnTo>
                    <a:pt x="186" y="275"/>
                  </a:lnTo>
                  <a:lnTo>
                    <a:pt x="196" y="253"/>
                  </a:lnTo>
                  <a:lnTo>
                    <a:pt x="204" y="231"/>
                  </a:lnTo>
                  <a:lnTo>
                    <a:pt x="212" y="207"/>
                  </a:lnTo>
                  <a:lnTo>
                    <a:pt x="224" y="159"/>
                  </a:lnTo>
                  <a:lnTo>
                    <a:pt x="234" y="107"/>
                  </a:lnTo>
                  <a:lnTo>
                    <a:pt x="242" y="81"/>
                  </a:lnTo>
                  <a:lnTo>
                    <a:pt x="250" y="54"/>
                  </a:lnTo>
                  <a:lnTo>
                    <a:pt x="260" y="26"/>
                  </a:lnTo>
                  <a:lnTo>
                    <a:pt x="272" y="0"/>
                  </a:lnTo>
                  <a:lnTo>
                    <a:pt x="106" y="97"/>
                  </a:lnTo>
                  <a:lnTo>
                    <a:pt x="106" y="97"/>
                  </a:lnTo>
                  <a:lnTo>
                    <a:pt x="86" y="111"/>
                  </a:lnTo>
                  <a:lnTo>
                    <a:pt x="66" y="127"/>
                  </a:lnTo>
                  <a:lnTo>
                    <a:pt x="50" y="141"/>
                  </a:lnTo>
                  <a:lnTo>
                    <a:pt x="38" y="157"/>
                  </a:lnTo>
                  <a:lnTo>
                    <a:pt x="26" y="175"/>
                  </a:lnTo>
                  <a:lnTo>
                    <a:pt x="18" y="193"/>
                  </a:lnTo>
                  <a:lnTo>
                    <a:pt x="12" y="211"/>
                  </a:lnTo>
                  <a:lnTo>
                    <a:pt x="6" y="229"/>
                  </a:lnTo>
                  <a:lnTo>
                    <a:pt x="4" y="249"/>
                  </a:lnTo>
                  <a:lnTo>
                    <a:pt x="2" y="269"/>
                  </a:lnTo>
                  <a:lnTo>
                    <a:pt x="0" y="311"/>
                  </a:lnTo>
                  <a:lnTo>
                    <a:pt x="2" y="353"/>
                  </a:lnTo>
                  <a:lnTo>
                    <a:pt x="4" y="399"/>
                  </a:lnTo>
                  <a:lnTo>
                    <a:pt x="4" y="399"/>
                  </a:lnTo>
                  <a:lnTo>
                    <a:pt x="16" y="371"/>
                  </a:lnTo>
                  <a:lnTo>
                    <a:pt x="28" y="345"/>
                  </a:lnTo>
                  <a:lnTo>
                    <a:pt x="42" y="321"/>
                  </a:lnTo>
                  <a:lnTo>
                    <a:pt x="56" y="299"/>
                  </a:lnTo>
                  <a:lnTo>
                    <a:pt x="72" y="277"/>
                  </a:lnTo>
                  <a:lnTo>
                    <a:pt x="90" y="255"/>
                  </a:lnTo>
                  <a:lnTo>
                    <a:pt x="110" y="235"/>
                  </a:lnTo>
                  <a:lnTo>
                    <a:pt x="134" y="211"/>
                  </a:lnTo>
                  <a:lnTo>
                    <a:pt x="134"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86" name="Freeform 89">
              <a:extLst>
                <a:ext uri="{FF2B5EF4-FFF2-40B4-BE49-F238E27FC236}">
                  <a16:creationId xmlns:a16="http://schemas.microsoft.com/office/drawing/2014/main" id="{15CE1A63-AEB8-4927-B60A-0AA6DA1A4357}"/>
                </a:ext>
              </a:extLst>
            </p:cNvPr>
            <p:cNvSpPr>
              <a:spLocks/>
            </p:cNvSpPr>
            <p:nvPr/>
          </p:nvSpPr>
          <p:spPr bwMode="auto">
            <a:xfrm>
              <a:off x="3944" y="3305"/>
              <a:ext cx="312" cy="122"/>
            </a:xfrm>
            <a:custGeom>
              <a:avLst/>
              <a:gdLst>
                <a:gd name="T0" fmla="*/ 2 w 312"/>
                <a:gd name="T1" fmla="*/ 56 h 122"/>
                <a:gd name="T2" fmla="*/ 2 w 312"/>
                <a:gd name="T3" fmla="*/ 56 h 122"/>
                <a:gd name="T4" fmla="*/ 28 w 312"/>
                <a:gd name="T5" fmla="*/ 50 h 122"/>
                <a:gd name="T6" fmla="*/ 52 w 312"/>
                <a:gd name="T7" fmla="*/ 48 h 122"/>
                <a:gd name="T8" fmla="*/ 78 w 312"/>
                <a:gd name="T9" fmla="*/ 48 h 122"/>
                <a:gd name="T10" fmla="*/ 106 w 312"/>
                <a:gd name="T11" fmla="*/ 52 h 122"/>
                <a:gd name="T12" fmla="*/ 106 w 312"/>
                <a:gd name="T13" fmla="*/ 52 h 122"/>
                <a:gd name="T14" fmla="*/ 144 w 312"/>
                <a:gd name="T15" fmla="*/ 54 h 122"/>
                <a:gd name="T16" fmla="*/ 156 w 312"/>
                <a:gd name="T17" fmla="*/ 56 h 122"/>
                <a:gd name="T18" fmla="*/ 156 w 312"/>
                <a:gd name="T19" fmla="*/ 56 h 122"/>
                <a:gd name="T20" fmla="*/ 116 w 312"/>
                <a:gd name="T21" fmla="*/ 56 h 122"/>
                <a:gd name="T22" fmla="*/ 78 w 312"/>
                <a:gd name="T23" fmla="*/ 56 h 122"/>
                <a:gd name="T24" fmla="*/ 38 w 312"/>
                <a:gd name="T25" fmla="*/ 62 h 122"/>
                <a:gd name="T26" fmla="*/ 20 w 312"/>
                <a:gd name="T27" fmla="*/ 66 h 122"/>
                <a:gd name="T28" fmla="*/ 0 w 312"/>
                <a:gd name="T29" fmla="*/ 70 h 122"/>
                <a:gd name="T30" fmla="*/ 0 w 312"/>
                <a:gd name="T31" fmla="*/ 70 h 122"/>
                <a:gd name="T32" fmla="*/ 18 w 312"/>
                <a:gd name="T33" fmla="*/ 84 h 122"/>
                <a:gd name="T34" fmla="*/ 42 w 312"/>
                <a:gd name="T35" fmla="*/ 100 h 122"/>
                <a:gd name="T36" fmla="*/ 42 w 312"/>
                <a:gd name="T37" fmla="*/ 100 h 122"/>
                <a:gd name="T38" fmla="*/ 60 w 312"/>
                <a:gd name="T39" fmla="*/ 110 h 122"/>
                <a:gd name="T40" fmla="*/ 78 w 312"/>
                <a:gd name="T41" fmla="*/ 116 h 122"/>
                <a:gd name="T42" fmla="*/ 94 w 312"/>
                <a:gd name="T43" fmla="*/ 120 h 122"/>
                <a:gd name="T44" fmla="*/ 110 w 312"/>
                <a:gd name="T45" fmla="*/ 122 h 122"/>
                <a:gd name="T46" fmla="*/ 126 w 312"/>
                <a:gd name="T47" fmla="*/ 122 h 122"/>
                <a:gd name="T48" fmla="*/ 142 w 312"/>
                <a:gd name="T49" fmla="*/ 122 h 122"/>
                <a:gd name="T50" fmla="*/ 174 w 312"/>
                <a:gd name="T51" fmla="*/ 116 h 122"/>
                <a:gd name="T52" fmla="*/ 206 w 312"/>
                <a:gd name="T53" fmla="*/ 108 h 122"/>
                <a:gd name="T54" fmla="*/ 240 w 312"/>
                <a:gd name="T55" fmla="*/ 98 h 122"/>
                <a:gd name="T56" fmla="*/ 274 w 312"/>
                <a:gd name="T57" fmla="*/ 90 h 122"/>
                <a:gd name="T58" fmla="*/ 292 w 312"/>
                <a:gd name="T59" fmla="*/ 86 h 122"/>
                <a:gd name="T60" fmla="*/ 312 w 312"/>
                <a:gd name="T61" fmla="*/ 84 h 122"/>
                <a:gd name="T62" fmla="*/ 204 w 312"/>
                <a:gd name="T63" fmla="*/ 20 h 122"/>
                <a:gd name="T64" fmla="*/ 204 w 312"/>
                <a:gd name="T65" fmla="*/ 20 h 122"/>
                <a:gd name="T66" fmla="*/ 190 w 312"/>
                <a:gd name="T67" fmla="*/ 14 h 122"/>
                <a:gd name="T68" fmla="*/ 176 w 312"/>
                <a:gd name="T69" fmla="*/ 8 h 122"/>
                <a:gd name="T70" fmla="*/ 162 w 312"/>
                <a:gd name="T71" fmla="*/ 4 h 122"/>
                <a:gd name="T72" fmla="*/ 148 w 312"/>
                <a:gd name="T73" fmla="*/ 0 h 122"/>
                <a:gd name="T74" fmla="*/ 136 w 312"/>
                <a:gd name="T75" fmla="*/ 0 h 122"/>
                <a:gd name="T76" fmla="*/ 122 w 312"/>
                <a:gd name="T77" fmla="*/ 0 h 122"/>
                <a:gd name="T78" fmla="*/ 110 w 312"/>
                <a:gd name="T79" fmla="*/ 2 h 122"/>
                <a:gd name="T80" fmla="*/ 98 w 312"/>
                <a:gd name="T81" fmla="*/ 4 h 122"/>
                <a:gd name="T82" fmla="*/ 74 w 312"/>
                <a:gd name="T83" fmla="*/ 14 h 122"/>
                <a:gd name="T84" fmla="*/ 50 w 312"/>
                <a:gd name="T85" fmla="*/ 26 h 122"/>
                <a:gd name="T86" fmla="*/ 2 w 312"/>
                <a:gd name="T87" fmla="*/ 56 h 122"/>
                <a:gd name="T88" fmla="*/ 2 w 312"/>
                <a:gd name="T89" fmla="*/ 5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2" h="122">
                  <a:moveTo>
                    <a:pt x="2" y="56"/>
                  </a:moveTo>
                  <a:lnTo>
                    <a:pt x="2" y="56"/>
                  </a:lnTo>
                  <a:lnTo>
                    <a:pt x="28" y="50"/>
                  </a:lnTo>
                  <a:lnTo>
                    <a:pt x="52" y="48"/>
                  </a:lnTo>
                  <a:lnTo>
                    <a:pt x="78" y="48"/>
                  </a:lnTo>
                  <a:lnTo>
                    <a:pt x="106" y="52"/>
                  </a:lnTo>
                  <a:lnTo>
                    <a:pt x="106" y="52"/>
                  </a:lnTo>
                  <a:lnTo>
                    <a:pt x="144" y="54"/>
                  </a:lnTo>
                  <a:lnTo>
                    <a:pt x="156" y="56"/>
                  </a:lnTo>
                  <a:lnTo>
                    <a:pt x="156" y="56"/>
                  </a:lnTo>
                  <a:lnTo>
                    <a:pt x="116" y="56"/>
                  </a:lnTo>
                  <a:lnTo>
                    <a:pt x="78" y="56"/>
                  </a:lnTo>
                  <a:lnTo>
                    <a:pt x="38" y="62"/>
                  </a:lnTo>
                  <a:lnTo>
                    <a:pt x="20" y="66"/>
                  </a:lnTo>
                  <a:lnTo>
                    <a:pt x="0" y="70"/>
                  </a:lnTo>
                  <a:lnTo>
                    <a:pt x="0" y="70"/>
                  </a:lnTo>
                  <a:lnTo>
                    <a:pt x="18" y="84"/>
                  </a:lnTo>
                  <a:lnTo>
                    <a:pt x="42" y="100"/>
                  </a:lnTo>
                  <a:lnTo>
                    <a:pt x="42" y="100"/>
                  </a:lnTo>
                  <a:lnTo>
                    <a:pt x="60" y="110"/>
                  </a:lnTo>
                  <a:lnTo>
                    <a:pt x="78" y="116"/>
                  </a:lnTo>
                  <a:lnTo>
                    <a:pt x="94" y="120"/>
                  </a:lnTo>
                  <a:lnTo>
                    <a:pt x="110" y="122"/>
                  </a:lnTo>
                  <a:lnTo>
                    <a:pt x="126" y="122"/>
                  </a:lnTo>
                  <a:lnTo>
                    <a:pt x="142" y="122"/>
                  </a:lnTo>
                  <a:lnTo>
                    <a:pt x="174" y="116"/>
                  </a:lnTo>
                  <a:lnTo>
                    <a:pt x="206" y="108"/>
                  </a:lnTo>
                  <a:lnTo>
                    <a:pt x="240" y="98"/>
                  </a:lnTo>
                  <a:lnTo>
                    <a:pt x="274" y="90"/>
                  </a:lnTo>
                  <a:lnTo>
                    <a:pt x="292" y="86"/>
                  </a:lnTo>
                  <a:lnTo>
                    <a:pt x="312" y="84"/>
                  </a:lnTo>
                  <a:lnTo>
                    <a:pt x="204" y="20"/>
                  </a:lnTo>
                  <a:lnTo>
                    <a:pt x="204" y="20"/>
                  </a:lnTo>
                  <a:lnTo>
                    <a:pt x="190" y="14"/>
                  </a:lnTo>
                  <a:lnTo>
                    <a:pt x="176" y="8"/>
                  </a:lnTo>
                  <a:lnTo>
                    <a:pt x="162" y="4"/>
                  </a:lnTo>
                  <a:lnTo>
                    <a:pt x="148" y="0"/>
                  </a:lnTo>
                  <a:lnTo>
                    <a:pt x="136" y="0"/>
                  </a:lnTo>
                  <a:lnTo>
                    <a:pt x="122" y="0"/>
                  </a:lnTo>
                  <a:lnTo>
                    <a:pt x="110" y="2"/>
                  </a:lnTo>
                  <a:lnTo>
                    <a:pt x="98" y="4"/>
                  </a:lnTo>
                  <a:lnTo>
                    <a:pt x="74" y="14"/>
                  </a:lnTo>
                  <a:lnTo>
                    <a:pt x="50" y="26"/>
                  </a:lnTo>
                  <a:lnTo>
                    <a:pt x="2" y="56"/>
                  </a:lnTo>
                  <a:lnTo>
                    <a:pt x="2"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87" name="Freeform 90">
              <a:extLst>
                <a:ext uri="{FF2B5EF4-FFF2-40B4-BE49-F238E27FC236}">
                  <a16:creationId xmlns:a16="http://schemas.microsoft.com/office/drawing/2014/main" id="{8706BE73-3E19-44EA-88C9-7D47AC911FFB}"/>
                </a:ext>
              </a:extLst>
            </p:cNvPr>
            <p:cNvSpPr>
              <a:spLocks/>
            </p:cNvSpPr>
            <p:nvPr/>
          </p:nvSpPr>
          <p:spPr bwMode="auto">
            <a:xfrm>
              <a:off x="3896" y="3413"/>
              <a:ext cx="4" cy="2"/>
            </a:xfrm>
            <a:custGeom>
              <a:avLst/>
              <a:gdLst>
                <a:gd name="T0" fmla="*/ 0 w 4"/>
                <a:gd name="T1" fmla="*/ 0 h 2"/>
                <a:gd name="T2" fmla="*/ 0 w 4"/>
                <a:gd name="T3" fmla="*/ 0 h 2"/>
                <a:gd name="T4" fmla="*/ 4 w 4"/>
                <a:gd name="T5" fmla="*/ 2 h 2"/>
                <a:gd name="T6" fmla="*/ 4 w 4"/>
                <a:gd name="T7" fmla="*/ 2 h 2"/>
                <a:gd name="T8" fmla="*/ 4 w 4"/>
                <a:gd name="T9" fmla="*/ 0 h 2"/>
                <a:gd name="T10" fmla="*/ 0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0" y="0"/>
                  </a:moveTo>
                  <a:lnTo>
                    <a:pt x="0" y="0"/>
                  </a:lnTo>
                  <a:lnTo>
                    <a:pt x="4" y="2"/>
                  </a:lnTo>
                  <a:lnTo>
                    <a:pt x="4" y="2"/>
                  </a:lnTo>
                  <a:lnTo>
                    <a:pt x="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88" name="Freeform 91">
              <a:extLst>
                <a:ext uri="{FF2B5EF4-FFF2-40B4-BE49-F238E27FC236}">
                  <a16:creationId xmlns:a16="http://schemas.microsoft.com/office/drawing/2014/main" id="{854B5A4D-100A-4CDA-8F82-65C0FF16E5EB}"/>
                </a:ext>
              </a:extLst>
            </p:cNvPr>
            <p:cNvSpPr>
              <a:spLocks/>
            </p:cNvSpPr>
            <p:nvPr/>
          </p:nvSpPr>
          <p:spPr bwMode="auto">
            <a:xfrm>
              <a:off x="3896" y="3415"/>
              <a:ext cx="284" cy="390"/>
            </a:xfrm>
            <a:custGeom>
              <a:avLst/>
              <a:gdLst>
                <a:gd name="T0" fmla="*/ 56 w 284"/>
                <a:gd name="T1" fmla="*/ 14 h 390"/>
                <a:gd name="T2" fmla="*/ 56 w 284"/>
                <a:gd name="T3" fmla="*/ 14 h 390"/>
                <a:gd name="T4" fmla="*/ 70 w 284"/>
                <a:gd name="T5" fmla="*/ 28 h 390"/>
                <a:gd name="T6" fmla="*/ 82 w 284"/>
                <a:gd name="T7" fmla="*/ 40 h 390"/>
                <a:gd name="T8" fmla="*/ 102 w 284"/>
                <a:gd name="T9" fmla="*/ 68 h 390"/>
                <a:gd name="T10" fmla="*/ 122 w 284"/>
                <a:gd name="T11" fmla="*/ 100 h 390"/>
                <a:gd name="T12" fmla="*/ 142 w 284"/>
                <a:gd name="T13" fmla="*/ 134 h 390"/>
                <a:gd name="T14" fmla="*/ 142 w 284"/>
                <a:gd name="T15" fmla="*/ 134 h 390"/>
                <a:gd name="T16" fmla="*/ 168 w 284"/>
                <a:gd name="T17" fmla="*/ 184 h 390"/>
                <a:gd name="T18" fmla="*/ 176 w 284"/>
                <a:gd name="T19" fmla="*/ 202 h 390"/>
                <a:gd name="T20" fmla="*/ 176 w 284"/>
                <a:gd name="T21" fmla="*/ 202 h 390"/>
                <a:gd name="T22" fmla="*/ 160 w 284"/>
                <a:gd name="T23" fmla="*/ 174 h 390"/>
                <a:gd name="T24" fmla="*/ 140 w 284"/>
                <a:gd name="T25" fmla="*/ 146 h 390"/>
                <a:gd name="T26" fmla="*/ 122 w 284"/>
                <a:gd name="T27" fmla="*/ 118 h 390"/>
                <a:gd name="T28" fmla="*/ 100 w 284"/>
                <a:gd name="T29" fmla="*/ 92 h 390"/>
                <a:gd name="T30" fmla="*/ 78 w 284"/>
                <a:gd name="T31" fmla="*/ 66 h 390"/>
                <a:gd name="T32" fmla="*/ 54 w 284"/>
                <a:gd name="T33" fmla="*/ 42 h 390"/>
                <a:gd name="T34" fmla="*/ 30 w 284"/>
                <a:gd name="T35" fmla="*/ 20 h 390"/>
                <a:gd name="T36" fmla="*/ 4 w 284"/>
                <a:gd name="T37" fmla="*/ 0 h 390"/>
                <a:gd name="T38" fmla="*/ 4 w 284"/>
                <a:gd name="T39" fmla="*/ 0 h 390"/>
                <a:gd name="T40" fmla="*/ 2 w 284"/>
                <a:gd name="T41" fmla="*/ 12 h 390"/>
                <a:gd name="T42" fmla="*/ 0 w 284"/>
                <a:gd name="T43" fmla="*/ 30 h 390"/>
                <a:gd name="T44" fmla="*/ 0 w 284"/>
                <a:gd name="T45" fmla="*/ 58 h 390"/>
                <a:gd name="T46" fmla="*/ 2 w 284"/>
                <a:gd name="T47" fmla="*/ 92 h 390"/>
                <a:gd name="T48" fmla="*/ 2 w 284"/>
                <a:gd name="T49" fmla="*/ 92 h 390"/>
                <a:gd name="T50" fmla="*/ 10 w 284"/>
                <a:gd name="T51" fmla="*/ 122 h 390"/>
                <a:gd name="T52" fmla="*/ 18 w 284"/>
                <a:gd name="T53" fmla="*/ 148 h 390"/>
                <a:gd name="T54" fmla="*/ 30 w 284"/>
                <a:gd name="T55" fmla="*/ 172 h 390"/>
                <a:gd name="T56" fmla="*/ 42 w 284"/>
                <a:gd name="T57" fmla="*/ 192 h 390"/>
                <a:gd name="T58" fmla="*/ 58 w 284"/>
                <a:gd name="T59" fmla="*/ 212 h 390"/>
                <a:gd name="T60" fmla="*/ 74 w 284"/>
                <a:gd name="T61" fmla="*/ 230 h 390"/>
                <a:gd name="T62" fmla="*/ 92 w 284"/>
                <a:gd name="T63" fmla="*/ 246 h 390"/>
                <a:gd name="T64" fmla="*/ 112 w 284"/>
                <a:gd name="T65" fmla="*/ 260 h 390"/>
                <a:gd name="T66" fmla="*/ 154 w 284"/>
                <a:gd name="T67" fmla="*/ 290 h 390"/>
                <a:gd name="T68" fmla="*/ 198 w 284"/>
                <a:gd name="T69" fmla="*/ 318 h 390"/>
                <a:gd name="T70" fmla="*/ 220 w 284"/>
                <a:gd name="T71" fmla="*/ 334 h 390"/>
                <a:gd name="T72" fmla="*/ 240 w 284"/>
                <a:gd name="T73" fmla="*/ 352 h 390"/>
                <a:gd name="T74" fmla="*/ 262 w 284"/>
                <a:gd name="T75" fmla="*/ 370 h 390"/>
                <a:gd name="T76" fmla="*/ 284 w 284"/>
                <a:gd name="T77" fmla="*/ 390 h 390"/>
                <a:gd name="T78" fmla="*/ 252 w 284"/>
                <a:gd name="T79" fmla="*/ 202 h 390"/>
                <a:gd name="T80" fmla="*/ 252 w 284"/>
                <a:gd name="T81" fmla="*/ 202 h 390"/>
                <a:gd name="T82" fmla="*/ 248 w 284"/>
                <a:gd name="T83" fmla="*/ 180 h 390"/>
                <a:gd name="T84" fmla="*/ 242 w 284"/>
                <a:gd name="T85" fmla="*/ 160 h 390"/>
                <a:gd name="T86" fmla="*/ 234 w 284"/>
                <a:gd name="T87" fmla="*/ 142 h 390"/>
                <a:gd name="T88" fmla="*/ 226 w 284"/>
                <a:gd name="T89" fmla="*/ 126 h 390"/>
                <a:gd name="T90" fmla="*/ 218 w 284"/>
                <a:gd name="T91" fmla="*/ 112 h 390"/>
                <a:gd name="T92" fmla="*/ 206 w 284"/>
                <a:gd name="T93" fmla="*/ 98 h 390"/>
                <a:gd name="T94" fmla="*/ 196 w 284"/>
                <a:gd name="T95" fmla="*/ 86 h 390"/>
                <a:gd name="T96" fmla="*/ 184 w 284"/>
                <a:gd name="T97" fmla="*/ 76 h 390"/>
                <a:gd name="T98" fmla="*/ 170 w 284"/>
                <a:gd name="T99" fmla="*/ 66 h 390"/>
                <a:gd name="T100" fmla="*/ 156 w 284"/>
                <a:gd name="T101" fmla="*/ 56 h 390"/>
                <a:gd name="T102" fmla="*/ 126 w 284"/>
                <a:gd name="T103" fmla="*/ 40 h 390"/>
                <a:gd name="T104" fmla="*/ 92 w 284"/>
                <a:gd name="T105" fmla="*/ 26 h 390"/>
                <a:gd name="T106" fmla="*/ 56 w 284"/>
                <a:gd name="T107" fmla="*/ 14 h 390"/>
                <a:gd name="T108" fmla="*/ 56 w 284"/>
                <a:gd name="T109" fmla="*/ 14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4" h="390">
                  <a:moveTo>
                    <a:pt x="56" y="14"/>
                  </a:moveTo>
                  <a:lnTo>
                    <a:pt x="56" y="14"/>
                  </a:lnTo>
                  <a:lnTo>
                    <a:pt x="70" y="28"/>
                  </a:lnTo>
                  <a:lnTo>
                    <a:pt x="82" y="40"/>
                  </a:lnTo>
                  <a:lnTo>
                    <a:pt x="102" y="68"/>
                  </a:lnTo>
                  <a:lnTo>
                    <a:pt x="122" y="100"/>
                  </a:lnTo>
                  <a:lnTo>
                    <a:pt x="142" y="134"/>
                  </a:lnTo>
                  <a:lnTo>
                    <a:pt x="142" y="134"/>
                  </a:lnTo>
                  <a:lnTo>
                    <a:pt x="168" y="184"/>
                  </a:lnTo>
                  <a:lnTo>
                    <a:pt x="176" y="202"/>
                  </a:lnTo>
                  <a:lnTo>
                    <a:pt x="176" y="202"/>
                  </a:lnTo>
                  <a:lnTo>
                    <a:pt x="160" y="174"/>
                  </a:lnTo>
                  <a:lnTo>
                    <a:pt x="140" y="146"/>
                  </a:lnTo>
                  <a:lnTo>
                    <a:pt x="122" y="118"/>
                  </a:lnTo>
                  <a:lnTo>
                    <a:pt x="100" y="92"/>
                  </a:lnTo>
                  <a:lnTo>
                    <a:pt x="78" y="66"/>
                  </a:lnTo>
                  <a:lnTo>
                    <a:pt x="54" y="42"/>
                  </a:lnTo>
                  <a:lnTo>
                    <a:pt x="30" y="20"/>
                  </a:lnTo>
                  <a:lnTo>
                    <a:pt x="4" y="0"/>
                  </a:lnTo>
                  <a:lnTo>
                    <a:pt x="4" y="0"/>
                  </a:lnTo>
                  <a:lnTo>
                    <a:pt x="2" y="12"/>
                  </a:lnTo>
                  <a:lnTo>
                    <a:pt x="0" y="30"/>
                  </a:lnTo>
                  <a:lnTo>
                    <a:pt x="0" y="58"/>
                  </a:lnTo>
                  <a:lnTo>
                    <a:pt x="2" y="92"/>
                  </a:lnTo>
                  <a:lnTo>
                    <a:pt x="2" y="92"/>
                  </a:lnTo>
                  <a:lnTo>
                    <a:pt x="10" y="122"/>
                  </a:lnTo>
                  <a:lnTo>
                    <a:pt x="18" y="148"/>
                  </a:lnTo>
                  <a:lnTo>
                    <a:pt x="30" y="172"/>
                  </a:lnTo>
                  <a:lnTo>
                    <a:pt x="42" y="192"/>
                  </a:lnTo>
                  <a:lnTo>
                    <a:pt x="58" y="212"/>
                  </a:lnTo>
                  <a:lnTo>
                    <a:pt x="74" y="230"/>
                  </a:lnTo>
                  <a:lnTo>
                    <a:pt x="92" y="246"/>
                  </a:lnTo>
                  <a:lnTo>
                    <a:pt x="112" y="260"/>
                  </a:lnTo>
                  <a:lnTo>
                    <a:pt x="154" y="290"/>
                  </a:lnTo>
                  <a:lnTo>
                    <a:pt x="198" y="318"/>
                  </a:lnTo>
                  <a:lnTo>
                    <a:pt x="220" y="334"/>
                  </a:lnTo>
                  <a:lnTo>
                    <a:pt x="240" y="352"/>
                  </a:lnTo>
                  <a:lnTo>
                    <a:pt x="262" y="370"/>
                  </a:lnTo>
                  <a:lnTo>
                    <a:pt x="284" y="390"/>
                  </a:lnTo>
                  <a:lnTo>
                    <a:pt x="252" y="202"/>
                  </a:lnTo>
                  <a:lnTo>
                    <a:pt x="252" y="202"/>
                  </a:lnTo>
                  <a:lnTo>
                    <a:pt x="248" y="180"/>
                  </a:lnTo>
                  <a:lnTo>
                    <a:pt x="242" y="160"/>
                  </a:lnTo>
                  <a:lnTo>
                    <a:pt x="234" y="142"/>
                  </a:lnTo>
                  <a:lnTo>
                    <a:pt x="226" y="126"/>
                  </a:lnTo>
                  <a:lnTo>
                    <a:pt x="218" y="112"/>
                  </a:lnTo>
                  <a:lnTo>
                    <a:pt x="206" y="98"/>
                  </a:lnTo>
                  <a:lnTo>
                    <a:pt x="196" y="86"/>
                  </a:lnTo>
                  <a:lnTo>
                    <a:pt x="184" y="76"/>
                  </a:lnTo>
                  <a:lnTo>
                    <a:pt x="170" y="66"/>
                  </a:lnTo>
                  <a:lnTo>
                    <a:pt x="156" y="56"/>
                  </a:lnTo>
                  <a:lnTo>
                    <a:pt x="126" y="40"/>
                  </a:lnTo>
                  <a:lnTo>
                    <a:pt x="92" y="26"/>
                  </a:lnTo>
                  <a:lnTo>
                    <a:pt x="56" y="14"/>
                  </a:lnTo>
                  <a:lnTo>
                    <a:pt x="5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89" name="Freeform 92">
              <a:extLst>
                <a:ext uri="{FF2B5EF4-FFF2-40B4-BE49-F238E27FC236}">
                  <a16:creationId xmlns:a16="http://schemas.microsoft.com/office/drawing/2014/main" id="{747994E0-AE61-4578-8FC5-3377DE592309}"/>
                </a:ext>
              </a:extLst>
            </p:cNvPr>
            <p:cNvSpPr>
              <a:spLocks/>
            </p:cNvSpPr>
            <p:nvPr/>
          </p:nvSpPr>
          <p:spPr bwMode="auto">
            <a:xfrm>
              <a:off x="4797" y="1091"/>
              <a:ext cx="480" cy="238"/>
            </a:xfrm>
            <a:custGeom>
              <a:avLst/>
              <a:gdLst>
                <a:gd name="T0" fmla="*/ 378 w 480"/>
                <a:gd name="T1" fmla="*/ 238 h 238"/>
                <a:gd name="T2" fmla="*/ 378 w 480"/>
                <a:gd name="T3" fmla="*/ 238 h 238"/>
                <a:gd name="T4" fmla="*/ 420 w 480"/>
                <a:gd name="T5" fmla="*/ 234 h 238"/>
                <a:gd name="T6" fmla="*/ 452 w 480"/>
                <a:gd name="T7" fmla="*/ 228 h 238"/>
                <a:gd name="T8" fmla="*/ 480 w 480"/>
                <a:gd name="T9" fmla="*/ 222 h 238"/>
                <a:gd name="T10" fmla="*/ 480 w 480"/>
                <a:gd name="T11" fmla="*/ 222 h 238"/>
                <a:gd name="T12" fmla="*/ 454 w 480"/>
                <a:gd name="T13" fmla="*/ 176 h 238"/>
                <a:gd name="T14" fmla="*/ 428 w 480"/>
                <a:gd name="T15" fmla="*/ 134 h 238"/>
                <a:gd name="T16" fmla="*/ 424 w 480"/>
                <a:gd name="T17" fmla="*/ 130 h 238"/>
                <a:gd name="T18" fmla="*/ 424 w 480"/>
                <a:gd name="T19" fmla="*/ 130 h 238"/>
                <a:gd name="T20" fmla="*/ 394 w 480"/>
                <a:gd name="T21" fmla="*/ 112 h 238"/>
                <a:gd name="T22" fmla="*/ 368 w 480"/>
                <a:gd name="T23" fmla="*/ 100 h 238"/>
                <a:gd name="T24" fmla="*/ 342 w 480"/>
                <a:gd name="T25" fmla="*/ 92 h 238"/>
                <a:gd name="T26" fmla="*/ 318 w 480"/>
                <a:gd name="T27" fmla="*/ 88 h 238"/>
                <a:gd name="T28" fmla="*/ 294 w 480"/>
                <a:gd name="T29" fmla="*/ 86 h 238"/>
                <a:gd name="T30" fmla="*/ 268 w 480"/>
                <a:gd name="T31" fmla="*/ 86 h 238"/>
                <a:gd name="T32" fmla="*/ 214 w 480"/>
                <a:gd name="T33" fmla="*/ 86 h 238"/>
                <a:gd name="T34" fmla="*/ 214 w 480"/>
                <a:gd name="T35" fmla="*/ 86 h 238"/>
                <a:gd name="T36" fmla="*/ 264 w 480"/>
                <a:gd name="T37" fmla="*/ 80 h 238"/>
                <a:gd name="T38" fmla="*/ 286 w 480"/>
                <a:gd name="T39" fmla="*/ 80 h 238"/>
                <a:gd name="T40" fmla="*/ 308 w 480"/>
                <a:gd name="T41" fmla="*/ 80 h 238"/>
                <a:gd name="T42" fmla="*/ 332 w 480"/>
                <a:gd name="T43" fmla="*/ 82 h 238"/>
                <a:gd name="T44" fmla="*/ 356 w 480"/>
                <a:gd name="T45" fmla="*/ 86 h 238"/>
                <a:gd name="T46" fmla="*/ 380 w 480"/>
                <a:gd name="T47" fmla="*/ 92 h 238"/>
                <a:gd name="T48" fmla="*/ 406 w 480"/>
                <a:gd name="T49" fmla="*/ 100 h 238"/>
                <a:gd name="T50" fmla="*/ 406 w 480"/>
                <a:gd name="T51" fmla="*/ 100 h 238"/>
                <a:gd name="T52" fmla="*/ 388 w 480"/>
                <a:gd name="T53" fmla="*/ 76 h 238"/>
                <a:gd name="T54" fmla="*/ 370 w 480"/>
                <a:gd name="T55" fmla="*/ 58 h 238"/>
                <a:gd name="T56" fmla="*/ 348 w 480"/>
                <a:gd name="T57" fmla="*/ 40 h 238"/>
                <a:gd name="T58" fmla="*/ 326 w 480"/>
                <a:gd name="T59" fmla="*/ 24 h 238"/>
                <a:gd name="T60" fmla="*/ 300 w 480"/>
                <a:gd name="T61" fmla="*/ 14 h 238"/>
                <a:gd name="T62" fmla="*/ 272 w 480"/>
                <a:gd name="T63" fmla="*/ 6 h 238"/>
                <a:gd name="T64" fmla="*/ 240 w 480"/>
                <a:gd name="T65" fmla="*/ 0 h 238"/>
                <a:gd name="T66" fmla="*/ 206 w 480"/>
                <a:gd name="T67" fmla="*/ 0 h 238"/>
                <a:gd name="T68" fmla="*/ 0 w 480"/>
                <a:gd name="T69" fmla="*/ 10 h 238"/>
                <a:gd name="T70" fmla="*/ 0 w 480"/>
                <a:gd name="T71" fmla="*/ 10 h 238"/>
                <a:gd name="T72" fmla="*/ 26 w 480"/>
                <a:gd name="T73" fmla="*/ 28 h 238"/>
                <a:gd name="T74" fmla="*/ 50 w 480"/>
                <a:gd name="T75" fmla="*/ 46 h 238"/>
                <a:gd name="T76" fmla="*/ 74 w 480"/>
                <a:gd name="T77" fmla="*/ 66 h 238"/>
                <a:gd name="T78" fmla="*/ 96 w 480"/>
                <a:gd name="T79" fmla="*/ 84 h 238"/>
                <a:gd name="T80" fmla="*/ 136 w 480"/>
                <a:gd name="T81" fmla="*/ 124 h 238"/>
                <a:gd name="T82" fmla="*/ 176 w 480"/>
                <a:gd name="T83" fmla="*/ 160 h 238"/>
                <a:gd name="T84" fmla="*/ 196 w 480"/>
                <a:gd name="T85" fmla="*/ 178 h 238"/>
                <a:gd name="T86" fmla="*/ 216 w 480"/>
                <a:gd name="T87" fmla="*/ 192 h 238"/>
                <a:gd name="T88" fmla="*/ 238 w 480"/>
                <a:gd name="T89" fmla="*/ 206 h 238"/>
                <a:gd name="T90" fmla="*/ 262 w 480"/>
                <a:gd name="T91" fmla="*/ 218 h 238"/>
                <a:gd name="T92" fmla="*/ 288 w 480"/>
                <a:gd name="T93" fmla="*/ 228 h 238"/>
                <a:gd name="T94" fmla="*/ 316 w 480"/>
                <a:gd name="T95" fmla="*/ 234 h 238"/>
                <a:gd name="T96" fmla="*/ 346 w 480"/>
                <a:gd name="T97" fmla="*/ 236 h 238"/>
                <a:gd name="T98" fmla="*/ 378 w 480"/>
                <a:gd name="T99" fmla="*/ 238 h 238"/>
                <a:gd name="T100" fmla="*/ 378 w 480"/>
                <a:gd name="T10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0" h="238">
                  <a:moveTo>
                    <a:pt x="378" y="238"/>
                  </a:moveTo>
                  <a:lnTo>
                    <a:pt x="378" y="238"/>
                  </a:lnTo>
                  <a:lnTo>
                    <a:pt x="420" y="234"/>
                  </a:lnTo>
                  <a:lnTo>
                    <a:pt x="452" y="228"/>
                  </a:lnTo>
                  <a:lnTo>
                    <a:pt x="480" y="222"/>
                  </a:lnTo>
                  <a:lnTo>
                    <a:pt x="480" y="222"/>
                  </a:lnTo>
                  <a:lnTo>
                    <a:pt x="454" y="176"/>
                  </a:lnTo>
                  <a:lnTo>
                    <a:pt x="428" y="134"/>
                  </a:lnTo>
                  <a:lnTo>
                    <a:pt x="424" y="130"/>
                  </a:lnTo>
                  <a:lnTo>
                    <a:pt x="424" y="130"/>
                  </a:lnTo>
                  <a:lnTo>
                    <a:pt x="394" y="112"/>
                  </a:lnTo>
                  <a:lnTo>
                    <a:pt x="368" y="100"/>
                  </a:lnTo>
                  <a:lnTo>
                    <a:pt x="342" y="92"/>
                  </a:lnTo>
                  <a:lnTo>
                    <a:pt x="318" y="88"/>
                  </a:lnTo>
                  <a:lnTo>
                    <a:pt x="294" y="86"/>
                  </a:lnTo>
                  <a:lnTo>
                    <a:pt x="268" y="86"/>
                  </a:lnTo>
                  <a:lnTo>
                    <a:pt x="214" y="86"/>
                  </a:lnTo>
                  <a:lnTo>
                    <a:pt x="214" y="86"/>
                  </a:lnTo>
                  <a:lnTo>
                    <a:pt x="264" y="80"/>
                  </a:lnTo>
                  <a:lnTo>
                    <a:pt x="286" y="80"/>
                  </a:lnTo>
                  <a:lnTo>
                    <a:pt x="308" y="80"/>
                  </a:lnTo>
                  <a:lnTo>
                    <a:pt x="332" y="82"/>
                  </a:lnTo>
                  <a:lnTo>
                    <a:pt x="356" y="86"/>
                  </a:lnTo>
                  <a:lnTo>
                    <a:pt x="380" y="92"/>
                  </a:lnTo>
                  <a:lnTo>
                    <a:pt x="406" y="100"/>
                  </a:lnTo>
                  <a:lnTo>
                    <a:pt x="406" y="100"/>
                  </a:lnTo>
                  <a:lnTo>
                    <a:pt x="388" y="76"/>
                  </a:lnTo>
                  <a:lnTo>
                    <a:pt x="370" y="58"/>
                  </a:lnTo>
                  <a:lnTo>
                    <a:pt x="348" y="40"/>
                  </a:lnTo>
                  <a:lnTo>
                    <a:pt x="326" y="24"/>
                  </a:lnTo>
                  <a:lnTo>
                    <a:pt x="300" y="14"/>
                  </a:lnTo>
                  <a:lnTo>
                    <a:pt x="272" y="6"/>
                  </a:lnTo>
                  <a:lnTo>
                    <a:pt x="240" y="0"/>
                  </a:lnTo>
                  <a:lnTo>
                    <a:pt x="206" y="0"/>
                  </a:lnTo>
                  <a:lnTo>
                    <a:pt x="0" y="10"/>
                  </a:lnTo>
                  <a:lnTo>
                    <a:pt x="0" y="10"/>
                  </a:lnTo>
                  <a:lnTo>
                    <a:pt x="26" y="28"/>
                  </a:lnTo>
                  <a:lnTo>
                    <a:pt x="50" y="46"/>
                  </a:lnTo>
                  <a:lnTo>
                    <a:pt x="74" y="66"/>
                  </a:lnTo>
                  <a:lnTo>
                    <a:pt x="96" y="84"/>
                  </a:lnTo>
                  <a:lnTo>
                    <a:pt x="136" y="124"/>
                  </a:lnTo>
                  <a:lnTo>
                    <a:pt x="176" y="160"/>
                  </a:lnTo>
                  <a:lnTo>
                    <a:pt x="196" y="178"/>
                  </a:lnTo>
                  <a:lnTo>
                    <a:pt x="216" y="192"/>
                  </a:lnTo>
                  <a:lnTo>
                    <a:pt x="238" y="206"/>
                  </a:lnTo>
                  <a:lnTo>
                    <a:pt x="262" y="218"/>
                  </a:lnTo>
                  <a:lnTo>
                    <a:pt x="288" y="228"/>
                  </a:lnTo>
                  <a:lnTo>
                    <a:pt x="316" y="234"/>
                  </a:lnTo>
                  <a:lnTo>
                    <a:pt x="346" y="236"/>
                  </a:lnTo>
                  <a:lnTo>
                    <a:pt x="378" y="238"/>
                  </a:lnTo>
                  <a:lnTo>
                    <a:pt x="378" y="2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sp>
          <p:nvSpPr>
            <p:cNvPr id="90" name="Freeform 93">
              <a:extLst>
                <a:ext uri="{FF2B5EF4-FFF2-40B4-BE49-F238E27FC236}">
                  <a16:creationId xmlns:a16="http://schemas.microsoft.com/office/drawing/2014/main" id="{17682F45-A4D5-4543-98CC-BBC765C87140}"/>
                </a:ext>
              </a:extLst>
            </p:cNvPr>
            <p:cNvSpPr>
              <a:spLocks/>
            </p:cNvSpPr>
            <p:nvPr/>
          </p:nvSpPr>
          <p:spPr bwMode="auto">
            <a:xfrm>
              <a:off x="5163" y="749"/>
              <a:ext cx="212" cy="516"/>
            </a:xfrm>
            <a:custGeom>
              <a:avLst/>
              <a:gdLst>
                <a:gd name="T0" fmla="*/ 74 w 212"/>
                <a:gd name="T1" fmla="*/ 190 h 516"/>
                <a:gd name="T2" fmla="*/ 74 w 212"/>
                <a:gd name="T3" fmla="*/ 190 h 516"/>
                <a:gd name="T4" fmla="*/ 72 w 212"/>
                <a:gd name="T5" fmla="*/ 256 h 516"/>
                <a:gd name="T6" fmla="*/ 72 w 212"/>
                <a:gd name="T7" fmla="*/ 286 h 516"/>
                <a:gd name="T8" fmla="*/ 72 w 212"/>
                <a:gd name="T9" fmla="*/ 316 h 516"/>
                <a:gd name="T10" fmla="*/ 74 w 212"/>
                <a:gd name="T11" fmla="*/ 346 h 516"/>
                <a:gd name="T12" fmla="*/ 80 w 212"/>
                <a:gd name="T13" fmla="*/ 376 h 516"/>
                <a:gd name="T14" fmla="*/ 88 w 212"/>
                <a:gd name="T15" fmla="*/ 410 h 516"/>
                <a:gd name="T16" fmla="*/ 102 w 212"/>
                <a:gd name="T17" fmla="*/ 446 h 516"/>
                <a:gd name="T18" fmla="*/ 102 w 212"/>
                <a:gd name="T19" fmla="*/ 446 h 516"/>
                <a:gd name="T20" fmla="*/ 112 w 212"/>
                <a:gd name="T21" fmla="*/ 466 h 516"/>
                <a:gd name="T22" fmla="*/ 112 w 212"/>
                <a:gd name="T23" fmla="*/ 466 h 516"/>
                <a:gd name="T24" fmla="*/ 164 w 212"/>
                <a:gd name="T25" fmla="*/ 516 h 516"/>
                <a:gd name="T26" fmla="*/ 164 w 212"/>
                <a:gd name="T27" fmla="*/ 516 h 516"/>
                <a:gd name="T28" fmla="*/ 176 w 212"/>
                <a:gd name="T29" fmla="*/ 490 h 516"/>
                <a:gd name="T30" fmla="*/ 188 w 212"/>
                <a:gd name="T31" fmla="*/ 460 h 516"/>
                <a:gd name="T32" fmla="*/ 202 w 212"/>
                <a:gd name="T33" fmla="*/ 420 h 516"/>
                <a:gd name="T34" fmla="*/ 202 w 212"/>
                <a:gd name="T35" fmla="*/ 420 h 516"/>
                <a:gd name="T36" fmla="*/ 208 w 212"/>
                <a:gd name="T37" fmla="*/ 388 h 516"/>
                <a:gd name="T38" fmla="*/ 212 w 212"/>
                <a:gd name="T39" fmla="*/ 358 h 516"/>
                <a:gd name="T40" fmla="*/ 212 w 212"/>
                <a:gd name="T41" fmla="*/ 330 h 516"/>
                <a:gd name="T42" fmla="*/ 210 w 212"/>
                <a:gd name="T43" fmla="*/ 302 h 516"/>
                <a:gd name="T44" fmla="*/ 204 w 212"/>
                <a:gd name="T45" fmla="*/ 276 h 516"/>
                <a:gd name="T46" fmla="*/ 194 w 212"/>
                <a:gd name="T47" fmla="*/ 252 h 516"/>
                <a:gd name="T48" fmla="*/ 184 w 212"/>
                <a:gd name="T49" fmla="*/ 228 h 516"/>
                <a:gd name="T50" fmla="*/ 172 w 212"/>
                <a:gd name="T51" fmla="*/ 204 h 516"/>
                <a:gd name="T52" fmla="*/ 146 w 212"/>
                <a:gd name="T53" fmla="*/ 158 h 516"/>
                <a:gd name="T54" fmla="*/ 118 w 212"/>
                <a:gd name="T55" fmla="*/ 110 h 516"/>
                <a:gd name="T56" fmla="*/ 102 w 212"/>
                <a:gd name="T57" fmla="*/ 84 h 516"/>
                <a:gd name="T58" fmla="*/ 90 w 212"/>
                <a:gd name="T59" fmla="*/ 58 h 516"/>
                <a:gd name="T60" fmla="*/ 78 w 212"/>
                <a:gd name="T61" fmla="*/ 30 h 516"/>
                <a:gd name="T62" fmla="*/ 66 w 212"/>
                <a:gd name="T63" fmla="*/ 0 h 516"/>
                <a:gd name="T64" fmla="*/ 10 w 212"/>
                <a:gd name="T65" fmla="*/ 198 h 516"/>
                <a:gd name="T66" fmla="*/ 10 w 212"/>
                <a:gd name="T67" fmla="*/ 198 h 516"/>
                <a:gd name="T68" fmla="*/ 6 w 212"/>
                <a:gd name="T69" fmla="*/ 218 h 516"/>
                <a:gd name="T70" fmla="*/ 2 w 212"/>
                <a:gd name="T71" fmla="*/ 236 h 516"/>
                <a:gd name="T72" fmla="*/ 0 w 212"/>
                <a:gd name="T73" fmla="*/ 254 h 516"/>
                <a:gd name="T74" fmla="*/ 0 w 212"/>
                <a:gd name="T75" fmla="*/ 270 h 516"/>
                <a:gd name="T76" fmla="*/ 0 w 212"/>
                <a:gd name="T77" fmla="*/ 288 h 516"/>
                <a:gd name="T78" fmla="*/ 2 w 212"/>
                <a:gd name="T79" fmla="*/ 302 h 516"/>
                <a:gd name="T80" fmla="*/ 6 w 212"/>
                <a:gd name="T81" fmla="*/ 318 h 516"/>
                <a:gd name="T82" fmla="*/ 10 w 212"/>
                <a:gd name="T83" fmla="*/ 332 h 516"/>
                <a:gd name="T84" fmla="*/ 22 w 212"/>
                <a:gd name="T85" fmla="*/ 360 h 516"/>
                <a:gd name="T86" fmla="*/ 38 w 212"/>
                <a:gd name="T87" fmla="*/ 386 h 516"/>
                <a:gd name="T88" fmla="*/ 58 w 212"/>
                <a:gd name="T89" fmla="*/ 412 h 516"/>
                <a:gd name="T90" fmla="*/ 80 w 212"/>
                <a:gd name="T91" fmla="*/ 436 h 516"/>
                <a:gd name="T92" fmla="*/ 80 w 212"/>
                <a:gd name="T93" fmla="*/ 436 h 516"/>
                <a:gd name="T94" fmla="*/ 74 w 212"/>
                <a:gd name="T95" fmla="*/ 402 h 516"/>
                <a:gd name="T96" fmla="*/ 68 w 212"/>
                <a:gd name="T97" fmla="*/ 370 h 516"/>
                <a:gd name="T98" fmla="*/ 66 w 212"/>
                <a:gd name="T99" fmla="*/ 338 h 516"/>
                <a:gd name="T100" fmla="*/ 66 w 212"/>
                <a:gd name="T101" fmla="*/ 310 h 516"/>
                <a:gd name="T102" fmla="*/ 66 w 212"/>
                <a:gd name="T103" fmla="*/ 280 h 516"/>
                <a:gd name="T104" fmla="*/ 68 w 212"/>
                <a:gd name="T105" fmla="*/ 252 h 516"/>
                <a:gd name="T106" fmla="*/ 74 w 212"/>
                <a:gd name="T107" fmla="*/ 190 h 516"/>
                <a:gd name="T108" fmla="*/ 74 w 212"/>
                <a:gd name="T109" fmla="*/ 190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2" h="516">
                  <a:moveTo>
                    <a:pt x="74" y="190"/>
                  </a:moveTo>
                  <a:lnTo>
                    <a:pt x="74" y="190"/>
                  </a:lnTo>
                  <a:lnTo>
                    <a:pt x="72" y="256"/>
                  </a:lnTo>
                  <a:lnTo>
                    <a:pt x="72" y="286"/>
                  </a:lnTo>
                  <a:lnTo>
                    <a:pt x="72" y="316"/>
                  </a:lnTo>
                  <a:lnTo>
                    <a:pt x="74" y="346"/>
                  </a:lnTo>
                  <a:lnTo>
                    <a:pt x="80" y="376"/>
                  </a:lnTo>
                  <a:lnTo>
                    <a:pt x="88" y="410"/>
                  </a:lnTo>
                  <a:lnTo>
                    <a:pt x="102" y="446"/>
                  </a:lnTo>
                  <a:lnTo>
                    <a:pt x="102" y="446"/>
                  </a:lnTo>
                  <a:lnTo>
                    <a:pt x="112" y="466"/>
                  </a:lnTo>
                  <a:lnTo>
                    <a:pt x="112" y="466"/>
                  </a:lnTo>
                  <a:lnTo>
                    <a:pt x="164" y="516"/>
                  </a:lnTo>
                  <a:lnTo>
                    <a:pt x="164" y="516"/>
                  </a:lnTo>
                  <a:lnTo>
                    <a:pt x="176" y="490"/>
                  </a:lnTo>
                  <a:lnTo>
                    <a:pt x="188" y="460"/>
                  </a:lnTo>
                  <a:lnTo>
                    <a:pt x="202" y="420"/>
                  </a:lnTo>
                  <a:lnTo>
                    <a:pt x="202" y="420"/>
                  </a:lnTo>
                  <a:lnTo>
                    <a:pt x="208" y="388"/>
                  </a:lnTo>
                  <a:lnTo>
                    <a:pt x="212" y="358"/>
                  </a:lnTo>
                  <a:lnTo>
                    <a:pt x="212" y="330"/>
                  </a:lnTo>
                  <a:lnTo>
                    <a:pt x="210" y="302"/>
                  </a:lnTo>
                  <a:lnTo>
                    <a:pt x="204" y="276"/>
                  </a:lnTo>
                  <a:lnTo>
                    <a:pt x="194" y="252"/>
                  </a:lnTo>
                  <a:lnTo>
                    <a:pt x="184" y="228"/>
                  </a:lnTo>
                  <a:lnTo>
                    <a:pt x="172" y="204"/>
                  </a:lnTo>
                  <a:lnTo>
                    <a:pt x="146" y="158"/>
                  </a:lnTo>
                  <a:lnTo>
                    <a:pt x="118" y="110"/>
                  </a:lnTo>
                  <a:lnTo>
                    <a:pt x="102" y="84"/>
                  </a:lnTo>
                  <a:lnTo>
                    <a:pt x="90" y="58"/>
                  </a:lnTo>
                  <a:lnTo>
                    <a:pt x="78" y="30"/>
                  </a:lnTo>
                  <a:lnTo>
                    <a:pt x="66" y="0"/>
                  </a:lnTo>
                  <a:lnTo>
                    <a:pt x="10" y="198"/>
                  </a:lnTo>
                  <a:lnTo>
                    <a:pt x="10" y="198"/>
                  </a:lnTo>
                  <a:lnTo>
                    <a:pt x="6" y="218"/>
                  </a:lnTo>
                  <a:lnTo>
                    <a:pt x="2" y="236"/>
                  </a:lnTo>
                  <a:lnTo>
                    <a:pt x="0" y="254"/>
                  </a:lnTo>
                  <a:lnTo>
                    <a:pt x="0" y="270"/>
                  </a:lnTo>
                  <a:lnTo>
                    <a:pt x="0" y="288"/>
                  </a:lnTo>
                  <a:lnTo>
                    <a:pt x="2" y="302"/>
                  </a:lnTo>
                  <a:lnTo>
                    <a:pt x="6" y="318"/>
                  </a:lnTo>
                  <a:lnTo>
                    <a:pt x="10" y="332"/>
                  </a:lnTo>
                  <a:lnTo>
                    <a:pt x="22" y="360"/>
                  </a:lnTo>
                  <a:lnTo>
                    <a:pt x="38" y="386"/>
                  </a:lnTo>
                  <a:lnTo>
                    <a:pt x="58" y="412"/>
                  </a:lnTo>
                  <a:lnTo>
                    <a:pt x="80" y="436"/>
                  </a:lnTo>
                  <a:lnTo>
                    <a:pt x="80" y="436"/>
                  </a:lnTo>
                  <a:lnTo>
                    <a:pt x="74" y="402"/>
                  </a:lnTo>
                  <a:lnTo>
                    <a:pt x="68" y="370"/>
                  </a:lnTo>
                  <a:lnTo>
                    <a:pt x="66" y="338"/>
                  </a:lnTo>
                  <a:lnTo>
                    <a:pt x="66" y="310"/>
                  </a:lnTo>
                  <a:lnTo>
                    <a:pt x="66" y="280"/>
                  </a:lnTo>
                  <a:lnTo>
                    <a:pt x="68" y="252"/>
                  </a:lnTo>
                  <a:lnTo>
                    <a:pt x="74" y="190"/>
                  </a:lnTo>
                  <a:lnTo>
                    <a:pt x="74"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600"/>
            </a:p>
          </p:txBody>
        </p:sp>
      </p:grpSp>
      <p:sp>
        <p:nvSpPr>
          <p:cNvPr id="91" name="Rectangle 90">
            <a:extLst>
              <a:ext uri="{FF2B5EF4-FFF2-40B4-BE49-F238E27FC236}">
                <a16:creationId xmlns:a16="http://schemas.microsoft.com/office/drawing/2014/main" id="{A6AB1F93-09D7-4734-A7F7-9564FDE81BDA}"/>
              </a:ext>
            </a:extLst>
          </p:cNvPr>
          <p:cNvSpPr/>
          <p:nvPr/>
        </p:nvSpPr>
        <p:spPr>
          <a:xfrm>
            <a:off x="337426" y="5176351"/>
            <a:ext cx="1300677" cy="707886"/>
          </a:xfrm>
          <a:prstGeom prst="rect">
            <a:avLst/>
          </a:prstGeom>
        </p:spPr>
        <p:txBody>
          <a:bodyPr wrap="none">
            <a:spAutoFit/>
          </a:bodyPr>
          <a:lstStyle/>
          <a:p>
            <a:r>
              <a:rPr lang="fr-FR" sz="2000" b="1" dirty="0">
                <a:solidFill>
                  <a:schemeClr val="accent1"/>
                </a:solidFill>
              </a:rPr>
              <a:t>Fréquence</a:t>
            </a:r>
          </a:p>
          <a:p>
            <a:r>
              <a:rPr lang="fr-FR" sz="2000" b="1" dirty="0">
                <a:solidFill>
                  <a:schemeClr val="accent1"/>
                </a:solidFill>
              </a:rPr>
              <a:t>Durée</a:t>
            </a:r>
          </a:p>
        </p:txBody>
      </p:sp>
      <p:cxnSp>
        <p:nvCxnSpPr>
          <p:cNvPr id="92" name="Connecteur droit 91">
            <a:extLst>
              <a:ext uri="{FF2B5EF4-FFF2-40B4-BE49-F238E27FC236}">
                <a16:creationId xmlns:a16="http://schemas.microsoft.com/office/drawing/2014/main" id="{0CB01EE0-F626-4B29-A4D5-AB4294A93740}"/>
              </a:ext>
            </a:extLst>
          </p:cNvPr>
          <p:cNvCxnSpPr/>
          <p:nvPr/>
        </p:nvCxnSpPr>
        <p:spPr>
          <a:xfrm>
            <a:off x="263352" y="6040447"/>
            <a:ext cx="11816012"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3" name="ZoneTexte 92">
            <a:extLst>
              <a:ext uri="{FF2B5EF4-FFF2-40B4-BE49-F238E27FC236}">
                <a16:creationId xmlns:a16="http://schemas.microsoft.com/office/drawing/2014/main" id="{37949822-D0E5-43A2-8E51-81DAA45F0FE0}"/>
              </a:ext>
            </a:extLst>
          </p:cNvPr>
          <p:cNvSpPr txBox="1"/>
          <p:nvPr/>
        </p:nvSpPr>
        <p:spPr>
          <a:xfrm>
            <a:off x="3596687" y="3016111"/>
            <a:ext cx="4035032" cy="3293209"/>
          </a:xfrm>
          <a:prstGeom prst="rect">
            <a:avLst/>
          </a:prstGeom>
          <a:noFill/>
        </p:spPr>
        <p:txBody>
          <a:bodyPr wrap="square" rtlCol="0">
            <a:spAutoFit/>
          </a:bodyPr>
          <a:lstStyle/>
          <a:p>
            <a:pPr marL="285750" indent="-285750">
              <a:buClr>
                <a:schemeClr val="accent6"/>
              </a:buClr>
              <a:buFont typeface="Wingdings" panose="05000000000000000000" pitchFamily="2" charset="2"/>
              <a:buChar char="§"/>
            </a:pPr>
            <a:r>
              <a:rPr lang="fr-FR" dirty="0"/>
              <a:t>Visibilité sur l’avancement et les obstacles</a:t>
            </a:r>
          </a:p>
          <a:p>
            <a:pPr marL="285750" indent="-285750">
              <a:buClr>
                <a:schemeClr val="accent6"/>
              </a:buClr>
              <a:buFont typeface="Wingdings" panose="05000000000000000000" pitchFamily="2" charset="2"/>
              <a:buChar char="§"/>
            </a:pPr>
            <a:endParaRPr lang="fr-FR" dirty="0"/>
          </a:p>
          <a:p>
            <a:pPr marL="285750" indent="-285750">
              <a:buClr>
                <a:schemeClr val="accent6"/>
              </a:buClr>
              <a:buFont typeface="Wingdings" panose="05000000000000000000" pitchFamily="2" charset="2"/>
              <a:buChar char="§"/>
            </a:pPr>
            <a:r>
              <a:rPr lang="fr-FR" dirty="0"/>
              <a:t>RTE</a:t>
            </a:r>
          </a:p>
          <a:p>
            <a:pPr marL="285750" indent="-285750">
              <a:buClr>
                <a:schemeClr val="accent6"/>
              </a:buClr>
              <a:buFont typeface="Wingdings" panose="05000000000000000000" pitchFamily="2" charset="2"/>
              <a:buChar char="§"/>
            </a:pPr>
            <a:endParaRPr lang="fr-FR" sz="2800" dirty="0"/>
          </a:p>
          <a:p>
            <a:pPr marL="285750" indent="-285750">
              <a:buClr>
                <a:schemeClr val="accent6"/>
              </a:buClr>
              <a:buFont typeface="Wingdings" panose="05000000000000000000" pitchFamily="2" charset="2"/>
              <a:buChar char="§"/>
            </a:pPr>
            <a:r>
              <a:rPr lang="fr-FR" dirty="0" err="1"/>
              <a:t>Scrum</a:t>
            </a:r>
            <a:r>
              <a:rPr lang="fr-FR" dirty="0"/>
              <a:t> Masters, certains équipiers</a:t>
            </a:r>
          </a:p>
          <a:p>
            <a:pPr marL="285750" indent="-285750">
              <a:buClr>
                <a:schemeClr val="accent6"/>
              </a:buClr>
              <a:buFont typeface="Wingdings" panose="05000000000000000000" pitchFamily="2" charset="2"/>
              <a:buChar char="§"/>
            </a:pPr>
            <a:endParaRPr lang="fr-FR" sz="1400" dirty="0"/>
          </a:p>
          <a:p>
            <a:pPr marL="285750" indent="-285750">
              <a:buClr>
                <a:schemeClr val="accent6"/>
              </a:buClr>
              <a:buFont typeface="Wingdings" panose="05000000000000000000" pitchFamily="2" charset="2"/>
              <a:buChar char="§"/>
            </a:pPr>
            <a:endParaRPr lang="fr-FR" dirty="0"/>
          </a:p>
          <a:p>
            <a:pPr marL="285750" indent="-285750">
              <a:buClr>
                <a:schemeClr val="accent6"/>
              </a:buClr>
              <a:buFont typeface="Wingdings" panose="05000000000000000000" pitchFamily="2" charset="2"/>
              <a:buChar char="§"/>
            </a:pPr>
            <a:r>
              <a:rPr lang="fr-FR" dirty="0"/>
              <a:t>Hebdomadaire ou plus fréquent</a:t>
            </a:r>
          </a:p>
          <a:p>
            <a:pPr marL="285750" indent="-285750">
              <a:buClr>
                <a:schemeClr val="accent6"/>
              </a:buClr>
              <a:buFont typeface="Wingdings" panose="05000000000000000000" pitchFamily="2" charset="2"/>
              <a:buChar char="§"/>
            </a:pPr>
            <a:r>
              <a:rPr lang="fr-FR" dirty="0"/>
              <a:t>30-60 mn</a:t>
            </a:r>
          </a:p>
          <a:p>
            <a:pPr marL="285750" indent="-285750">
              <a:buClr>
                <a:schemeClr val="accent6"/>
              </a:buClr>
              <a:buFont typeface="Wingdings" panose="05000000000000000000" pitchFamily="2" charset="2"/>
              <a:buChar char="§"/>
            </a:pPr>
            <a:endParaRPr lang="fr-FR" dirty="0"/>
          </a:p>
        </p:txBody>
      </p:sp>
      <p:sp>
        <p:nvSpPr>
          <p:cNvPr id="94" name="ZoneTexte 93">
            <a:extLst>
              <a:ext uri="{FF2B5EF4-FFF2-40B4-BE49-F238E27FC236}">
                <a16:creationId xmlns:a16="http://schemas.microsoft.com/office/drawing/2014/main" id="{C2B1872F-93FF-43F0-88BF-BF5A143D6946}"/>
              </a:ext>
            </a:extLst>
          </p:cNvPr>
          <p:cNvSpPr txBox="1"/>
          <p:nvPr/>
        </p:nvSpPr>
        <p:spPr>
          <a:xfrm>
            <a:off x="7608168" y="3016111"/>
            <a:ext cx="4473227" cy="3293209"/>
          </a:xfrm>
          <a:prstGeom prst="rect">
            <a:avLst/>
          </a:prstGeom>
          <a:noFill/>
        </p:spPr>
        <p:txBody>
          <a:bodyPr wrap="square" rtlCol="0">
            <a:spAutoFit/>
          </a:bodyPr>
          <a:lstStyle/>
          <a:p>
            <a:pPr marL="285750" indent="-285750">
              <a:buClr>
                <a:schemeClr val="accent6"/>
              </a:buClr>
              <a:buFont typeface="Wingdings" panose="05000000000000000000" pitchFamily="2" charset="2"/>
              <a:buChar char="§"/>
            </a:pPr>
            <a:r>
              <a:rPr lang="fr-FR" dirty="0"/>
              <a:t>Visibilité sur l’avancement, le périmètre et les ajustements de priorité</a:t>
            </a:r>
          </a:p>
          <a:p>
            <a:pPr marL="285750" indent="-285750">
              <a:buClr>
                <a:schemeClr val="accent6"/>
              </a:buClr>
              <a:buFont typeface="Wingdings" panose="05000000000000000000" pitchFamily="2" charset="2"/>
              <a:buChar char="§"/>
            </a:pPr>
            <a:endParaRPr lang="fr-FR" dirty="0"/>
          </a:p>
          <a:p>
            <a:pPr marL="285750" indent="-285750">
              <a:buClr>
                <a:schemeClr val="accent6"/>
              </a:buClr>
              <a:buFont typeface="Wingdings" panose="05000000000000000000" pitchFamily="2" charset="2"/>
              <a:buChar char="§"/>
            </a:pPr>
            <a:r>
              <a:rPr lang="fr-FR" dirty="0"/>
              <a:t>RTE ou PM</a:t>
            </a:r>
          </a:p>
          <a:p>
            <a:pPr marL="285750" indent="-285750">
              <a:buClr>
                <a:schemeClr val="accent6"/>
              </a:buClr>
              <a:buFont typeface="Wingdings" panose="05000000000000000000" pitchFamily="2" charset="2"/>
              <a:buChar char="§"/>
            </a:pPr>
            <a:endParaRPr lang="fr-FR" sz="2800" dirty="0"/>
          </a:p>
          <a:p>
            <a:pPr marL="285750" indent="-285750">
              <a:buClr>
                <a:schemeClr val="accent6"/>
              </a:buClr>
              <a:buFont typeface="Wingdings" panose="05000000000000000000" pitchFamily="2" charset="2"/>
              <a:buChar char="§"/>
            </a:pPr>
            <a:r>
              <a:rPr lang="fr-FR" dirty="0" err="1"/>
              <a:t>PMs</a:t>
            </a:r>
            <a:r>
              <a:rPr lang="fr-FR" dirty="0"/>
              <a:t>, </a:t>
            </a:r>
            <a:r>
              <a:rPr lang="fr-FR" dirty="0" err="1"/>
              <a:t>POs</a:t>
            </a:r>
            <a:r>
              <a:rPr lang="fr-FR" dirty="0"/>
              <a:t>, parties prenantes, certains équipiers</a:t>
            </a:r>
            <a:endParaRPr lang="fr-FR" sz="1400" dirty="0"/>
          </a:p>
          <a:p>
            <a:pPr marL="285750" indent="-285750">
              <a:buClr>
                <a:schemeClr val="accent6"/>
              </a:buClr>
              <a:buFont typeface="Wingdings" panose="05000000000000000000" pitchFamily="2" charset="2"/>
              <a:buChar char="§"/>
            </a:pPr>
            <a:endParaRPr lang="fr-FR" sz="1200" dirty="0"/>
          </a:p>
          <a:p>
            <a:pPr marL="285750" indent="-285750">
              <a:buClr>
                <a:schemeClr val="accent6"/>
              </a:buClr>
              <a:buFont typeface="Wingdings" panose="05000000000000000000" pitchFamily="2" charset="2"/>
              <a:buChar char="§"/>
            </a:pPr>
            <a:r>
              <a:rPr lang="fr-FR" dirty="0"/>
              <a:t>Hebdomadaire ou plus fréquent</a:t>
            </a:r>
          </a:p>
          <a:p>
            <a:pPr marL="285750" indent="-285750">
              <a:buClr>
                <a:schemeClr val="accent6"/>
              </a:buClr>
              <a:buFont typeface="Wingdings" panose="05000000000000000000" pitchFamily="2" charset="2"/>
              <a:buChar char="§"/>
            </a:pPr>
            <a:r>
              <a:rPr lang="fr-FR" dirty="0"/>
              <a:t>30-60 mn</a:t>
            </a:r>
          </a:p>
          <a:p>
            <a:pPr marL="285750" indent="-285750">
              <a:buClr>
                <a:schemeClr val="accent6"/>
              </a:buClr>
              <a:buFont typeface="Wingdings" panose="05000000000000000000" pitchFamily="2" charset="2"/>
              <a:buChar char="§"/>
            </a:pPr>
            <a:endParaRPr lang="fr-FR" dirty="0"/>
          </a:p>
        </p:txBody>
      </p:sp>
    </p:spTree>
    <p:extLst>
      <p:ext uri="{BB962C8B-B14F-4D97-AF65-F5344CB8AC3E}">
        <p14:creationId xmlns:p14="http://schemas.microsoft.com/office/powerpoint/2010/main" val="19629734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48</a:t>
            </a:fld>
            <a:endParaRPr lang="fr-FR" dirty="0"/>
          </a:p>
        </p:txBody>
      </p:sp>
      <p:sp>
        <p:nvSpPr>
          <p:cNvPr id="5" name="Espace réservé du texte 4"/>
          <p:cNvSpPr>
            <a:spLocks noGrp="1"/>
          </p:cNvSpPr>
          <p:nvPr>
            <p:ph type="body" idx="1"/>
          </p:nvPr>
        </p:nvSpPr>
        <p:spPr/>
        <p:txBody>
          <a:bodyPr/>
          <a:lstStyle/>
          <a:p>
            <a:r>
              <a:rPr lang="fr-FR" dirty="0"/>
              <a:t>Les autres cérémonies – </a:t>
            </a:r>
            <a:r>
              <a:rPr lang="fr-FR" dirty="0" err="1"/>
              <a:t>Inspect</a:t>
            </a:r>
            <a:r>
              <a:rPr lang="fr-FR" dirty="0"/>
              <a:t> &amp; </a:t>
            </a:r>
            <a:r>
              <a:rPr lang="fr-FR" dirty="0" err="1"/>
              <a:t>Adapt</a:t>
            </a:r>
            <a:endParaRPr lang="fr-FR" dirty="0"/>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sp>
        <p:nvSpPr>
          <p:cNvPr id="95" name="Espace réservé du texte 6">
            <a:extLst>
              <a:ext uri="{FF2B5EF4-FFF2-40B4-BE49-F238E27FC236}">
                <a16:creationId xmlns:a16="http://schemas.microsoft.com/office/drawing/2014/main" id="{ADA48F62-FEC6-4B2C-894A-A1849442E7FD}"/>
              </a:ext>
            </a:extLst>
          </p:cNvPr>
          <p:cNvSpPr txBox="1">
            <a:spLocks/>
          </p:cNvSpPr>
          <p:nvPr/>
        </p:nvSpPr>
        <p:spPr>
          <a:xfrm>
            <a:off x="315360" y="1414367"/>
            <a:ext cx="4598803" cy="4922935"/>
          </a:xfrm>
          <a:prstGeom prst="rect">
            <a:avLst/>
          </a:prstGeom>
        </p:spPr>
        <p:txBody>
          <a:bodyPr vert="horz" lIns="0" tIns="0" rIns="0" bIns="0" rtlCol="0">
            <a:noAutofit/>
          </a:bodyPr>
          <a:lstStyle>
            <a:lvl1pPr marL="355600" indent="-355600" algn="l" defTabSz="914400" rtl="0" eaLnBrk="1" latinLnBrk="0" hangingPunct="1">
              <a:lnSpc>
                <a:spcPct val="100000"/>
              </a:lnSpc>
              <a:spcBef>
                <a:spcPts val="600"/>
              </a:spcBef>
              <a:buClr>
                <a:schemeClr val="tx2"/>
              </a:buClr>
              <a:buSzPct val="60000"/>
              <a:buFontTx/>
              <a:buBlip>
                <a:blip r:embed="rId3"/>
              </a:buBlip>
              <a:defRPr sz="1800" b="1" kern="1200">
                <a:solidFill>
                  <a:schemeClr val="tx1"/>
                </a:solidFill>
                <a:latin typeface="+mn-lt"/>
                <a:ea typeface="+mn-ea"/>
                <a:cs typeface="+mn-cs"/>
              </a:defRPr>
            </a:lvl1pPr>
            <a:lvl2pPr marL="630238" indent="-274638" algn="l" defTabSz="914400" rtl="0" eaLnBrk="1" latinLnBrk="0" hangingPunct="1">
              <a:lnSpc>
                <a:spcPct val="100000"/>
              </a:lnSpc>
              <a:spcBef>
                <a:spcPts val="600"/>
              </a:spcBef>
              <a:buClr>
                <a:schemeClr val="tx1">
                  <a:lumMod val="60000"/>
                  <a:lumOff val="40000"/>
                </a:schemeClr>
              </a:buClr>
              <a:buSzPct val="40000"/>
              <a:buFontTx/>
              <a:buBlip>
                <a:blip r:embed="rId4"/>
              </a:buBlip>
              <a:defRPr sz="1800" kern="1200">
                <a:solidFill>
                  <a:schemeClr val="tx1"/>
                </a:solidFill>
                <a:latin typeface="+mn-lt"/>
                <a:ea typeface="+mn-ea"/>
                <a:cs typeface="+mn-cs"/>
              </a:defRPr>
            </a:lvl2pPr>
            <a:lvl3pPr marL="7207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893763" indent="0" algn="l" defTabSz="914400" rtl="0" eaLnBrk="1" latinLnBrk="0" hangingPunct="1">
              <a:lnSpc>
                <a:spcPct val="100000"/>
              </a:lnSpc>
              <a:spcBef>
                <a:spcPts val="600"/>
              </a:spcBef>
              <a:buFont typeface="Arial" panose="020B0604020202020204" pitchFamily="34" charset="0"/>
              <a:buNone/>
              <a:defRPr sz="1200" kern="1200">
                <a:solidFill>
                  <a:schemeClr val="tx1"/>
                </a:solidFill>
                <a:latin typeface="+mn-lt"/>
                <a:ea typeface="+mn-ea"/>
                <a:cs typeface="+mn-cs"/>
              </a:defRPr>
            </a:lvl4pPr>
            <a:lvl5pPr marL="198000" indent="0" algn="l" defTabSz="914400" rtl="0" eaLnBrk="1" latinLnBrk="0" hangingPunct="1">
              <a:lnSpc>
                <a:spcPct val="10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ltLang="fr-FR" dirty="0"/>
              <a:t>Trois parties :</a:t>
            </a:r>
          </a:p>
          <a:p>
            <a:pPr lvl="1"/>
            <a:r>
              <a:rPr lang="fr-FR" altLang="fr-FR" dirty="0"/>
              <a:t>La démo du PI : « </a:t>
            </a:r>
            <a:r>
              <a:rPr lang="fr-FR" altLang="fr-FR" b="1" dirty="0">
                <a:solidFill>
                  <a:schemeClr val="accent1"/>
                </a:solidFill>
              </a:rPr>
              <a:t>PI System </a:t>
            </a:r>
            <a:r>
              <a:rPr lang="fr-FR" altLang="fr-FR" b="1" dirty="0" err="1">
                <a:solidFill>
                  <a:schemeClr val="accent1"/>
                </a:solidFill>
              </a:rPr>
              <a:t>Demo</a:t>
            </a:r>
            <a:r>
              <a:rPr lang="fr-FR" altLang="fr-FR" dirty="0"/>
              <a:t> »</a:t>
            </a:r>
          </a:p>
          <a:p>
            <a:pPr lvl="1"/>
            <a:r>
              <a:rPr lang="fr-FR" altLang="fr-FR" dirty="0"/>
              <a:t>Les </a:t>
            </a:r>
            <a:r>
              <a:rPr lang="fr-FR" altLang="fr-FR" b="1" dirty="0">
                <a:solidFill>
                  <a:schemeClr val="accent1"/>
                </a:solidFill>
              </a:rPr>
              <a:t>mesure quantitatives </a:t>
            </a:r>
          </a:p>
          <a:p>
            <a:pPr lvl="1"/>
            <a:r>
              <a:rPr lang="fr-FR" altLang="fr-FR" dirty="0"/>
              <a:t>L’atelier de</a:t>
            </a:r>
            <a:r>
              <a:rPr lang="fr-FR" altLang="fr-FR" b="1" dirty="0">
                <a:solidFill>
                  <a:schemeClr val="accent1"/>
                </a:solidFill>
              </a:rPr>
              <a:t> résolution de problèmes</a:t>
            </a:r>
          </a:p>
          <a:p>
            <a:pPr lvl="1"/>
            <a:endParaRPr lang="fr-FR" altLang="fr-FR" dirty="0"/>
          </a:p>
          <a:p>
            <a:pPr marL="271463" lvl="1" indent="-271463">
              <a:spcBef>
                <a:spcPts val="1800"/>
              </a:spcBef>
              <a:buClr>
                <a:srgbClr val="CF022B"/>
              </a:buClr>
              <a:buSzPct val="90000"/>
              <a:buBlip>
                <a:blip r:embed="rId5"/>
              </a:buBlip>
            </a:pPr>
            <a:r>
              <a:rPr lang="fr-FR" altLang="fr-FR" sz="2000" dirty="0"/>
              <a:t>Informations :</a:t>
            </a:r>
          </a:p>
          <a:p>
            <a:pPr lvl="1"/>
            <a:r>
              <a:rPr lang="fr-FR" altLang="fr-FR" dirty="0"/>
              <a:t>Sont conviées les équipes et les parties prenantes</a:t>
            </a:r>
          </a:p>
          <a:p>
            <a:pPr lvl="1"/>
            <a:r>
              <a:rPr lang="fr-FR" altLang="fr-FR" dirty="0"/>
              <a:t>Format </a:t>
            </a:r>
            <a:r>
              <a:rPr lang="fr-FR" altLang="fr-FR" dirty="0" err="1"/>
              <a:t>timeboxé</a:t>
            </a:r>
            <a:r>
              <a:rPr lang="fr-FR" altLang="fr-FR" dirty="0"/>
              <a:t> : 3-4 h par PI</a:t>
            </a:r>
          </a:p>
          <a:p>
            <a:pPr lvl="1"/>
            <a:r>
              <a:rPr lang="fr-FR" altLang="fr-FR" dirty="0"/>
              <a:t>Souvent planifié juste avant le PI Planning</a:t>
            </a:r>
          </a:p>
          <a:p>
            <a:pPr lvl="1"/>
            <a:endParaRPr lang="fr-FR" altLang="fr-FR" dirty="0"/>
          </a:p>
          <a:p>
            <a:pPr lvl="1"/>
            <a:endParaRPr lang="fr-FR" altLang="fr-FR" dirty="0"/>
          </a:p>
          <a:p>
            <a:pPr lvl="1"/>
            <a:endParaRPr lang="fr-FR" altLang="fr-FR" dirty="0"/>
          </a:p>
        </p:txBody>
      </p:sp>
      <p:pic>
        <p:nvPicPr>
          <p:cNvPr id="97" name="Image 96">
            <a:extLst>
              <a:ext uri="{FF2B5EF4-FFF2-40B4-BE49-F238E27FC236}">
                <a16:creationId xmlns:a16="http://schemas.microsoft.com/office/drawing/2014/main" id="{2F0BC4C4-72CB-4AC7-9D3C-157861280CE6}"/>
              </a:ext>
            </a:extLst>
          </p:cNvPr>
          <p:cNvPicPr>
            <a:picLocks noChangeAspect="1"/>
          </p:cNvPicPr>
          <p:nvPr/>
        </p:nvPicPr>
        <p:blipFill>
          <a:blip r:embed="rId6"/>
          <a:stretch>
            <a:fillRect/>
          </a:stretch>
        </p:blipFill>
        <p:spPr>
          <a:xfrm>
            <a:off x="10848528" y="170665"/>
            <a:ext cx="1167336" cy="1408854"/>
          </a:xfrm>
          <a:prstGeom prst="rect">
            <a:avLst/>
          </a:prstGeom>
        </p:spPr>
      </p:pic>
      <p:pic>
        <p:nvPicPr>
          <p:cNvPr id="98" name="Picture 5">
            <a:extLst>
              <a:ext uri="{FF2B5EF4-FFF2-40B4-BE49-F238E27FC236}">
                <a16:creationId xmlns:a16="http://schemas.microsoft.com/office/drawing/2014/main" id="{499CB36D-D8B3-4B81-87F7-1AF4BCBC2FA4}"/>
              </a:ext>
            </a:extLst>
          </p:cNvPr>
          <p:cNvPicPr>
            <a:picLocks noChangeAspect="1"/>
          </p:cNvPicPr>
          <p:nvPr>
            <p:custDataLst>
              <p:tags r:id="rId1"/>
            </p:custDataLst>
          </p:nvPr>
        </p:nvPicPr>
        <p:blipFill rotWithShape="1">
          <a:blip r:embed="rId7">
            <a:extLst>
              <a:ext uri="{28A0092B-C50C-407E-A947-70E740481C1C}">
                <a14:useLocalDpi xmlns:a14="http://schemas.microsoft.com/office/drawing/2010/main" val="0"/>
              </a:ext>
            </a:extLst>
          </a:blip>
          <a:srcRect l="13528" t="6478" r="4759" b="3367"/>
          <a:stretch/>
        </p:blipFill>
        <p:spPr>
          <a:xfrm>
            <a:off x="6485454" y="467539"/>
            <a:ext cx="3474215" cy="2839450"/>
          </a:xfrm>
          <a:prstGeom prst="roundRect">
            <a:avLst>
              <a:gd name="adj" fmla="val 0"/>
            </a:avLst>
          </a:prstGeom>
          <a:noFill/>
          <a:ln w="9525">
            <a:noFill/>
            <a:miter lim="800000"/>
            <a:headEnd/>
            <a:tailEnd/>
          </a:ln>
          <a:effectLst/>
        </p:spPr>
      </p:pic>
      <p:sp>
        <p:nvSpPr>
          <p:cNvPr id="99" name="Ellipse 98">
            <a:extLst>
              <a:ext uri="{FF2B5EF4-FFF2-40B4-BE49-F238E27FC236}">
                <a16:creationId xmlns:a16="http://schemas.microsoft.com/office/drawing/2014/main" id="{C7D6DAB0-C1AD-4BD1-B13A-446FFC0EBFED}"/>
              </a:ext>
            </a:extLst>
          </p:cNvPr>
          <p:cNvSpPr/>
          <p:nvPr/>
        </p:nvSpPr>
        <p:spPr>
          <a:xfrm>
            <a:off x="6240016" y="2924944"/>
            <a:ext cx="576064" cy="576064"/>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2400" b="1" dirty="0"/>
              <a:t>1</a:t>
            </a:r>
            <a:endParaRPr lang="fr-FR" b="1" dirty="0"/>
          </a:p>
        </p:txBody>
      </p:sp>
      <p:pic>
        <p:nvPicPr>
          <p:cNvPr id="100" name="Picture 3">
            <a:extLst>
              <a:ext uri="{FF2B5EF4-FFF2-40B4-BE49-F238E27FC236}">
                <a16:creationId xmlns:a16="http://schemas.microsoft.com/office/drawing/2014/main" id="{49550D41-6041-4B3F-BB79-775678953AEE}"/>
              </a:ext>
            </a:extLst>
          </p:cNvPr>
          <p:cNvPicPr>
            <a:picLocks noChangeAspect="1"/>
          </p:cNvPicPr>
          <p:nvPr/>
        </p:nvPicPr>
        <p:blipFill>
          <a:blip r:embed="rId8"/>
          <a:stretch>
            <a:fillRect/>
          </a:stretch>
        </p:blipFill>
        <p:spPr>
          <a:xfrm>
            <a:off x="8463531" y="3573016"/>
            <a:ext cx="3368429" cy="1929981"/>
          </a:xfrm>
          <a:prstGeom prst="rect">
            <a:avLst/>
          </a:prstGeom>
        </p:spPr>
      </p:pic>
      <p:sp>
        <p:nvSpPr>
          <p:cNvPr id="101" name="Ellipse 100">
            <a:extLst>
              <a:ext uri="{FF2B5EF4-FFF2-40B4-BE49-F238E27FC236}">
                <a16:creationId xmlns:a16="http://schemas.microsoft.com/office/drawing/2014/main" id="{9EEC9193-9EE6-4617-BB01-57F4B29D0D4A}"/>
              </a:ext>
            </a:extLst>
          </p:cNvPr>
          <p:cNvSpPr/>
          <p:nvPr/>
        </p:nvSpPr>
        <p:spPr>
          <a:xfrm>
            <a:off x="8328248" y="5133187"/>
            <a:ext cx="576064" cy="576064"/>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2400" b="1" dirty="0"/>
              <a:t>3</a:t>
            </a:r>
            <a:endParaRPr lang="fr-FR" b="1" dirty="0"/>
          </a:p>
        </p:txBody>
      </p:sp>
      <p:pic>
        <p:nvPicPr>
          <p:cNvPr id="102" name="Image 101">
            <a:extLst>
              <a:ext uri="{FF2B5EF4-FFF2-40B4-BE49-F238E27FC236}">
                <a16:creationId xmlns:a16="http://schemas.microsoft.com/office/drawing/2014/main" id="{813ADAAB-FE0F-4270-A279-7C482F6F68D4}"/>
              </a:ext>
            </a:extLst>
          </p:cNvPr>
          <p:cNvPicPr>
            <a:picLocks noChangeAspect="1"/>
          </p:cNvPicPr>
          <p:nvPr/>
        </p:nvPicPr>
        <p:blipFill>
          <a:blip r:embed="rId9"/>
          <a:stretch>
            <a:fillRect/>
          </a:stretch>
        </p:blipFill>
        <p:spPr>
          <a:xfrm>
            <a:off x="4982619" y="4041341"/>
            <a:ext cx="3005669" cy="2183691"/>
          </a:xfrm>
          <a:prstGeom prst="rect">
            <a:avLst/>
          </a:prstGeom>
          <a:solidFill>
            <a:schemeClr val="bg1"/>
          </a:solidFill>
          <a:ln>
            <a:solidFill>
              <a:schemeClr val="bg1">
                <a:lumMod val="65000"/>
              </a:schemeClr>
            </a:solidFill>
          </a:ln>
        </p:spPr>
      </p:pic>
      <p:sp>
        <p:nvSpPr>
          <p:cNvPr id="103" name="Ellipse 102">
            <a:extLst>
              <a:ext uri="{FF2B5EF4-FFF2-40B4-BE49-F238E27FC236}">
                <a16:creationId xmlns:a16="http://schemas.microsoft.com/office/drawing/2014/main" id="{0D858E16-922C-434C-A2EF-266A0A391682}"/>
              </a:ext>
            </a:extLst>
          </p:cNvPr>
          <p:cNvSpPr/>
          <p:nvPr/>
        </p:nvSpPr>
        <p:spPr>
          <a:xfrm>
            <a:off x="4694587" y="5840960"/>
            <a:ext cx="576064" cy="576064"/>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2400" b="1" dirty="0"/>
              <a:t>2</a:t>
            </a:r>
            <a:endParaRPr lang="fr-FR" b="1" dirty="0"/>
          </a:p>
        </p:txBody>
      </p:sp>
    </p:spTree>
    <p:extLst>
      <p:ext uri="{BB962C8B-B14F-4D97-AF65-F5344CB8AC3E}">
        <p14:creationId xmlns:p14="http://schemas.microsoft.com/office/powerpoint/2010/main" val="38479714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49</a:t>
            </a:fld>
            <a:endParaRPr lang="fr-FR" dirty="0"/>
          </a:p>
        </p:txBody>
      </p:sp>
      <p:sp>
        <p:nvSpPr>
          <p:cNvPr id="5" name="Espace réservé du texte 4"/>
          <p:cNvSpPr>
            <a:spLocks noGrp="1"/>
          </p:cNvSpPr>
          <p:nvPr>
            <p:ph type="body" idx="1"/>
          </p:nvPr>
        </p:nvSpPr>
        <p:spPr/>
        <p:txBody>
          <a:bodyPr/>
          <a:lstStyle/>
          <a:p>
            <a:r>
              <a:rPr lang="fr-FR" dirty="0"/>
              <a:t>Récapitulatif des cérémonies</a:t>
            </a:r>
          </a:p>
        </p:txBody>
      </p:sp>
      <p:sp>
        <p:nvSpPr>
          <p:cNvPr id="6" name="Titre 5"/>
          <p:cNvSpPr>
            <a:spLocks noGrp="1"/>
          </p:cNvSpPr>
          <p:nvPr>
            <p:ph type="title"/>
          </p:nvPr>
        </p:nvSpPr>
        <p:spPr/>
        <p:txBody>
          <a:bodyPr/>
          <a:lstStyle/>
          <a:p>
            <a:r>
              <a:rPr lang="fr-FR" dirty="0"/>
              <a:t>Le </a:t>
            </a:r>
            <a:r>
              <a:rPr lang="fr-FR" dirty="0" err="1"/>
              <a:t>framework</a:t>
            </a:r>
            <a:r>
              <a:rPr lang="fr-FR" dirty="0"/>
              <a:t> </a:t>
            </a:r>
            <a:r>
              <a:rPr lang="fr-FR" dirty="0" err="1"/>
              <a:t>SAFe</a:t>
            </a:r>
            <a:r>
              <a:rPr lang="fr-FR" dirty="0"/>
              <a:t> en détail</a:t>
            </a:r>
          </a:p>
        </p:txBody>
      </p:sp>
      <p:pic>
        <p:nvPicPr>
          <p:cNvPr id="14" name="Image 13">
            <a:extLst>
              <a:ext uri="{FF2B5EF4-FFF2-40B4-BE49-F238E27FC236}">
                <a16:creationId xmlns:a16="http://schemas.microsoft.com/office/drawing/2014/main" id="{A72C01E6-44DC-49EF-AC86-CC8353BAEFCF}"/>
              </a:ext>
            </a:extLst>
          </p:cNvPr>
          <p:cNvPicPr>
            <a:picLocks noChangeAspect="1"/>
          </p:cNvPicPr>
          <p:nvPr/>
        </p:nvPicPr>
        <p:blipFill>
          <a:blip r:embed="rId2"/>
          <a:stretch>
            <a:fillRect/>
          </a:stretch>
        </p:blipFill>
        <p:spPr>
          <a:xfrm>
            <a:off x="2063552" y="1384929"/>
            <a:ext cx="8496944" cy="5117279"/>
          </a:xfrm>
          <a:prstGeom prst="rect">
            <a:avLst/>
          </a:prstGeom>
        </p:spPr>
      </p:pic>
    </p:spTree>
    <p:extLst>
      <p:ext uri="{BB962C8B-B14F-4D97-AF65-F5344CB8AC3E}">
        <p14:creationId xmlns:p14="http://schemas.microsoft.com/office/powerpoint/2010/main" val="20610925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DAF23-3952-4BE0-A904-35EE3DCB179D}"/>
              </a:ext>
            </a:extLst>
          </p:cNvPr>
          <p:cNvSpPr>
            <a:spLocks noGrp="1"/>
          </p:cNvSpPr>
          <p:nvPr>
            <p:ph type="title"/>
          </p:nvPr>
        </p:nvSpPr>
        <p:spPr/>
        <p:txBody>
          <a:bodyPr/>
          <a:lstStyle/>
          <a:p>
            <a:r>
              <a:rPr lang="fr-FR" dirty="0">
                <a:solidFill>
                  <a:srgbClr val="8D1D82"/>
                </a:solidFill>
              </a:rPr>
              <a:t>02</a:t>
            </a:r>
          </a:p>
        </p:txBody>
      </p:sp>
      <p:sp>
        <p:nvSpPr>
          <p:cNvPr id="3" name="Espace réservé du texte 2">
            <a:extLst>
              <a:ext uri="{FF2B5EF4-FFF2-40B4-BE49-F238E27FC236}">
                <a16:creationId xmlns:a16="http://schemas.microsoft.com/office/drawing/2014/main" id="{31DFA70B-34D4-4D7E-8D44-380743E2A699}"/>
              </a:ext>
            </a:extLst>
          </p:cNvPr>
          <p:cNvSpPr>
            <a:spLocks noGrp="1"/>
          </p:cNvSpPr>
          <p:nvPr>
            <p:ph type="body" idx="1"/>
          </p:nvPr>
        </p:nvSpPr>
        <p:spPr/>
        <p:txBody>
          <a:bodyPr/>
          <a:lstStyle/>
          <a:p>
            <a:r>
              <a:rPr lang="fr-FR" dirty="0"/>
              <a:t>Pourquoi l’agilité à l’échelle ?</a:t>
            </a:r>
          </a:p>
        </p:txBody>
      </p:sp>
      <p:sp>
        <p:nvSpPr>
          <p:cNvPr id="8" name="Espace réservé du pied de page 7">
            <a:extLst>
              <a:ext uri="{FF2B5EF4-FFF2-40B4-BE49-F238E27FC236}">
                <a16:creationId xmlns:a16="http://schemas.microsoft.com/office/drawing/2014/main" id="{5968F53C-10AE-4533-9D38-AF3CB67B891F}"/>
              </a:ext>
            </a:extLst>
          </p:cNvPr>
          <p:cNvSpPr>
            <a:spLocks noGrp="1"/>
          </p:cNvSpPr>
          <p:nvPr>
            <p:ph type="ftr" sz="quarter" idx="11"/>
          </p:nvPr>
        </p:nvSpPr>
        <p:spPr/>
        <p:txBody>
          <a:bodyPr/>
          <a:lstStyle/>
          <a:p>
            <a:r>
              <a:rPr lang="fr-FR"/>
              <a:t>Initiation à la méthode SAFe</a:t>
            </a:r>
            <a:endParaRPr lang="fr-FR" dirty="0"/>
          </a:p>
        </p:txBody>
      </p:sp>
      <p:sp>
        <p:nvSpPr>
          <p:cNvPr id="9" name="Espace réservé du numéro de diapositive 8">
            <a:extLst>
              <a:ext uri="{FF2B5EF4-FFF2-40B4-BE49-F238E27FC236}">
                <a16:creationId xmlns:a16="http://schemas.microsoft.com/office/drawing/2014/main" id="{04BEA2AB-F206-484B-866E-42BD3EEFD03F}"/>
              </a:ext>
            </a:extLst>
          </p:cNvPr>
          <p:cNvSpPr>
            <a:spLocks noGrp="1"/>
          </p:cNvSpPr>
          <p:nvPr>
            <p:ph type="sldNum" sz="quarter" idx="12"/>
          </p:nvPr>
        </p:nvSpPr>
        <p:spPr/>
        <p:txBody>
          <a:bodyPr/>
          <a:lstStyle/>
          <a:p>
            <a:pPr lvl="0"/>
            <a:fld id="{975A587B-5814-4D9B-9598-FE9CB954CB01}" type="slidenum">
              <a:rPr lang="fr-FR" smtClean="0"/>
              <a:pPr lvl="0"/>
              <a:t>5</a:t>
            </a:fld>
            <a:endParaRPr lang="fr-FR" dirty="0"/>
          </a:p>
        </p:txBody>
      </p:sp>
    </p:spTree>
    <p:extLst>
      <p:ext uri="{BB962C8B-B14F-4D97-AF65-F5344CB8AC3E}">
        <p14:creationId xmlns:p14="http://schemas.microsoft.com/office/powerpoint/2010/main" val="8110658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p:cNvSpPr>
            <a:spLocks noGrp="1"/>
          </p:cNvSpPr>
          <p:nvPr>
            <p:ph type="ftr" sz="quarter" idx="11"/>
          </p:nvPr>
        </p:nvSpPr>
        <p:spPr/>
        <p:txBody>
          <a:bodyPr/>
          <a:lstStyle/>
          <a:p>
            <a:r>
              <a:rPr lang="fr-FR"/>
              <a:t>Initiation à la méthode SAFe</a:t>
            </a:r>
            <a:endParaRPr lang="fr-FR" dirty="0"/>
          </a:p>
        </p:txBody>
      </p:sp>
      <p:sp>
        <p:nvSpPr>
          <p:cNvPr id="3" name="Espace réservé du numéro de diapositive 2"/>
          <p:cNvSpPr>
            <a:spLocks noGrp="1"/>
          </p:cNvSpPr>
          <p:nvPr>
            <p:ph type="sldNum" sz="quarter" idx="12"/>
          </p:nvPr>
        </p:nvSpPr>
        <p:spPr/>
        <p:txBody>
          <a:bodyPr/>
          <a:lstStyle/>
          <a:p>
            <a:fld id="{975A587B-5814-4D9B-9598-FE9CB954CB01}" type="slidenum">
              <a:rPr lang="fr-FR" smtClean="0"/>
              <a:t>50</a:t>
            </a:fld>
            <a:endParaRPr lang="fr-FR" dirty="0"/>
          </a:p>
        </p:txBody>
      </p:sp>
      <p:sp>
        <p:nvSpPr>
          <p:cNvPr id="4" name="Titre 3"/>
          <p:cNvSpPr>
            <a:spLocks noGrp="1"/>
          </p:cNvSpPr>
          <p:nvPr>
            <p:ph type="title"/>
          </p:nvPr>
        </p:nvSpPr>
        <p:spPr/>
        <p:txBody>
          <a:bodyPr/>
          <a:lstStyle/>
          <a:p>
            <a:r>
              <a:rPr lang="fr-FR" dirty="0"/>
              <a:t>Merci.</a:t>
            </a:r>
          </a:p>
        </p:txBody>
      </p:sp>
      <p:sp>
        <p:nvSpPr>
          <p:cNvPr id="5" name="Espace réservé du contenu 4"/>
          <p:cNvSpPr>
            <a:spLocks noGrp="1"/>
          </p:cNvSpPr>
          <p:nvPr>
            <p:ph idx="1"/>
          </p:nvPr>
        </p:nvSpPr>
        <p:spPr/>
        <p:txBody>
          <a:bodyPr/>
          <a:lstStyle/>
          <a:p>
            <a:r>
              <a:rPr lang="fr-FR" dirty="0"/>
              <a:t>Texte sur plusieurs lignes.</a:t>
            </a:r>
          </a:p>
        </p:txBody>
      </p:sp>
      <p:sp>
        <p:nvSpPr>
          <p:cNvPr id="7" name="Freeform 5">
            <a:extLst>
              <a:ext uri="{FF2B5EF4-FFF2-40B4-BE49-F238E27FC236}">
                <a16:creationId xmlns:a16="http://schemas.microsoft.com/office/drawing/2014/main" id="{498CE046-ED9A-4BBC-8957-EF2DA830AAAB}"/>
              </a:ext>
            </a:extLst>
          </p:cNvPr>
          <p:cNvSpPr>
            <a:spLocks/>
          </p:cNvSpPr>
          <p:nvPr/>
        </p:nvSpPr>
        <p:spPr bwMode="auto">
          <a:xfrm>
            <a:off x="723703" y="2905324"/>
            <a:ext cx="180975" cy="161925"/>
          </a:xfrm>
          <a:custGeom>
            <a:avLst/>
            <a:gdLst>
              <a:gd name="T0" fmla="*/ 57 w 57"/>
              <a:gd name="T1" fmla="*/ 6 h 51"/>
              <a:gd name="T2" fmla="*/ 51 w 57"/>
              <a:gd name="T3" fmla="*/ 8 h 51"/>
              <a:gd name="T4" fmla="*/ 56 w 57"/>
              <a:gd name="T5" fmla="*/ 1 h 51"/>
              <a:gd name="T6" fmla="*/ 48 w 57"/>
              <a:gd name="T7" fmla="*/ 4 h 51"/>
              <a:gd name="T8" fmla="*/ 40 w 57"/>
              <a:gd name="T9" fmla="*/ 0 h 51"/>
              <a:gd name="T10" fmla="*/ 28 w 57"/>
              <a:gd name="T11" fmla="*/ 13 h 51"/>
              <a:gd name="T12" fmla="*/ 28 w 57"/>
              <a:gd name="T13" fmla="*/ 16 h 51"/>
              <a:gd name="T14" fmla="*/ 4 w 57"/>
              <a:gd name="T15" fmla="*/ 3 h 51"/>
              <a:gd name="T16" fmla="*/ 2 w 57"/>
              <a:gd name="T17" fmla="*/ 9 h 51"/>
              <a:gd name="T18" fmla="*/ 8 w 57"/>
              <a:gd name="T19" fmla="*/ 20 h 51"/>
              <a:gd name="T20" fmla="*/ 2 w 57"/>
              <a:gd name="T21" fmla="*/ 18 h 51"/>
              <a:gd name="T22" fmla="*/ 2 w 57"/>
              <a:gd name="T23" fmla="*/ 18 h 51"/>
              <a:gd name="T24" fmla="*/ 12 w 57"/>
              <a:gd name="T25" fmla="*/ 31 h 51"/>
              <a:gd name="T26" fmla="*/ 9 w 57"/>
              <a:gd name="T27" fmla="*/ 31 h 51"/>
              <a:gd name="T28" fmla="*/ 6 w 57"/>
              <a:gd name="T29" fmla="*/ 31 h 51"/>
              <a:gd name="T30" fmla="*/ 17 w 57"/>
              <a:gd name="T31" fmla="*/ 40 h 51"/>
              <a:gd name="T32" fmla="*/ 3 w 57"/>
              <a:gd name="T33" fmla="*/ 45 h 51"/>
              <a:gd name="T34" fmla="*/ 0 w 57"/>
              <a:gd name="T35" fmla="*/ 45 h 51"/>
              <a:gd name="T36" fmla="*/ 18 w 57"/>
              <a:gd name="T37" fmla="*/ 51 h 51"/>
              <a:gd name="T38" fmla="*/ 52 w 57"/>
              <a:gd name="T39" fmla="*/ 14 h 51"/>
              <a:gd name="T40" fmla="*/ 52 w 57"/>
              <a:gd name="T41" fmla="*/ 13 h 51"/>
              <a:gd name="T42" fmla="*/ 57 w 57"/>
              <a:gd name="T43" fmla="*/ 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 h="51">
                <a:moveTo>
                  <a:pt x="57" y="6"/>
                </a:moveTo>
                <a:cubicBezTo>
                  <a:pt x="55" y="7"/>
                  <a:pt x="53" y="8"/>
                  <a:pt x="51" y="8"/>
                </a:cubicBezTo>
                <a:cubicBezTo>
                  <a:pt x="53" y="7"/>
                  <a:pt x="55" y="4"/>
                  <a:pt x="56" y="1"/>
                </a:cubicBezTo>
                <a:cubicBezTo>
                  <a:pt x="54" y="3"/>
                  <a:pt x="51" y="4"/>
                  <a:pt x="48" y="4"/>
                </a:cubicBezTo>
                <a:cubicBezTo>
                  <a:pt x="46" y="2"/>
                  <a:pt x="43" y="0"/>
                  <a:pt x="40" y="0"/>
                </a:cubicBezTo>
                <a:cubicBezTo>
                  <a:pt x="33" y="0"/>
                  <a:pt x="28" y="6"/>
                  <a:pt x="28" y="13"/>
                </a:cubicBezTo>
                <a:cubicBezTo>
                  <a:pt x="28" y="14"/>
                  <a:pt x="28" y="15"/>
                  <a:pt x="28" y="16"/>
                </a:cubicBezTo>
                <a:cubicBezTo>
                  <a:pt x="19" y="15"/>
                  <a:pt x="10" y="10"/>
                  <a:pt x="4" y="3"/>
                </a:cubicBezTo>
                <a:cubicBezTo>
                  <a:pt x="3" y="4"/>
                  <a:pt x="2" y="7"/>
                  <a:pt x="2" y="9"/>
                </a:cubicBezTo>
                <a:cubicBezTo>
                  <a:pt x="2" y="13"/>
                  <a:pt x="4" y="17"/>
                  <a:pt x="8" y="20"/>
                </a:cubicBezTo>
                <a:cubicBezTo>
                  <a:pt x="6" y="19"/>
                  <a:pt x="4" y="19"/>
                  <a:pt x="2" y="18"/>
                </a:cubicBezTo>
                <a:cubicBezTo>
                  <a:pt x="2" y="18"/>
                  <a:pt x="2" y="18"/>
                  <a:pt x="2" y="18"/>
                </a:cubicBezTo>
                <a:cubicBezTo>
                  <a:pt x="2" y="24"/>
                  <a:pt x="6" y="29"/>
                  <a:pt x="12" y="31"/>
                </a:cubicBezTo>
                <a:cubicBezTo>
                  <a:pt x="11" y="31"/>
                  <a:pt x="10" y="31"/>
                  <a:pt x="9" y="31"/>
                </a:cubicBezTo>
                <a:cubicBezTo>
                  <a:pt x="8" y="31"/>
                  <a:pt x="7" y="31"/>
                  <a:pt x="6" y="31"/>
                </a:cubicBezTo>
                <a:cubicBezTo>
                  <a:pt x="8" y="36"/>
                  <a:pt x="12" y="40"/>
                  <a:pt x="17" y="40"/>
                </a:cubicBezTo>
                <a:cubicBezTo>
                  <a:pt x="13" y="43"/>
                  <a:pt x="8" y="45"/>
                  <a:pt x="3" y="45"/>
                </a:cubicBezTo>
                <a:cubicBezTo>
                  <a:pt x="2" y="45"/>
                  <a:pt x="1" y="45"/>
                  <a:pt x="0" y="45"/>
                </a:cubicBezTo>
                <a:cubicBezTo>
                  <a:pt x="5" y="48"/>
                  <a:pt x="11" y="51"/>
                  <a:pt x="18" y="51"/>
                </a:cubicBezTo>
                <a:cubicBezTo>
                  <a:pt x="40" y="51"/>
                  <a:pt x="52" y="31"/>
                  <a:pt x="52" y="14"/>
                </a:cubicBezTo>
                <a:cubicBezTo>
                  <a:pt x="52" y="14"/>
                  <a:pt x="52" y="13"/>
                  <a:pt x="52" y="13"/>
                </a:cubicBezTo>
                <a:cubicBezTo>
                  <a:pt x="54" y="11"/>
                  <a:pt x="56" y="9"/>
                  <a:pt x="57" y="6"/>
                </a:cubicBezTo>
              </a:path>
            </a:pathLst>
          </a:custGeom>
          <a:solidFill>
            <a:schemeClr val="bg1"/>
          </a:solidFill>
          <a:ln w="3175">
            <a:noFill/>
          </a:ln>
        </p:spPr>
        <p:txBody>
          <a:bodyPr vert="horz" wrap="square" lIns="91440" tIns="45720" rIns="91440" bIns="45720" numCol="1" anchor="t" anchorCtr="0" compatLnSpc="1">
            <a:prstTxWarp prst="textNoShape">
              <a:avLst/>
            </a:prstTxWarp>
          </a:bodyPr>
          <a:lstStyle/>
          <a:p>
            <a:endParaRPr lang="fr-FR" dirty="0"/>
          </a:p>
        </p:txBody>
      </p:sp>
      <p:sp>
        <p:nvSpPr>
          <p:cNvPr id="8" name="Freeform 9">
            <a:extLst>
              <a:ext uri="{FF2B5EF4-FFF2-40B4-BE49-F238E27FC236}">
                <a16:creationId xmlns:a16="http://schemas.microsoft.com/office/drawing/2014/main" id="{1FBCF7C4-0272-47EF-A15D-DB21A456053B}"/>
              </a:ext>
            </a:extLst>
          </p:cNvPr>
          <p:cNvSpPr>
            <a:spLocks/>
          </p:cNvSpPr>
          <p:nvPr/>
        </p:nvSpPr>
        <p:spPr bwMode="auto">
          <a:xfrm>
            <a:off x="1055478" y="2883281"/>
            <a:ext cx="92075" cy="184150"/>
          </a:xfrm>
          <a:custGeom>
            <a:avLst/>
            <a:gdLst>
              <a:gd name="T0" fmla="*/ 18 w 27"/>
              <a:gd name="T1" fmla="*/ 19 h 58"/>
              <a:gd name="T2" fmla="*/ 18 w 27"/>
              <a:gd name="T3" fmla="*/ 13 h 58"/>
              <a:gd name="T4" fmla="*/ 20 w 27"/>
              <a:gd name="T5" fmla="*/ 10 h 58"/>
              <a:gd name="T6" fmla="*/ 26 w 27"/>
              <a:gd name="T7" fmla="*/ 10 h 58"/>
              <a:gd name="T8" fmla="*/ 26 w 27"/>
              <a:gd name="T9" fmla="*/ 0 h 58"/>
              <a:gd name="T10" fmla="*/ 18 w 27"/>
              <a:gd name="T11" fmla="*/ 0 h 58"/>
              <a:gd name="T12" fmla="*/ 6 w 27"/>
              <a:gd name="T13" fmla="*/ 12 h 58"/>
              <a:gd name="T14" fmla="*/ 6 w 27"/>
              <a:gd name="T15" fmla="*/ 19 h 58"/>
              <a:gd name="T16" fmla="*/ 0 w 27"/>
              <a:gd name="T17" fmla="*/ 19 h 58"/>
              <a:gd name="T18" fmla="*/ 0 w 27"/>
              <a:gd name="T19" fmla="*/ 29 h 58"/>
              <a:gd name="T20" fmla="*/ 6 w 27"/>
              <a:gd name="T21" fmla="*/ 29 h 58"/>
              <a:gd name="T22" fmla="*/ 6 w 27"/>
              <a:gd name="T23" fmla="*/ 58 h 58"/>
              <a:gd name="T24" fmla="*/ 18 w 27"/>
              <a:gd name="T25" fmla="*/ 58 h 58"/>
              <a:gd name="T26" fmla="*/ 18 w 27"/>
              <a:gd name="T27" fmla="*/ 29 h 58"/>
              <a:gd name="T28" fmla="*/ 26 w 27"/>
              <a:gd name="T29" fmla="*/ 29 h 58"/>
              <a:gd name="T30" fmla="*/ 27 w 27"/>
              <a:gd name="T31" fmla="*/ 19 h 58"/>
              <a:gd name="T32" fmla="*/ 18 w 27"/>
              <a:gd name="T33" fmla="*/ 1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58">
                <a:moveTo>
                  <a:pt x="18" y="19"/>
                </a:moveTo>
                <a:cubicBezTo>
                  <a:pt x="18" y="13"/>
                  <a:pt x="18" y="13"/>
                  <a:pt x="18" y="13"/>
                </a:cubicBezTo>
                <a:cubicBezTo>
                  <a:pt x="18" y="11"/>
                  <a:pt x="19" y="10"/>
                  <a:pt x="20" y="10"/>
                </a:cubicBezTo>
                <a:cubicBezTo>
                  <a:pt x="26" y="10"/>
                  <a:pt x="26" y="10"/>
                  <a:pt x="26" y="10"/>
                </a:cubicBezTo>
                <a:cubicBezTo>
                  <a:pt x="26" y="0"/>
                  <a:pt x="26" y="0"/>
                  <a:pt x="26" y="0"/>
                </a:cubicBezTo>
                <a:cubicBezTo>
                  <a:pt x="18" y="0"/>
                  <a:pt x="18" y="0"/>
                  <a:pt x="18" y="0"/>
                </a:cubicBezTo>
                <a:cubicBezTo>
                  <a:pt x="8" y="0"/>
                  <a:pt x="6" y="8"/>
                  <a:pt x="6" y="12"/>
                </a:cubicBezTo>
                <a:cubicBezTo>
                  <a:pt x="6" y="19"/>
                  <a:pt x="6" y="19"/>
                  <a:pt x="6" y="19"/>
                </a:cubicBezTo>
                <a:cubicBezTo>
                  <a:pt x="0" y="19"/>
                  <a:pt x="0" y="19"/>
                  <a:pt x="0" y="19"/>
                </a:cubicBezTo>
                <a:cubicBezTo>
                  <a:pt x="0" y="29"/>
                  <a:pt x="0" y="29"/>
                  <a:pt x="0" y="29"/>
                </a:cubicBezTo>
                <a:cubicBezTo>
                  <a:pt x="6" y="29"/>
                  <a:pt x="6" y="29"/>
                  <a:pt x="6" y="29"/>
                </a:cubicBezTo>
                <a:cubicBezTo>
                  <a:pt x="6" y="58"/>
                  <a:pt x="6" y="58"/>
                  <a:pt x="6" y="58"/>
                </a:cubicBezTo>
                <a:cubicBezTo>
                  <a:pt x="18" y="58"/>
                  <a:pt x="18" y="58"/>
                  <a:pt x="18" y="58"/>
                </a:cubicBezTo>
                <a:cubicBezTo>
                  <a:pt x="18" y="29"/>
                  <a:pt x="18" y="29"/>
                  <a:pt x="18" y="29"/>
                </a:cubicBezTo>
                <a:cubicBezTo>
                  <a:pt x="26" y="29"/>
                  <a:pt x="26" y="29"/>
                  <a:pt x="26" y="29"/>
                </a:cubicBezTo>
                <a:cubicBezTo>
                  <a:pt x="27" y="19"/>
                  <a:pt x="27" y="19"/>
                  <a:pt x="27" y="19"/>
                </a:cubicBezTo>
                <a:lnTo>
                  <a:pt x="18" y="19"/>
                </a:lnTo>
                <a:close/>
              </a:path>
            </a:pathLst>
          </a:custGeom>
          <a:solidFill>
            <a:schemeClr val="bg1"/>
          </a:solidFill>
          <a:ln w="3175">
            <a:noFill/>
          </a:ln>
        </p:spPr>
        <p:txBody>
          <a:bodyPr vert="horz" wrap="square" lIns="91440" tIns="45720" rIns="91440" bIns="45720" numCol="1" anchor="t" anchorCtr="0" compatLnSpc="1">
            <a:prstTxWarp prst="textNoShape">
              <a:avLst/>
            </a:prstTxWarp>
          </a:bodyPr>
          <a:lstStyle/>
          <a:p>
            <a:endParaRPr lang="fr-FR" dirty="0"/>
          </a:p>
        </p:txBody>
      </p:sp>
      <p:sp>
        <p:nvSpPr>
          <p:cNvPr id="9" name="Freeform 13">
            <a:extLst>
              <a:ext uri="{FF2B5EF4-FFF2-40B4-BE49-F238E27FC236}">
                <a16:creationId xmlns:a16="http://schemas.microsoft.com/office/drawing/2014/main" id="{2C52EDD2-9D4F-4BF9-899D-F06D88DD01A8}"/>
              </a:ext>
            </a:extLst>
          </p:cNvPr>
          <p:cNvSpPr>
            <a:spLocks noEditPoints="1"/>
          </p:cNvSpPr>
          <p:nvPr/>
        </p:nvSpPr>
        <p:spPr bwMode="auto">
          <a:xfrm>
            <a:off x="1280871" y="2947773"/>
            <a:ext cx="168275" cy="120650"/>
          </a:xfrm>
          <a:custGeom>
            <a:avLst/>
            <a:gdLst>
              <a:gd name="T0" fmla="*/ 35 w 53"/>
              <a:gd name="T1" fmla="*/ 19 h 37"/>
              <a:gd name="T2" fmla="*/ 24 w 53"/>
              <a:gd name="T3" fmla="*/ 27 h 37"/>
              <a:gd name="T4" fmla="*/ 23 w 53"/>
              <a:gd name="T5" fmla="*/ 27 h 37"/>
              <a:gd name="T6" fmla="*/ 22 w 53"/>
              <a:gd name="T7" fmla="*/ 27 h 37"/>
              <a:gd name="T8" fmla="*/ 22 w 53"/>
              <a:gd name="T9" fmla="*/ 26 h 37"/>
              <a:gd name="T10" fmla="*/ 22 w 53"/>
              <a:gd name="T11" fmla="*/ 10 h 37"/>
              <a:gd name="T12" fmla="*/ 22 w 53"/>
              <a:gd name="T13" fmla="*/ 9 h 37"/>
              <a:gd name="T14" fmla="*/ 24 w 53"/>
              <a:gd name="T15" fmla="*/ 9 h 37"/>
              <a:gd name="T16" fmla="*/ 35 w 53"/>
              <a:gd name="T17" fmla="*/ 17 h 37"/>
              <a:gd name="T18" fmla="*/ 35 w 53"/>
              <a:gd name="T19" fmla="*/ 18 h 37"/>
              <a:gd name="T20" fmla="*/ 35 w 53"/>
              <a:gd name="T21" fmla="*/ 19 h 37"/>
              <a:gd name="T22" fmla="*/ 53 w 53"/>
              <a:gd name="T23" fmla="*/ 5 h 37"/>
              <a:gd name="T24" fmla="*/ 52 w 53"/>
              <a:gd name="T25" fmla="*/ 5 h 37"/>
              <a:gd name="T26" fmla="*/ 52 w 53"/>
              <a:gd name="T27" fmla="*/ 5 h 37"/>
              <a:gd name="T28" fmla="*/ 47 w 53"/>
              <a:gd name="T29" fmla="*/ 1 h 37"/>
              <a:gd name="T30" fmla="*/ 48 w 53"/>
              <a:gd name="T31" fmla="*/ 1 h 37"/>
              <a:gd name="T32" fmla="*/ 27 w 53"/>
              <a:gd name="T33" fmla="*/ 0 h 37"/>
              <a:gd name="T34" fmla="*/ 6 w 53"/>
              <a:gd name="T35" fmla="*/ 1 h 37"/>
              <a:gd name="T36" fmla="*/ 6 w 53"/>
              <a:gd name="T37" fmla="*/ 1 h 37"/>
              <a:gd name="T38" fmla="*/ 1 w 53"/>
              <a:gd name="T39" fmla="*/ 5 h 37"/>
              <a:gd name="T40" fmla="*/ 1 w 53"/>
              <a:gd name="T41" fmla="*/ 5 h 37"/>
              <a:gd name="T42" fmla="*/ 1 w 53"/>
              <a:gd name="T43" fmla="*/ 5 h 37"/>
              <a:gd name="T44" fmla="*/ 0 w 53"/>
              <a:gd name="T45" fmla="*/ 18 h 37"/>
              <a:gd name="T46" fmla="*/ 1 w 53"/>
              <a:gd name="T47" fmla="*/ 31 h 37"/>
              <a:gd name="T48" fmla="*/ 1 w 53"/>
              <a:gd name="T49" fmla="*/ 31 h 37"/>
              <a:gd name="T50" fmla="*/ 1 w 53"/>
              <a:gd name="T51" fmla="*/ 32 h 37"/>
              <a:gd name="T52" fmla="*/ 6 w 53"/>
              <a:gd name="T53" fmla="*/ 35 h 37"/>
              <a:gd name="T54" fmla="*/ 6 w 53"/>
              <a:gd name="T55" fmla="*/ 35 h 37"/>
              <a:gd name="T56" fmla="*/ 27 w 53"/>
              <a:gd name="T57" fmla="*/ 37 h 37"/>
              <a:gd name="T58" fmla="*/ 48 w 53"/>
              <a:gd name="T59" fmla="*/ 35 h 37"/>
              <a:gd name="T60" fmla="*/ 47 w 53"/>
              <a:gd name="T61" fmla="*/ 35 h 37"/>
              <a:gd name="T62" fmla="*/ 52 w 53"/>
              <a:gd name="T63" fmla="*/ 32 h 37"/>
              <a:gd name="T64" fmla="*/ 52 w 53"/>
              <a:gd name="T65" fmla="*/ 31 h 37"/>
              <a:gd name="T66" fmla="*/ 53 w 53"/>
              <a:gd name="T67" fmla="*/ 31 h 37"/>
              <a:gd name="T68" fmla="*/ 53 w 53"/>
              <a:gd name="T69" fmla="*/ 18 h 37"/>
              <a:gd name="T70" fmla="*/ 53 w 53"/>
              <a:gd name="T71"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37">
                <a:moveTo>
                  <a:pt x="35" y="19"/>
                </a:moveTo>
                <a:cubicBezTo>
                  <a:pt x="24" y="27"/>
                  <a:pt x="24" y="27"/>
                  <a:pt x="24" y="27"/>
                </a:cubicBezTo>
                <a:cubicBezTo>
                  <a:pt x="24" y="27"/>
                  <a:pt x="23" y="27"/>
                  <a:pt x="23" y="27"/>
                </a:cubicBezTo>
                <a:cubicBezTo>
                  <a:pt x="23" y="27"/>
                  <a:pt x="23" y="27"/>
                  <a:pt x="22" y="27"/>
                </a:cubicBezTo>
                <a:cubicBezTo>
                  <a:pt x="22" y="27"/>
                  <a:pt x="22" y="27"/>
                  <a:pt x="22" y="26"/>
                </a:cubicBezTo>
                <a:cubicBezTo>
                  <a:pt x="22" y="10"/>
                  <a:pt x="22" y="10"/>
                  <a:pt x="22" y="10"/>
                </a:cubicBezTo>
                <a:cubicBezTo>
                  <a:pt x="22" y="10"/>
                  <a:pt x="22" y="9"/>
                  <a:pt x="22" y="9"/>
                </a:cubicBezTo>
                <a:cubicBezTo>
                  <a:pt x="23" y="9"/>
                  <a:pt x="23" y="9"/>
                  <a:pt x="24" y="9"/>
                </a:cubicBezTo>
                <a:cubicBezTo>
                  <a:pt x="35" y="17"/>
                  <a:pt x="35" y="17"/>
                  <a:pt x="35" y="17"/>
                </a:cubicBezTo>
                <a:cubicBezTo>
                  <a:pt x="35" y="17"/>
                  <a:pt x="35" y="18"/>
                  <a:pt x="35" y="18"/>
                </a:cubicBezTo>
                <a:cubicBezTo>
                  <a:pt x="35" y="19"/>
                  <a:pt x="35" y="19"/>
                  <a:pt x="35" y="19"/>
                </a:cubicBezTo>
                <a:moveTo>
                  <a:pt x="53" y="5"/>
                </a:moveTo>
                <a:cubicBezTo>
                  <a:pt x="52" y="5"/>
                  <a:pt x="52" y="5"/>
                  <a:pt x="52" y="5"/>
                </a:cubicBezTo>
                <a:cubicBezTo>
                  <a:pt x="52" y="5"/>
                  <a:pt x="52" y="5"/>
                  <a:pt x="52" y="5"/>
                </a:cubicBezTo>
                <a:cubicBezTo>
                  <a:pt x="52" y="3"/>
                  <a:pt x="50" y="1"/>
                  <a:pt x="47" y="1"/>
                </a:cubicBezTo>
                <a:cubicBezTo>
                  <a:pt x="48" y="1"/>
                  <a:pt x="48" y="1"/>
                  <a:pt x="48" y="1"/>
                </a:cubicBezTo>
                <a:cubicBezTo>
                  <a:pt x="48" y="1"/>
                  <a:pt x="39" y="0"/>
                  <a:pt x="27" y="0"/>
                </a:cubicBezTo>
                <a:cubicBezTo>
                  <a:pt x="15" y="0"/>
                  <a:pt x="6" y="1"/>
                  <a:pt x="6" y="1"/>
                </a:cubicBezTo>
                <a:cubicBezTo>
                  <a:pt x="6" y="1"/>
                  <a:pt x="6" y="1"/>
                  <a:pt x="6" y="1"/>
                </a:cubicBezTo>
                <a:cubicBezTo>
                  <a:pt x="4" y="1"/>
                  <a:pt x="2" y="3"/>
                  <a:pt x="1" y="5"/>
                </a:cubicBezTo>
                <a:cubicBezTo>
                  <a:pt x="1" y="5"/>
                  <a:pt x="1" y="5"/>
                  <a:pt x="1" y="5"/>
                </a:cubicBezTo>
                <a:cubicBezTo>
                  <a:pt x="1" y="5"/>
                  <a:pt x="1" y="5"/>
                  <a:pt x="1" y="5"/>
                </a:cubicBezTo>
                <a:cubicBezTo>
                  <a:pt x="1" y="8"/>
                  <a:pt x="0" y="13"/>
                  <a:pt x="0" y="18"/>
                </a:cubicBezTo>
                <a:cubicBezTo>
                  <a:pt x="0" y="24"/>
                  <a:pt x="1" y="28"/>
                  <a:pt x="1" y="31"/>
                </a:cubicBezTo>
                <a:cubicBezTo>
                  <a:pt x="1" y="31"/>
                  <a:pt x="1" y="31"/>
                  <a:pt x="1" y="31"/>
                </a:cubicBezTo>
                <a:cubicBezTo>
                  <a:pt x="1" y="31"/>
                  <a:pt x="1" y="32"/>
                  <a:pt x="1" y="32"/>
                </a:cubicBezTo>
                <a:cubicBezTo>
                  <a:pt x="2" y="34"/>
                  <a:pt x="4" y="35"/>
                  <a:pt x="6" y="35"/>
                </a:cubicBezTo>
                <a:cubicBezTo>
                  <a:pt x="6" y="35"/>
                  <a:pt x="6" y="35"/>
                  <a:pt x="6" y="35"/>
                </a:cubicBezTo>
                <a:cubicBezTo>
                  <a:pt x="6" y="35"/>
                  <a:pt x="15" y="37"/>
                  <a:pt x="27" y="37"/>
                </a:cubicBezTo>
                <a:cubicBezTo>
                  <a:pt x="39" y="37"/>
                  <a:pt x="48" y="35"/>
                  <a:pt x="48" y="35"/>
                </a:cubicBezTo>
                <a:cubicBezTo>
                  <a:pt x="47" y="35"/>
                  <a:pt x="47" y="35"/>
                  <a:pt x="47" y="35"/>
                </a:cubicBezTo>
                <a:cubicBezTo>
                  <a:pt x="50" y="35"/>
                  <a:pt x="52" y="34"/>
                  <a:pt x="52" y="32"/>
                </a:cubicBezTo>
                <a:cubicBezTo>
                  <a:pt x="52" y="32"/>
                  <a:pt x="52" y="31"/>
                  <a:pt x="52" y="31"/>
                </a:cubicBezTo>
                <a:cubicBezTo>
                  <a:pt x="52" y="31"/>
                  <a:pt x="52" y="31"/>
                  <a:pt x="53" y="31"/>
                </a:cubicBezTo>
                <a:cubicBezTo>
                  <a:pt x="53" y="28"/>
                  <a:pt x="53" y="24"/>
                  <a:pt x="53" y="18"/>
                </a:cubicBezTo>
                <a:cubicBezTo>
                  <a:pt x="53" y="13"/>
                  <a:pt x="53" y="8"/>
                  <a:pt x="53" y="5"/>
                </a:cubicBezTo>
              </a:path>
            </a:pathLst>
          </a:custGeom>
          <a:solidFill>
            <a:schemeClr val="bg1"/>
          </a:solidFill>
          <a:ln w="3175">
            <a:noFill/>
          </a:ln>
        </p:spPr>
        <p:txBody>
          <a:bodyPr vert="horz" wrap="square" lIns="91440" tIns="45720" rIns="91440" bIns="45720" numCol="1" anchor="t" anchorCtr="0" compatLnSpc="1">
            <a:prstTxWarp prst="textNoShape">
              <a:avLst/>
            </a:prstTxWarp>
          </a:bodyPr>
          <a:lstStyle/>
          <a:p>
            <a:endParaRPr lang="fr-FR" dirty="0"/>
          </a:p>
        </p:txBody>
      </p:sp>
      <p:grpSp>
        <p:nvGrpSpPr>
          <p:cNvPr id="10" name="Groupe 9">
            <a:extLst>
              <a:ext uri="{FF2B5EF4-FFF2-40B4-BE49-F238E27FC236}">
                <a16:creationId xmlns:a16="http://schemas.microsoft.com/office/drawing/2014/main" id="{E8BFB87A-2ABC-42E2-ADC3-358E14922F27}"/>
              </a:ext>
            </a:extLst>
          </p:cNvPr>
          <p:cNvGrpSpPr/>
          <p:nvPr/>
        </p:nvGrpSpPr>
        <p:grpSpPr>
          <a:xfrm>
            <a:off x="1573003" y="2907887"/>
            <a:ext cx="171450" cy="160338"/>
            <a:chOff x="6010275" y="2889250"/>
            <a:chExt cx="171450" cy="160338"/>
          </a:xfrm>
          <a:solidFill>
            <a:schemeClr val="bg1"/>
          </a:solidFill>
        </p:grpSpPr>
        <p:sp>
          <p:nvSpPr>
            <p:cNvPr id="11" name="Rectangle 17">
              <a:extLst>
                <a:ext uri="{FF2B5EF4-FFF2-40B4-BE49-F238E27FC236}">
                  <a16:creationId xmlns:a16="http://schemas.microsoft.com/office/drawing/2014/main" id="{A07DC2FD-B27A-406B-A1BD-F9AF0BBD1102}"/>
                </a:ext>
              </a:extLst>
            </p:cNvPr>
            <p:cNvSpPr>
              <a:spLocks noChangeArrowheads="1"/>
            </p:cNvSpPr>
            <p:nvPr userDrawn="1"/>
          </p:nvSpPr>
          <p:spPr bwMode="auto">
            <a:xfrm>
              <a:off x="6013450" y="2940050"/>
              <a:ext cx="34925" cy="109538"/>
            </a:xfrm>
            <a:prstGeom prst="rect">
              <a:avLst/>
            </a:prstGeom>
            <a:grpFill/>
            <a:ln w="317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sp>
          <p:nvSpPr>
            <p:cNvPr id="12" name="Freeform 18">
              <a:extLst>
                <a:ext uri="{FF2B5EF4-FFF2-40B4-BE49-F238E27FC236}">
                  <a16:creationId xmlns:a16="http://schemas.microsoft.com/office/drawing/2014/main" id="{F048FCDC-41E0-4BD7-8CDB-2D2A688840A8}"/>
                </a:ext>
              </a:extLst>
            </p:cNvPr>
            <p:cNvSpPr>
              <a:spLocks/>
            </p:cNvSpPr>
            <p:nvPr userDrawn="1"/>
          </p:nvSpPr>
          <p:spPr bwMode="auto">
            <a:xfrm>
              <a:off x="6067425" y="2940050"/>
              <a:ext cx="114300" cy="109538"/>
            </a:xfrm>
            <a:custGeom>
              <a:avLst/>
              <a:gdLst>
                <a:gd name="T0" fmla="*/ 23 w 36"/>
                <a:gd name="T1" fmla="*/ 0 h 34"/>
                <a:gd name="T2" fmla="*/ 12 w 36"/>
                <a:gd name="T3" fmla="*/ 6 h 34"/>
                <a:gd name="T4" fmla="*/ 12 w 36"/>
                <a:gd name="T5" fmla="*/ 0 h 34"/>
                <a:gd name="T6" fmla="*/ 0 w 36"/>
                <a:gd name="T7" fmla="*/ 0 h 34"/>
                <a:gd name="T8" fmla="*/ 0 w 36"/>
                <a:gd name="T9" fmla="*/ 34 h 34"/>
                <a:gd name="T10" fmla="*/ 12 w 36"/>
                <a:gd name="T11" fmla="*/ 34 h 34"/>
                <a:gd name="T12" fmla="*/ 12 w 36"/>
                <a:gd name="T13" fmla="*/ 16 h 34"/>
                <a:gd name="T14" fmla="*/ 12 w 36"/>
                <a:gd name="T15" fmla="*/ 13 h 34"/>
                <a:gd name="T16" fmla="*/ 18 w 36"/>
                <a:gd name="T17" fmla="*/ 9 h 34"/>
                <a:gd name="T18" fmla="*/ 24 w 36"/>
                <a:gd name="T19" fmla="*/ 17 h 34"/>
                <a:gd name="T20" fmla="*/ 24 w 36"/>
                <a:gd name="T21" fmla="*/ 34 h 34"/>
                <a:gd name="T22" fmla="*/ 36 w 36"/>
                <a:gd name="T23" fmla="*/ 34 h 34"/>
                <a:gd name="T24" fmla="*/ 36 w 36"/>
                <a:gd name="T25" fmla="*/ 16 h 34"/>
                <a:gd name="T26" fmla="*/ 23 w 36"/>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4">
                  <a:moveTo>
                    <a:pt x="23" y="0"/>
                  </a:moveTo>
                  <a:cubicBezTo>
                    <a:pt x="17" y="0"/>
                    <a:pt x="13" y="3"/>
                    <a:pt x="12" y="6"/>
                  </a:cubicBezTo>
                  <a:cubicBezTo>
                    <a:pt x="12" y="0"/>
                    <a:pt x="12" y="0"/>
                    <a:pt x="12" y="0"/>
                  </a:cubicBezTo>
                  <a:cubicBezTo>
                    <a:pt x="0" y="0"/>
                    <a:pt x="0" y="0"/>
                    <a:pt x="0" y="0"/>
                  </a:cubicBezTo>
                  <a:cubicBezTo>
                    <a:pt x="0" y="3"/>
                    <a:pt x="0" y="34"/>
                    <a:pt x="0" y="34"/>
                  </a:cubicBezTo>
                  <a:cubicBezTo>
                    <a:pt x="12" y="34"/>
                    <a:pt x="12" y="34"/>
                    <a:pt x="12" y="34"/>
                  </a:cubicBezTo>
                  <a:cubicBezTo>
                    <a:pt x="12" y="16"/>
                    <a:pt x="12" y="16"/>
                    <a:pt x="12" y="16"/>
                  </a:cubicBezTo>
                  <a:cubicBezTo>
                    <a:pt x="12" y="15"/>
                    <a:pt x="12" y="14"/>
                    <a:pt x="12" y="13"/>
                  </a:cubicBezTo>
                  <a:cubicBezTo>
                    <a:pt x="13" y="11"/>
                    <a:pt x="15" y="9"/>
                    <a:pt x="18" y="9"/>
                  </a:cubicBezTo>
                  <a:cubicBezTo>
                    <a:pt x="22" y="9"/>
                    <a:pt x="24" y="12"/>
                    <a:pt x="24" y="17"/>
                  </a:cubicBezTo>
                  <a:cubicBezTo>
                    <a:pt x="24" y="34"/>
                    <a:pt x="24" y="34"/>
                    <a:pt x="24" y="34"/>
                  </a:cubicBezTo>
                  <a:cubicBezTo>
                    <a:pt x="36" y="34"/>
                    <a:pt x="36" y="34"/>
                    <a:pt x="36" y="34"/>
                  </a:cubicBezTo>
                  <a:cubicBezTo>
                    <a:pt x="36" y="16"/>
                    <a:pt x="36" y="16"/>
                    <a:pt x="36" y="16"/>
                  </a:cubicBezTo>
                  <a:cubicBezTo>
                    <a:pt x="36" y="5"/>
                    <a:pt x="30" y="0"/>
                    <a:pt x="23" y="0"/>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3" name="Freeform 19">
              <a:extLst>
                <a:ext uri="{FF2B5EF4-FFF2-40B4-BE49-F238E27FC236}">
                  <a16:creationId xmlns:a16="http://schemas.microsoft.com/office/drawing/2014/main" id="{07266035-8A1D-4427-8DBA-371C66A8AA3E}"/>
                </a:ext>
              </a:extLst>
            </p:cNvPr>
            <p:cNvSpPr>
              <a:spLocks/>
            </p:cNvSpPr>
            <p:nvPr userDrawn="1"/>
          </p:nvSpPr>
          <p:spPr bwMode="auto">
            <a:xfrm>
              <a:off x="6010275" y="2889250"/>
              <a:ext cx="41275" cy="38100"/>
            </a:xfrm>
            <a:custGeom>
              <a:avLst/>
              <a:gdLst>
                <a:gd name="T0" fmla="*/ 6 w 13"/>
                <a:gd name="T1" fmla="*/ 0 h 12"/>
                <a:gd name="T2" fmla="*/ 0 w 13"/>
                <a:gd name="T3" fmla="*/ 6 h 12"/>
                <a:gd name="T4" fmla="*/ 6 w 13"/>
                <a:gd name="T5" fmla="*/ 12 h 12"/>
                <a:gd name="T6" fmla="*/ 6 w 13"/>
                <a:gd name="T7" fmla="*/ 12 h 12"/>
                <a:gd name="T8" fmla="*/ 13 w 13"/>
                <a:gd name="T9" fmla="*/ 6 h 12"/>
                <a:gd name="T10" fmla="*/ 6 w 13"/>
                <a:gd name="T11" fmla="*/ 0 h 12"/>
              </a:gdLst>
              <a:ahLst/>
              <a:cxnLst>
                <a:cxn ang="0">
                  <a:pos x="T0" y="T1"/>
                </a:cxn>
                <a:cxn ang="0">
                  <a:pos x="T2" y="T3"/>
                </a:cxn>
                <a:cxn ang="0">
                  <a:pos x="T4" y="T5"/>
                </a:cxn>
                <a:cxn ang="0">
                  <a:pos x="T6" y="T7"/>
                </a:cxn>
                <a:cxn ang="0">
                  <a:pos x="T8" y="T9"/>
                </a:cxn>
                <a:cxn ang="0">
                  <a:pos x="T10" y="T11"/>
                </a:cxn>
              </a:cxnLst>
              <a:rect l="0" t="0" r="r" b="b"/>
              <a:pathLst>
                <a:path w="13" h="12">
                  <a:moveTo>
                    <a:pt x="6" y="0"/>
                  </a:moveTo>
                  <a:cubicBezTo>
                    <a:pt x="2" y="0"/>
                    <a:pt x="0" y="3"/>
                    <a:pt x="0" y="6"/>
                  </a:cubicBezTo>
                  <a:cubicBezTo>
                    <a:pt x="0" y="10"/>
                    <a:pt x="2" y="12"/>
                    <a:pt x="6" y="12"/>
                  </a:cubicBezTo>
                  <a:cubicBezTo>
                    <a:pt x="6" y="12"/>
                    <a:pt x="6" y="12"/>
                    <a:pt x="6" y="12"/>
                  </a:cubicBezTo>
                  <a:cubicBezTo>
                    <a:pt x="10" y="12"/>
                    <a:pt x="13" y="10"/>
                    <a:pt x="13" y="6"/>
                  </a:cubicBezTo>
                  <a:cubicBezTo>
                    <a:pt x="13" y="3"/>
                    <a:pt x="10" y="0"/>
                    <a:pt x="6" y="0"/>
                  </a:cubicBezTo>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792592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6</a:t>
            </a:fld>
            <a:endParaRPr lang="fr-FR" dirty="0"/>
          </a:p>
        </p:txBody>
      </p:sp>
      <p:sp>
        <p:nvSpPr>
          <p:cNvPr id="5" name="Espace réservé du texte 4"/>
          <p:cNvSpPr>
            <a:spLocks noGrp="1"/>
          </p:cNvSpPr>
          <p:nvPr>
            <p:ph type="body" idx="1"/>
          </p:nvPr>
        </p:nvSpPr>
        <p:spPr/>
        <p:txBody>
          <a:bodyPr/>
          <a:lstStyle/>
          <a:p>
            <a:r>
              <a:rPr lang="fr-FR" dirty="0"/>
              <a:t>Problématiques à adresser</a:t>
            </a:r>
          </a:p>
        </p:txBody>
      </p:sp>
      <p:sp>
        <p:nvSpPr>
          <p:cNvPr id="6" name="Titre 5"/>
          <p:cNvSpPr>
            <a:spLocks noGrp="1"/>
          </p:cNvSpPr>
          <p:nvPr>
            <p:ph type="title"/>
          </p:nvPr>
        </p:nvSpPr>
        <p:spPr/>
        <p:txBody>
          <a:bodyPr/>
          <a:lstStyle/>
          <a:p>
            <a:r>
              <a:rPr lang="fr-FR" dirty="0"/>
              <a:t>Pourquoi l’agilité à l’échelle ?</a:t>
            </a:r>
          </a:p>
        </p:txBody>
      </p:sp>
      <p:grpSp>
        <p:nvGrpSpPr>
          <p:cNvPr id="29" name="Groupe 28">
            <a:extLst>
              <a:ext uri="{FF2B5EF4-FFF2-40B4-BE49-F238E27FC236}">
                <a16:creationId xmlns:a16="http://schemas.microsoft.com/office/drawing/2014/main" id="{C13E2700-8178-4DD2-8FC3-568A9F41C3F4}"/>
              </a:ext>
            </a:extLst>
          </p:cNvPr>
          <p:cNvGrpSpPr/>
          <p:nvPr/>
        </p:nvGrpSpPr>
        <p:grpSpPr>
          <a:xfrm>
            <a:off x="2279617" y="1186670"/>
            <a:ext cx="7632766" cy="4806904"/>
            <a:chOff x="4323020" y="1536807"/>
            <a:chExt cx="7632766" cy="4806904"/>
          </a:xfrm>
        </p:grpSpPr>
        <p:grpSp>
          <p:nvGrpSpPr>
            <p:cNvPr id="30" name="Groupe 29">
              <a:extLst>
                <a:ext uri="{FF2B5EF4-FFF2-40B4-BE49-F238E27FC236}">
                  <a16:creationId xmlns:a16="http://schemas.microsoft.com/office/drawing/2014/main" id="{5E45602D-B6F0-438B-8AA0-A77650EAFE81}"/>
                </a:ext>
              </a:extLst>
            </p:cNvPr>
            <p:cNvGrpSpPr/>
            <p:nvPr/>
          </p:nvGrpSpPr>
          <p:grpSpPr>
            <a:xfrm>
              <a:off x="6061319" y="1647749"/>
              <a:ext cx="4154582" cy="4222942"/>
              <a:chOff x="5741670" y="1647749"/>
              <a:chExt cx="4154582" cy="4222942"/>
            </a:xfrm>
          </p:grpSpPr>
          <p:sp>
            <p:nvSpPr>
              <p:cNvPr id="37" name="Freeform 5">
                <a:extLst>
                  <a:ext uri="{FF2B5EF4-FFF2-40B4-BE49-F238E27FC236}">
                    <a16:creationId xmlns:a16="http://schemas.microsoft.com/office/drawing/2014/main" id="{822A7D82-9141-48EB-BA07-892B7AFF942C}"/>
                  </a:ext>
                </a:extLst>
              </p:cNvPr>
              <p:cNvSpPr>
                <a:spLocks/>
              </p:cNvSpPr>
              <p:nvPr/>
            </p:nvSpPr>
            <p:spPr bwMode="auto">
              <a:xfrm>
                <a:off x="8177194" y="2491054"/>
                <a:ext cx="1719058" cy="2793334"/>
              </a:xfrm>
              <a:custGeom>
                <a:avLst/>
                <a:gdLst>
                  <a:gd name="T0" fmla="*/ 365 w 560"/>
                  <a:gd name="T1" fmla="*/ 909 h 909"/>
                  <a:gd name="T2" fmla="*/ 383 w 560"/>
                  <a:gd name="T3" fmla="*/ 876 h 909"/>
                  <a:gd name="T4" fmla="*/ 311 w 560"/>
                  <a:gd name="T5" fmla="*/ 835 h 909"/>
                  <a:gd name="T6" fmla="*/ 275 w 560"/>
                  <a:gd name="T7" fmla="*/ 814 h 909"/>
                  <a:gd name="T8" fmla="*/ 208 w 560"/>
                  <a:gd name="T9" fmla="*/ 775 h 909"/>
                  <a:gd name="T10" fmla="*/ 241 w 560"/>
                  <a:gd name="T11" fmla="*/ 726 h 909"/>
                  <a:gd name="T12" fmla="*/ 87 w 560"/>
                  <a:gd name="T13" fmla="*/ 150 h 909"/>
                  <a:gd name="T14" fmla="*/ 0 w 560"/>
                  <a:gd name="T15" fmla="*/ 112 h 909"/>
                  <a:gd name="T16" fmla="*/ 35 w 560"/>
                  <a:gd name="T17" fmla="*/ 0 h 909"/>
                  <a:gd name="T18" fmla="*/ 146 w 560"/>
                  <a:gd name="T19" fmla="*/ 48 h 909"/>
                  <a:gd name="T20" fmla="*/ 370 w 560"/>
                  <a:gd name="T21" fmla="*/ 733 h 909"/>
                  <a:gd name="T22" fmla="*/ 443 w 560"/>
                  <a:gd name="T23" fmla="*/ 775 h 909"/>
                  <a:gd name="T24" fmla="*/ 463 w 560"/>
                  <a:gd name="T25" fmla="*/ 740 h 909"/>
                  <a:gd name="T26" fmla="*/ 560 w 560"/>
                  <a:gd name="T27" fmla="*/ 909 h 909"/>
                  <a:gd name="T28" fmla="*/ 365 w 560"/>
                  <a:gd name="T29" fmla="*/ 909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0" h="909">
                    <a:moveTo>
                      <a:pt x="365" y="909"/>
                    </a:moveTo>
                    <a:cubicBezTo>
                      <a:pt x="383" y="876"/>
                      <a:pt x="383" y="876"/>
                      <a:pt x="383" y="876"/>
                    </a:cubicBezTo>
                    <a:cubicBezTo>
                      <a:pt x="311" y="835"/>
                      <a:pt x="311" y="835"/>
                      <a:pt x="311" y="835"/>
                    </a:cubicBezTo>
                    <a:cubicBezTo>
                      <a:pt x="275" y="814"/>
                      <a:pt x="275" y="814"/>
                      <a:pt x="275" y="814"/>
                    </a:cubicBezTo>
                    <a:cubicBezTo>
                      <a:pt x="208" y="775"/>
                      <a:pt x="208" y="775"/>
                      <a:pt x="208" y="775"/>
                    </a:cubicBezTo>
                    <a:cubicBezTo>
                      <a:pt x="220" y="760"/>
                      <a:pt x="231" y="744"/>
                      <a:pt x="241" y="726"/>
                    </a:cubicBezTo>
                    <a:cubicBezTo>
                      <a:pt x="358" y="525"/>
                      <a:pt x="288" y="266"/>
                      <a:pt x="87" y="150"/>
                    </a:cubicBezTo>
                    <a:cubicBezTo>
                      <a:pt x="59" y="134"/>
                      <a:pt x="30" y="121"/>
                      <a:pt x="0" y="112"/>
                    </a:cubicBezTo>
                    <a:cubicBezTo>
                      <a:pt x="35" y="0"/>
                      <a:pt x="35" y="0"/>
                      <a:pt x="35" y="0"/>
                    </a:cubicBezTo>
                    <a:cubicBezTo>
                      <a:pt x="73" y="11"/>
                      <a:pt x="110" y="27"/>
                      <a:pt x="146" y="48"/>
                    </a:cubicBezTo>
                    <a:cubicBezTo>
                      <a:pt x="386" y="187"/>
                      <a:pt x="479" y="484"/>
                      <a:pt x="370" y="733"/>
                    </a:cubicBezTo>
                    <a:cubicBezTo>
                      <a:pt x="443" y="775"/>
                      <a:pt x="443" y="775"/>
                      <a:pt x="443" y="775"/>
                    </a:cubicBezTo>
                    <a:cubicBezTo>
                      <a:pt x="463" y="740"/>
                      <a:pt x="463" y="740"/>
                      <a:pt x="463" y="740"/>
                    </a:cubicBezTo>
                    <a:cubicBezTo>
                      <a:pt x="560" y="909"/>
                      <a:pt x="560" y="909"/>
                      <a:pt x="560" y="909"/>
                    </a:cubicBezTo>
                    <a:lnTo>
                      <a:pt x="365" y="90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a:p>
            </p:txBody>
          </p:sp>
          <p:sp>
            <p:nvSpPr>
              <p:cNvPr id="38" name="Freeform 6">
                <a:extLst>
                  <a:ext uri="{FF2B5EF4-FFF2-40B4-BE49-F238E27FC236}">
                    <a16:creationId xmlns:a16="http://schemas.microsoft.com/office/drawing/2014/main" id="{6393DA4A-C114-412A-8C04-8F492CFFE301}"/>
                  </a:ext>
                </a:extLst>
              </p:cNvPr>
              <p:cNvSpPr>
                <a:spLocks/>
              </p:cNvSpPr>
              <p:nvPr/>
            </p:nvSpPr>
            <p:spPr bwMode="auto">
              <a:xfrm>
                <a:off x="6182556" y="1647749"/>
                <a:ext cx="1952643" cy="2796563"/>
              </a:xfrm>
              <a:custGeom>
                <a:avLst/>
                <a:gdLst>
                  <a:gd name="T0" fmla="*/ 636 w 636"/>
                  <a:gd name="T1" fmla="*/ 169 h 910"/>
                  <a:gd name="T2" fmla="*/ 599 w 636"/>
                  <a:gd name="T3" fmla="*/ 169 h 910"/>
                  <a:gd name="T4" fmla="*/ 599 w 636"/>
                  <a:gd name="T5" fmla="*/ 372 h 910"/>
                  <a:gd name="T6" fmla="*/ 540 w 636"/>
                  <a:gd name="T7" fmla="*/ 367 h 910"/>
                  <a:gd name="T8" fmla="*/ 118 w 636"/>
                  <a:gd name="T9" fmla="*/ 789 h 910"/>
                  <a:gd name="T10" fmla="*/ 128 w 636"/>
                  <a:gd name="T11" fmla="*/ 883 h 910"/>
                  <a:gd name="T12" fmla="*/ 14 w 636"/>
                  <a:gd name="T13" fmla="*/ 910 h 910"/>
                  <a:gd name="T14" fmla="*/ 0 w 636"/>
                  <a:gd name="T15" fmla="*/ 789 h 910"/>
                  <a:gd name="T16" fmla="*/ 481 w 636"/>
                  <a:gd name="T17" fmla="*/ 253 h 910"/>
                  <a:gd name="T18" fmla="*/ 481 w 636"/>
                  <a:gd name="T19" fmla="*/ 169 h 910"/>
                  <a:gd name="T20" fmla="*/ 441 w 636"/>
                  <a:gd name="T21" fmla="*/ 169 h 910"/>
                  <a:gd name="T22" fmla="*/ 539 w 636"/>
                  <a:gd name="T23" fmla="*/ 0 h 910"/>
                  <a:gd name="T24" fmla="*/ 636 w 636"/>
                  <a:gd name="T25" fmla="*/ 169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6" h="910">
                    <a:moveTo>
                      <a:pt x="636" y="169"/>
                    </a:moveTo>
                    <a:cubicBezTo>
                      <a:pt x="599" y="169"/>
                      <a:pt x="599" y="169"/>
                      <a:pt x="599" y="169"/>
                    </a:cubicBezTo>
                    <a:cubicBezTo>
                      <a:pt x="599" y="372"/>
                      <a:pt x="599" y="372"/>
                      <a:pt x="599" y="372"/>
                    </a:cubicBezTo>
                    <a:cubicBezTo>
                      <a:pt x="579" y="369"/>
                      <a:pt x="560" y="367"/>
                      <a:pt x="540" y="367"/>
                    </a:cubicBezTo>
                    <a:cubicBezTo>
                      <a:pt x="307" y="367"/>
                      <a:pt x="118" y="557"/>
                      <a:pt x="118" y="789"/>
                    </a:cubicBezTo>
                    <a:cubicBezTo>
                      <a:pt x="118" y="822"/>
                      <a:pt x="121" y="853"/>
                      <a:pt x="128" y="883"/>
                    </a:cubicBezTo>
                    <a:cubicBezTo>
                      <a:pt x="14" y="910"/>
                      <a:pt x="14" y="910"/>
                      <a:pt x="14" y="910"/>
                    </a:cubicBezTo>
                    <a:cubicBezTo>
                      <a:pt x="5" y="871"/>
                      <a:pt x="0" y="831"/>
                      <a:pt x="0" y="789"/>
                    </a:cubicBezTo>
                    <a:cubicBezTo>
                      <a:pt x="0" y="512"/>
                      <a:pt x="211" y="282"/>
                      <a:pt x="481" y="253"/>
                    </a:cubicBezTo>
                    <a:cubicBezTo>
                      <a:pt x="481" y="169"/>
                      <a:pt x="481" y="169"/>
                      <a:pt x="481" y="169"/>
                    </a:cubicBezTo>
                    <a:cubicBezTo>
                      <a:pt x="441" y="169"/>
                      <a:pt x="441" y="169"/>
                      <a:pt x="441" y="169"/>
                    </a:cubicBezTo>
                    <a:cubicBezTo>
                      <a:pt x="539" y="0"/>
                      <a:pt x="539" y="0"/>
                      <a:pt x="539" y="0"/>
                    </a:cubicBezTo>
                    <a:lnTo>
                      <a:pt x="636" y="16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r-FR"/>
              </a:p>
            </p:txBody>
          </p:sp>
          <p:sp>
            <p:nvSpPr>
              <p:cNvPr id="39" name="Freeform 7">
                <a:extLst>
                  <a:ext uri="{FF2B5EF4-FFF2-40B4-BE49-F238E27FC236}">
                    <a16:creationId xmlns:a16="http://schemas.microsoft.com/office/drawing/2014/main" id="{09B07576-2F1A-4CCC-A716-D5ECA137A527}"/>
                  </a:ext>
                </a:extLst>
              </p:cNvPr>
              <p:cNvSpPr>
                <a:spLocks/>
              </p:cNvSpPr>
              <p:nvPr/>
            </p:nvSpPr>
            <p:spPr bwMode="auto">
              <a:xfrm>
                <a:off x="5741670" y="4490709"/>
                <a:ext cx="3226058" cy="1379982"/>
              </a:xfrm>
              <a:custGeom>
                <a:avLst/>
                <a:gdLst>
                  <a:gd name="T0" fmla="*/ 1051 w 1051"/>
                  <a:gd name="T1" fmla="*/ 238 h 449"/>
                  <a:gd name="T2" fmla="*/ 954 w 1051"/>
                  <a:gd name="T3" fmla="*/ 310 h 449"/>
                  <a:gd name="T4" fmla="*/ 249 w 1051"/>
                  <a:gd name="T5" fmla="*/ 162 h 449"/>
                  <a:gd name="T6" fmla="*/ 176 w 1051"/>
                  <a:gd name="T7" fmla="*/ 204 h 449"/>
                  <a:gd name="T8" fmla="*/ 196 w 1051"/>
                  <a:gd name="T9" fmla="*/ 238 h 449"/>
                  <a:gd name="T10" fmla="*/ 0 w 1051"/>
                  <a:gd name="T11" fmla="*/ 238 h 449"/>
                  <a:gd name="T12" fmla="*/ 99 w 1051"/>
                  <a:gd name="T13" fmla="*/ 69 h 449"/>
                  <a:gd name="T14" fmla="*/ 117 w 1051"/>
                  <a:gd name="T15" fmla="*/ 101 h 449"/>
                  <a:gd name="T16" fmla="*/ 190 w 1051"/>
                  <a:gd name="T17" fmla="*/ 60 h 449"/>
                  <a:gd name="T18" fmla="*/ 226 w 1051"/>
                  <a:gd name="T19" fmla="*/ 39 h 449"/>
                  <a:gd name="T20" fmla="*/ 292 w 1051"/>
                  <a:gd name="T21" fmla="*/ 0 h 449"/>
                  <a:gd name="T22" fmla="*/ 318 w 1051"/>
                  <a:gd name="T23" fmla="*/ 53 h 449"/>
                  <a:gd name="T24" fmla="*/ 895 w 1051"/>
                  <a:gd name="T25" fmla="*/ 208 h 449"/>
                  <a:gd name="T26" fmla="*/ 971 w 1051"/>
                  <a:gd name="T27" fmla="*/ 152 h 449"/>
                  <a:gd name="T28" fmla="*/ 1051 w 1051"/>
                  <a:gd name="T29" fmla="*/ 238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1" h="449">
                    <a:moveTo>
                      <a:pt x="1051" y="238"/>
                    </a:moveTo>
                    <a:cubicBezTo>
                      <a:pt x="1022" y="265"/>
                      <a:pt x="989" y="289"/>
                      <a:pt x="954" y="310"/>
                    </a:cubicBezTo>
                    <a:cubicBezTo>
                      <a:pt x="713" y="449"/>
                      <a:pt x="409" y="381"/>
                      <a:pt x="249" y="162"/>
                    </a:cubicBezTo>
                    <a:cubicBezTo>
                      <a:pt x="176" y="204"/>
                      <a:pt x="176" y="204"/>
                      <a:pt x="176" y="204"/>
                    </a:cubicBezTo>
                    <a:cubicBezTo>
                      <a:pt x="196" y="238"/>
                      <a:pt x="196" y="238"/>
                      <a:pt x="196" y="238"/>
                    </a:cubicBezTo>
                    <a:cubicBezTo>
                      <a:pt x="0" y="238"/>
                      <a:pt x="0" y="238"/>
                      <a:pt x="0" y="238"/>
                    </a:cubicBezTo>
                    <a:cubicBezTo>
                      <a:pt x="99" y="69"/>
                      <a:pt x="99" y="69"/>
                      <a:pt x="99" y="69"/>
                    </a:cubicBezTo>
                    <a:cubicBezTo>
                      <a:pt x="117" y="101"/>
                      <a:pt x="117" y="101"/>
                      <a:pt x="117" y="101"/>
                    </a:cubicBezTo>
                    <a:cubicBezTo>
                      <a:pt x="190" y="60"/>
                      <a:pt x="190" y="60"/>
                      <a:pt x="190" y="60"/>
                    </a:cubicBezTo>
                    <a:cubicBezTo>
                      <a:pt x="226" y="39"/>
                      <a:pt x="226" y="39"/>
                      <a:pt x="226" y="39"/>
                    </a:cubicBezTo>
                    <a:cubicBezTo>
                      <a:pt x="292" y="0"/>
                      <a:pt x="292" y="0"/>
                      <a:pt x="292" y="0"/>
                    </a:cubicBezTo>
                    <a:cubicBezTo>
                      <a:pt x="300" y="18"/>
                      <a:pt x="308" y="36"/>
                      <a:pt x="318" y="53"/>
                    </a:cubicBezTo>
                    <a:cubicBezTo>
                      <a:pt x="435" y="255"/>
                      <a:pt x="693" y="324"/>
                      <a:pt x="895" y="208"/>
                    </a:cubicBezTo>
                    <a:cubicBezTo>
                      <a:pt x="923" y="192"/>
                      <a:pt x="948" y="173"/>
                      <a:pt x="971" y="152"/>
                    </a:cubicBezTo>
                    <a:lnTo>
                      <a:pt x="1051" y="23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fr-FR"/>
              </a:p>
            </p:txBody>
          </p:sp>
        </p:grpSp>
        <p:sp>
          <p:nvSpPr>
            <p:cNvPr id="31" name="Ellipse 30">
              <a:extLst>
                <a:ext uri="{FF2B5EF4-FFF2-40B4-BE49-F238E27FC236}">
                  <a16:creationId xmlns:a16="http://schemas.microsoft.com/office/drawing/2014/main" id="{8E94126A-BFEF-48A6-90AC-5E900EB8F975}"/>
                </a:ext>
              </a:extLst>
            </p:cNvPr>
            <p:cNvSpPr/>
            <p:nvPr/>
          </p:nvSpPr>
          <p:spPr>
            <a:xfrm>
              <a:off x="7019461" y="2930555"/>
              <a:ext cx="2246880" cy="2219308"/>
            </a:xfrm>
            <a:prstGeom prst="ellipse">
              <a:avLst/>
            </a:prstGeom>
            <a:solidFill>
              <a:schemeClr val="bg1"/>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ZoneTexte 32">
              <a:extLst>
                <a:ext uri="{FF2B5EF4-FFF2-40B4-BE49-F238E27FC236}">
                  <a16:creationId xmlns:a16="http://schemas.microsoft.com/office/drawing/2014/main" id="{8E48B8CC-5A12-4490-9984-9936F464081A}"/>
                </a:ext>
              </a:extLst>
            </p:cNvPr>
            <p:cNvSpPr txBox="1"/>
            <p:nvPr/>
          </p:nvSpPr>
          <p:spPr>
            <a:xfrm>
              <a:off x="7208545" y="3708666"/>
              <a:ext cx="1859491" cy="577081"/>
            </a:xfrm>
            <a:prstGeom prst="rect">
              <a:avLst/>
            </a:prstGeom>
            <a:noFill/>
          </p:spPr>
          <p:txBody>
            <a:bodyPr wrap="square" rtlCol="0">
              <a:spAutoFit/>
            </a:bodyPr>
            <a:lstStyle/>
            <a:p>
              <a:pPr algn="ctr"/>
              <a:r>
                <a:rPr lang="fr-FR" sz="1050" b="1" dirty="0">
                  <a:latin typeface="Tahoma" panose="020B0604030504040204" pitchFamily="34" charset="0"/>
                  <a:ea typeface="Tahoma" panose="020B0604030504040204" pitchFamily="34" charset="0"/>
                  <a:cs typeface="Tahoma" panose="020B0604030504040204" pitchFamily="34" charset="0"/>
                </a:rPr>
                <a:t>En quoi l’agilité à l’échelle trouve sa place dans les organisations ?</a:t>
              </a:r>
              <a:endParaRPr lang="fr-FR" sz="1050" dirty="0">
                <a:latin typeface="Tahoma" panose="020B0604030504040204" pitchFamily="34" charset="0"/>
                <a:ea typeface="Tahoma" panose="020B0604030504040204" pitchFamily="34" charset="0"/>
                <a:cs typeface="Tahoma" panose="020B0604030504040204" pitchFamily="34" charset="0"/>
              </a:endParaRPr>
            </a:p>
          </p:txBody>
        </p:sp>
        <p:sp>
          <p:nvSpPr>
            <p:cNvPr id="34" name="ZoneTexte 33">
              <a:extLst>
                <a:ext uri="{FF2B5EF4-FFF2-40B4-BE49-F238E27FC236}">
                  <a16:creationId xmlns:a16="http://schemas.microsoft.com/office/drawing/2014/main" id="{1AAA3746-BA40-44BF-9036-E6AC073AAC33}"/>
                </a:ext>
              </a:extLst>
            </p:cNvPr>
            <p:cNvSpPr txBox="1"/>
            <p:nvPr/>
          </p:nvSpPr>
          <p:spPr>
            <a:xfrm>
              <a:off x="8393026" y="1536807"/>
              <a:ext cx="3499052" cy="900246"/>
            </a:xfrm>
            <a:prstGeom prst="rect">
              <a:avLst/>
            </a:prstGeom>
            <a:noFill/>
          </p:spPr>
          <p:txBody>
            <a:bodyPr wrap="square" rtlCol="0">
              <a:spAutoFit/>
            </a:bodyPr>
            <a:lstStyle/>
            <a:p>
              <a:r>
                <a:rPr lang="fr-FR" sz="1050" b="1" dirty="0">
                  <a:solidFill>
                    <a:schemeClr val="tx2"/>
                  </a:solidFill>
                  <a:latin typeface="Tahoma" panose="020B0604030504040204" pitchFamily="34" charset="0"/>
                  <a:ea typeface="Tahoma" panose="020B0604030504040204" pitchFamily="34" charset="0"/>
                  <a:cs typeface="Tahoma" panose="020B0604030504040204" pitchFamily="34" charset="0"/>
                </a:rPr>
                <a:t>Mon équipe est trop grande pour les méthodes agiles classiques</a:t>
              </a:r>
              <a:endParaRPr lang="fr-FR" sz="1050" dirty="0">
                <a:solidFill>
                  <a:schemeClr val="tx2"/>
                </a:solidFill>
                <a:latin typeface="Tahoma" panose="020B0604030504040204" pitchFamily="34" charset="0"/>
                <a:ea typeface="Tahoma" panose="020B0604030504040204" pitchFamily="34" charset="0"/>
                <a:cs typeface="Tahoma" panose="020B0604030504040204" pitchFamily="34" charset="0"/>
              </a:endParaRPr>
            </a:p>
            <a:p>
              <a:r>
                <a:rPr lang="it-IT" sz="1050" dirty="0">
                  <a:latin typeface="Tahoma" panose="020B0604030504040204" pitchFamily="34" charset="0"/>
                  <a:ea typeface="Tahoma" panose="020B0604030504040204" pitchFamily="34" charset="0"/>
                  <a:cs typeface="Tahoma" panose="020B0604030504040204" pitchFamily="34" charset="0"/>
                </a:rPr>
                <a:t>La </a:t>
              </a:r>
              <a:r>
                <a:rPr lang="it-IT" sz="1050" dirty="0" err="1">
                  <a:latin typeface="Tahoma" panose="020B0604030504040204" pitchFamily="34" charset="0"/>
                  <a:ea typeface="Tahoma" panose="020B0604030504040204" pitchFamily="34" charset="0"/>
                  <a:cs typeface="Tahoma" panose="020B0604030504040204" pitchFamily="34" charset="0"/>
                </a:rPr>
                <a:t>taille</a:t>
              </a:r>
              <a:r>
                <a:rPr lang="it-IT" sz="1050" dirty="0">
                  <a:latin typeface="Tahoma" panose="020B0604030504040204" pitchFamily="34" charset="0"/>
                  <a:ea typeface="Tahoma" panose="020B0604030504040204" pitchFamily="34" charset="0"/>
                  <a:cs typeface="Tahoma" panose="020B0604030504040204" pitchFamily="34" charset="0"/>
                </a:rPr>
                <a:t> </a:t>
              </a:r>
              <a:r>
                <a:rPr lang="it-IT" sz="1050" dirty="0" err="1">
                  <a:latin typeface="Tahoma" panose="020B0604030504040204" pitchFamily="34" charset="0"/>
                  <a:ea typeface="Tahoma" panose="020B0604030504040204" pitchFamily="34" charset="0"/>
                  <a:cs typeface="Tahoma" panose="020B0604030504040204" pitchFamily="34" charset="0"/>
                </a:rPr>
                <a:t>critique</a:t>
              </a:r>
              <a:r>
                <a:rPr lang="it-IT" sz="1050" dirty="0">
                  <a:latin typeface="Tahoma" panose="020B0604030504040204" pitchFamily="34" charset="0"/>
                  <a:ea typeface="Tahoma" panose="020B0604030504040204" pitchFamily="34" charset="0"/>
                  <a:cs typeface="Tahoma" panose="020B0604030504040204" pitchFamily="34" charset="0"/>
                </a:rPr>
                <a:t> d’une équipe </a:t>
              </a:r>
              <a:r>
                <a:rPr lang="it-IT" sz="1050" dirty="0" err="1">
                  <a:latin typeface="Tahoma" panose="020B0604030504040204" pitchFamily="34" charset="0"/>
                  <a:ea typeface="Tahoma" panose="020B0604030504040204" pitchFamily="34" charset="0"/>
                  <a:cs typeface="Tahoma" panose="020B0604030504040204" pitchFamily="34" charset="0"/>
                </a:rPr>
                <a:t>Scrum</a:t>
              </a:r>
              <a:r>
                <a:rPr lang="it-IT" sz="1050" dirty="0">
                  <a:latin typeface="Tahoma" panose="020B0604030504040204" pitchFamily="34" charset="0"/>
                  <a:ea typeface="Tahoma" panose="020B0604030504040204" pitchFamily="34" charset="0"/>
                  <a:cs typeface="Tahoma" panose="020B0604030504040204" pitchFamily="34" charset="0"/>
                </a:rPr>
                <a:t> est de 9-10 </a:t>
              </a:r>
              <a:r>
                <a:rPr lang="it-IT" sz="1050" dirty="0" err="1">
                  <a:latin typeface="Tahoma" panose="020B0604030504040204" pitchFamily="34" charset="0"/>
                  <a:ea typeface="Tahoma" panose="020B0604030504040204" pitchFamily="34" charset="0"/>
                  <a:cs typeface="Tahoma" panose="020B0604030504040204" pitchFamily="34" charset="0"/>
                </a:rPr>
                <a:t>personnes</a:t>
              </a:r>
              <a:r>
                <a:rPr lang="it-IT" sz="1050" dirty="0">
                  <a:latin typeface="Tahoma" panose="020B0604030504040204" pitchFamily="34" charset="0"/>
                  <a:ea typeface="Tahoma" panose="020B0604030504040204" pitchFamily="34" charset="0"/>
                  <a:cs typeface="Tahoma" panose="020B0604030504040204" pitchFamily="34" charset="0"/>
                </a:rPr>
                <a:t>. Il </a:t>
              </a:r>
              <a:r>
                <a:rPr lang="it-IT" sz="1050" dirty="0" err="1">
                  <a:latin typeface="Tahoma" panose="020B0604030504040204" pitchFamily="34" charset="0"/>
                  <a:ea typeface="Tahoma" panose="020B0604030504040204" pitchFamily="34" charset="0"/>
                  <a:cs typeface="Tahoma" panose="020B0604030504040204" pitchFamily="34" charset="0"/>
                </a:rPr>
                <a:t>existe</a:t>
              </a:r>
              <a:r>
                <a:rPr lang="it-IT" sz="1050" dirty="0">
                  <a:latin typeface="Tahoma" panose="020B0604030504040204" pitchFamily="34" charset="0"/>
                  <a:ea typeface="Tahoma" panose="020B0604030504040204" pitchFamily="34" charset="0"/>
                  <a:cs typeface="Tahoma" panose="020B0604030504040204" pitchFamily="34" charset="0"/>
                </a:rPr>
                <a:t> </a:t>
              </a:r>
              <a:r>
                <a:rPr lang="it-IT" sz="1050" dirty="0" err="1">
                  <a:latin typeface="Tahoma" panose="020B0604030504040204" pitchFamily="34" charset="0"/>
                  <a:ea typeface="Tahoma" panose="020B0604030504040204" pitchFamily="34" charset="0"/>
                  <a:cs typeface="Tahoma" panose="020B0604030504040204" pitchFamily="34" charset="0"/>
                </a:rPr>
                <a:t>peu</a:t>
              </a:r>
              <a:r>
                <a:rPr lang="it-IT" sz="1050" dirty="0">
                  <a:latin typeface="Tahoma" panose="020B0604030504040204" pitchFamily="34" charset="0"/>
                  <a:ea typeface="Tahoma" panose="020B0604030504040204" pitchFamily="34" charset="0"/>
                  <a:cs typeface="Tahoma" panose="020B0604030504040204" pitchFamily="34" charset="0"/>
                </a:rPr>
                <a:t> de </a:t>
              </a:r>
              <a:r>
                <a:rPr lang="it-IT" sz="1050" dirty="0" err="1">
                  <a:latin typeface="Tahoma" panose="020B0604030504040204" pitchFamily="34" charset="0"/>
                  <a:ea typeface="Tahoma" panose="020B0604030504040204" pitchFamily="34" charset="0"/>
                  <a:cs typeface="Tahoma" panose="020B0604030504040204" pitchFamily="34" charset="0"/>
                </a:rPr>
                <a:t>méthodes</a:t>
              </a:r>
              <a:r>
                <a:rPr lang="it-IT" sz="1050" dirty="0">
                  <a:latin typeface="Tahoma" panose="020B0604030504040204" pitchFamily="34" charset="0"/>
                  <a:ea typeface="Tahoma" panose="020B0604030504040204" pitchFamily="34" charset="0"/>
                  <a:cs typeface="Tahoma" panose="020B0604030504040204" pitchFamily="34" charset="0"/>
                </a:rPr>
                <a:t> </a:t>
              </a:r>
              <a:r>
                <a:rPr lang="it-IT" sz="1050" dirty="0" err="1">
                  <a:latin typeface="Tahoma" panose="020B0604030504040204" pitchFamily="34" charset="0"/>
                  <a:ea typeface="Tahoma" panose="020B0604030504040204" pitchFamily="34" charset="0"/>
                  <a:cs typeface="Tahoma" panose="020B0604030504040204" pitchFamily="34" charset="0"/>
                </a:rPr>
                <a:t>agiles</a:t>
              </a:r>
              <a:r>
                <a:rPr lang="it-IT" sz="1050" dirty="0">
                  <a:latin typeface="Tahoma" panose="020B0604030504040204" pitchFamily="34" charset="0"/>
                  <a:ea typeface="Tahoma" panose="020B0604030504040204" pitchFamily="34" charset="0"/>
                  <a:cs typeface="Tahoma" panose="020B0604030504040204" pitchFamily="34" charset="0"/>
                </a:rPr>
                <a:t> </a:t>
              </a:r>
              <a:r>
                <a:rPr lang="it-IT" sz="1050" dirty="0" err="1">
                  <a:latin typeface="Tahoma" panose="020B0604030504040204" pitchFamily="34" charset="0"/>
                  <a:ea typeface="Tahoma" panose="020B0604030504040204" pitchFamily="34" charset="0"/>
                  <a:cs typeface="Tahoma" panose="020B0604030504040204" pitchFamily="34" charset="0"/>
                </a:rPr>
                <a:t>adaptées</a:t>
              </a:r>
              <a:r>
                <a:rPr lang="it-IT" sz="1050" dirty="0">
                  <a:latin typeface="Tahoma" panose="020B0604030504040204" pitchFamily="34" charset="0"/>
                  <a:ea typeface="Tahoma" panose="020B0604030504040204" pitchFamily="34" charset="0"/>
                  <a:cs typeface="Tahoma" panose="020B0604030504040204" pitchFamily="34" charset="0"/>
                </a:rPr>
                <a:t> </a:t>
              </a:r>
              <a:r>
                <a:rPr lang="it-IT" sz="1050" dirty="0" err="1">
                  <a:latin typeface="Tahoma" panose="020B0604030504040204" pitchFamily="34" charset="0"/>
                  <a:ea typeface="Tahoma" panose="020B0604030504040204" pitchFamily="34" charset="0"/>
                  <a:cs typeface="Tahoma" panose="020B0604030504040204" pitchFamily="34" charset="0"/>
                </a:rPr>
                <a:t>aux</a:t>
              </a:r>
              <a:r>
                <a:rPr lang="it-IT" sz="1050" dirty="0">
                  <a:latin typeface="Tahoma" panose="020B0604030504040204" pitchFamily="34" charset="0"/>
                  <a:ea typeface="Tahoma" panose="020B0604030504040204" pitchFamily="34" charset="0"/>
                  <a:cs typeface="Tahoma" panose="020B0604030504040204" pitchFamily="34" charset="0"/>
                </a:rPr>
                <a:t> </a:t>
              </a:r>
              <a:r>
                <a:rPr lang="it-IT" sz="1050" dirty="0" err="1">
                  <a:latin typeface="Tahoma" panose="020B0604030504040204" pitchFamily="34" charset="0"/>
                  <a:ea typeface="Tahoma" panose="020B0604030504040204" pitchFamily="34" charset="0"/>
                  <a:cs typeface="Tahoma" panose="020B0604030504040204" pitchFamily="34" charset="0"/>
                </a:rPr>
                <a:t>programmes</a:t>
              </a:r>
              <a:r>
                <a:rPr lang="it-IT" sz="1050" dirty="0">
                  <a:latin typeface="Tahoma" panose="020B0604030504040204" pitchFamily="34" charset="0"/>
                  <a:ea typeface="Tahoma" panose="020B0604030504040204" pitchFamily="34" charset="0"/>
                  <a:cs typeface="Tahoma" panose="020B0604030504040204" pitchFamily="34" charset="0"/>
                </a:rPr>
                <a:t> de 50+ </a:t>
              </a:r>
              <a:r>
                <a:rPr lang="it-IT" sz="1050" dirty="0" err="1">
                  <a:latin typeface="Tahoma" panose="020B0604030504040204" pitchFamily="34" charset="0"/>
                  <a:ea typeface="Tahoma" panose="020B0604030504040204" pitchFamily="34" charset="0"/>
                  <a:cs typeface="Tahoma" panose="020B0604030504040204" pitchFamily="34" charset="0"/>
                </a:rPr>
                <a:t>collaborateurs</a:t>
              </a:r>
              <a:endParaRPr lang="fr-FR" sz="1050" dirty="0">
                <a:latin typeface="Tahoma" panose="020B0604030504040204" pitchFamily="34" charset="0"/>
                <a:ea typeface="Tahoma" panose="020B0604030504040204" pitchFamily="34" charset="0"/>
                <a:cs typeface="Tahoma" panose="020B0604030504040204" pitchFamily="34" charset="0"/>
              </a:endParaRPr>
            </a:p>
          </p:txBody>
        </p:sp>
        <p:sp>
          <p:nvSpPr>
            <p:cNvPr id="35" name="ZoneTexte 34">
              <a:extLst>
                <a:ext uri="{FF2B5EF4-FFF2-40B4-BE49-F238E27FC236}">
                  <a16:creationId xmlns:a16="http://schemas.microsoft.com/office/drawing/2014/main" id="{066F4215-2128-40BF-AC9D-CCA0D44964B6}"/>
                </a:ext>
              </a:extLst>
            </p:cNvPr>
            <p:cNvSpPr txBox="1"/>
            <p:nvPr/>
          </p:nvSpPr>
          <p:spPr>
            <a:xfrm>
              <a:off x="9648299" y="5282804"/>
              <a:ext cx="2307487" cy="900246"/>
            </a:xfrm>
            <a:prstGeom prst="rect">
              <a:avLst/>
            </a:prstGeom>
            <a:noFill/>
          </p:spPr>
          <p:txBody>
            <a:bodyPr wrap="square" rtlCol="0">
              <a:spAutoFit/>
            </a:bodyPr>
            <a:lstStyle/>
            <a:p>
              <a:r>
                <a:rPr lang="fr-FR" sz="1050" b="1" dirty="0">
                  <a:latin typeface="Tahoma" panose="020B0604030504040204" pitchFamily="34" charset="0"/>
                  <a:ea typeface="Tahoma" panose="020B0604030504040204" pitchFamily="34" charset="0"/>
                  <a:cs typeface="Tahoma" panose="020B0604030504040204" pitchFamily="34" charset="0"/>
                </a:rPr>
                <a:t>Notre management n’est pas du tout agile</a:t>
              </a:r>
              <a:endParaRPr lang="fr-FR" sz="1050" dirty="0">
                <a:latin typeface="Tahoma" panose="020B0604030504040204" pitchFamily="34" charset="0"/>
                <a:ea typeface="Tahoma" panose="020B0604030504040204" pitchFamily="34" charset="0"/>
                <a:cs typeface="Tahoma" panose="020B0604030504040204" pitchFamily="34" charset="0"/>
              </a:endParaRPr>
            </a:p>
            <a:p>
              <a:r>
                <a:rPr lang="it-IT" sz="1050" dirty="0">
                  <a:latin typeface="Tahoma" panose="020B0604030504040204" pitchFamily="34" charset="0"/>
                  <a:ea typeface="Tahoma" panose="020B0604030504040204" pitchFamily="34" charset="0"/>
                  <a:cs typeface="Tahoma" panose="020B0604030504040204" pitchFamily="34" charset="0"/>
                </a:rPr>
                <a:t>Il est difficile de </a:t>
              </a:r>
              <a:r>
                <a:rPr lang="it-IT" sz="1050" dirty="0" err="1">
                  <a:latin typeface="Tahoma" panose="020B0604030504040204" pitchFamily="34" charset="0"/>
                  <a:ea typeface="Tahoma" panose="020B0604030504040204" pitchFamily="34" charset="0"/>
                  <a:cs typeface="Tahoma" panose="020B0604030504040204" pitchFamily="34" charset="0"/>
                </a:rPr>
                <a:t>pratiquer</a:t>
              </a:r>
              <a:r>
                <a:rPr lang="it-IT" sz="1050" dirty="0">
                  <a:latin typeface="Tahoma" panose="020B0604030504040204" pitchFamily="34" charset="0"/>
                  <a:ea typeface="Tahoma" panose="020B0604030504040204" pitchFamily="34" charset="0"/>
                  <a:cs typeface="Tahoma" panose="020B0604030504040204" pitchFamily="34" charset="0"/>
                </a:rPr>
                <a:t> l’</a:t>
              </a:r>
              <a:r>
                <a:rPr lang="it-IT" sz="1050" dirty="0" err="1">
                  <a:latin typeface="Tahoma" panose="020B0604030504040204" pitchFamily="34" charset="0"/>
                  <a:ea typeface="Tahoma" panose="020B0604030504040204" pitchFamily="34" charset="0"/>
                  <a:cs typeface="Tahoma" panose="020B0604030504040204" pitchFamily="34" charset="0"/>
                </a:rPr>
                <a:t>agilité</a:t>
              </a:r>
              <a:r>
                <a:rPr lang="it-IT" sz="1050" dirty="0">
                  <a:latin typeface="Tahoma" panose="020B0604030504040204" pitchFamily="34" charset="0"/>
                  <a:ea typeface="Tahoma" panose="020B0604030504040204" pitchFamily="34" charset="0"/>
                  <a:cs typeface="Tahoma" panose="020B0604030504040204" pitchFamily="34" charset="0"/>
                </a:rPr>
                <a:t> </a:t>
              </a:r>
              <a:r>
                <a:rPr lang="it-IT" sz="1050" dirty="0" err="1">
                  <a:latin typeface="Tahoma" panose="020B0604030504040204" pitchFamily="34" charset="0"/>
                  <a:ea typeface="Tahoma" panose="020B0604030504040204" pitchFamily="34" charset="0"/>
                  <a:cs typeface="Tahoma" panose="020B0604030504040204" pitchFamily="34" charset="0"/>
                </a:rPr>
                <a:t>lorsque</a:t>
              </a:r>
              <a:r>
                <a:rPr lang="it-IT" sz="1050" dirty="0">
                  <a:latin typeface="Tahoma" panose="020B0604030504040204" pitchFamily="34" charset="0"/>
                  <a:ea typeface="Tahoma" panose="020B0604030504040204" pitchFamily="34" charset="0"/>
                  <a:cs typeface="Tahoma" panose="020B0604030504040204" pitchFamily="34" charset="0"/>
                </a:rPr>
                <a:t> le </a:t>
              </a:r>
              <a:r>
                <a:rPr lang="it-IT" sz="1050" dirty="0" err="1">
                  <a:latin typeface="Tahoma" panose="020B0604030504040204" pitchFamily="34" charset="0"/>
                  <a:ea typeface="Tahoma" panose="020B0604030504040204" pitchFamily="34" charset="0"/>
                  <a:cs typeface="Tahoma" panose="020B0604030504040204" pitchFamily="34" charset="0"/>
                </a:rPr>
                <a:t>cadre</a:t>
              </a:r>
              <a:r>
                <a:rPr lang="it-IT" sz="1050" dirty="0">
                  <a:latin typeface="Tahoma" panose="020B0604030504040204" pitchFamily="34" charset="0"/>
                  <a:ea typeface="Tahoma" panose="020B0604030504040204" pitchFamily="34" charset="0"/>
                  <a:cs typeface="Tahoma" panose="020B0604030504040204" pitchFamily="34" charset="0"/>
                </a:rPr>
                <a:t> </a:t>
              </a:r>
              <a:r>
                <a:rPr lang="it-IT" sz="1050" dirty="0" err="1">
                  <a:latin typeface="Tahoma" panose="020B0604030504040204" pitchFamily="34" charset="0"/>
                  <a:ea typeface="Tahoma" panose="020B0604030504040204" pitchFamily="34" charset="0"/>
                  <a:cs typeface="Tahoma" panose="020B0604030504040204" pitchFamily="34" charset="0"/>
                </a:rPr>
                <a:t>contractuel</a:t>
              </a:r>
              <a:r>
                <a:rPr lang="it-IT" sz="1050" dirty="0">
                  <a:latin typeface="Tahoma" panose="020B0604030504040204" pitchFamily="34" charset="0"/>
                  <a:ea typeface="Tahoma" panose="020B0604030504040204" pitchFamily="34" charset="0"/>
                  <a:cs typeface="Tahoma" panose="020B0604030504040204" pitchFamily="34" charset="0"/>
                </a:rPr>
                <a:t> </a:t>
              </a:r>
              <a:r>
                <a:rPr lang="it-IT" sz="1050" dirty="0" err="1">
                  <a:latin typeface="Tahoma" panose="020B0604030504040204" pitchFamily="34" charset="0"/>
                  <a:ea typeface="Tahoma" panose="020B0604030504040204" pitchFamily="34" charset="0"/>
                  <a:cs typeface="Tahoma" panose="020B0604030504040204" pitchFamily="34" charset="0"/>
                </a:rPr>
                <a:t>ou</a:t>
              </a:r>
              <a:r>
                <a:rPr lang="it-IT" sz="1050" dirty="0">
                  <a:latin typeface="Tahoma" panose="020B0604030504040204" pitchFamily="34" charset="0"/>
                  <a:ea typeface="Tahoma" panose="020B0604030504040204" pitchFamily="34" charset="0"/>
                  <a:cs typeface="Tahoma" panose="020B0604030504040204" pitchFamily="34" charset="0"/>
                </a:rPr>
                <a:t> </a:t>
              </a:r>
              <a:r>
                <a:rPr lang="it-IT" sz="1050" dirty="0" err="1">
                  <a:latin typeface="Tahoma" panose="020B0604030504040204" pitchFamily="34" charset="0"/>
                  <a:ea typeface="Tahoma" panose="020B0604030504040204" pitchFamily="34" charset="0"/>
                  <a:cs typeface="Tahoma" panose="020B0604030504040204" pitchFamily="34" charset="0"/>
                </a:rPr>
                <a:t>règlementaire</a:t>
              </a:r>
              <a:r>
                <a:rPr lang="it-IT" sz="1050" dirty="0">
                  <a:latin typeface="Tahoma" panose="020B0604030504040204" pitchFamily="34" charset="0"/>
                  <a:ea typeface="Tahoma" panose="020B0604030504040204" pitchFamily="34" charset="0"/>
                  <a:cs typeface="Tahoma" panose="020B0604030504040204" pitchFamily="34" charset="0"/>
                </a:rPr>
                <a:t> ne le </a:t>
              </a:r>
              <a:r>
                <a:rPr lang="it-IT" sz="1050" dirty="0" err="1">
                  <a:latin typeface="Tahoma" panose="020B0604030504040204" pitchFamily="34" charset="0"/>
                  <a:ea typeface="Tahoma" panose="020B0604030504040204" pitchFamily="34" charset="0"/>
                  <a:cs typeface="Tahoma" panose="020B0604030504040204" pitchFamily="34" charset="0"/>
                </a:rPr>
                <a:t>permet</a:t>
              </a:r>
              <a:r>
                <a:rPr lang="it-IT" sz="1050" dirty="0">
                  <a:latin typeface="Tahoma" panose="020B0604030504040204" pitchFamily="34" charset="0"/>
                  <a:ea typeface="Tahoma" panose="020B0604030504040204" pitchFamily="34" charset="0"/>
                  <a:cs typeface="Tahoma" panose="020B0604030504040204" pitchFamily="34" charset="0"/>
                </a:rPr>
                <a:t> </a:t>
              </a:r>
              <a:r>
                <a:rPr lang="it-IT" sz="1050" dirty="0" err="1">
                  <a:latin typeface="Tahoma" panose="020B0604030504040204" pitchFamily="34" charset="0"/>
                  <a:ea typeface="Tahoma" panose="020B0604030504040204" pitchFamily="34" charset="0"/>
                  <a:cs typeface="Tahoma" panose="020B0604030504040204" pitchFamily="34" charset="0"/>
                </a:rPr>
                <a:t>pas</a:t>
              </a:r>
              <a:endParaRPr lang="fr-FR" sz="1050" dirty="0">
                <a:latin typeface="Tahoma" panose="020B0604030504040204" pitchFamily="34" charset="0"/>
                <a:ea typeface="Tahoma" panose="020B0604030504040204" pitchFamily="34" charset="0"/>
                <a:cs typeface="Tahoma" panose="020B0604030504040204" pitchFamily="34" charset="0"/>
              </a:endParaRPr>
            </a:p>
          </p:txBody>
        </p:sp>
        <p:sp>
          <p:nvSpPr>
            <p:cNvPr id="36" name="ZoneTexte 35">
              <a:extLst>
                <a:ext uri="{FF2B5EF4-FFF2-40B4-BE49-F238E27FC236}">
                  <a16:creationId xmlns:a16="http://schemas.microsoft.com/office/drawing/2014/main" id="{F82F7A6D-26F1-4968-8FCF-09EE8F836FEF}"/>
                </a:ext>
              </a:extLst>
            </p:cNvPr>
            <p:cNvSpPr txBox="1"/>
            <p:nvPr/>
          </p:nvSpPr>
          <p:spPr>
            <a:xfrm>
              <a:off x="4323020" y="5281882"/>
              <a:ext cx="2307487" cy="1061829"/>
            </a:xfrm>
            <a:prstGeom prst="rect">
              <a:avLst/>
            </a:prstGeom>
            <a:noFill/>
          </p:spPr>
          <p:txBody>
            <a:bodyPr wrap="square" rtlCol="0">
              <a:spAutoFit/>
            </a:bodyPr>
            <a:lstStyle/>
            <a:p>
              <a:pPr algn="r"/>
              <a:r>
                <a:rPr lang="fr-FR" sz="1050" b="1" dirty="0">
                  <a:solidFill>
                    <a:schemeClr val="bg2"/>
                  </a:solidFill>
                  <a:latin typeface="Tahoma" panose="020B0604030504040204" pitchFamily="34" charset="0"/>
                  <a:ea typeface="Tahoma" panose="020B0604030504040204" pitchFamily="34" charset="0"/>
                  <a:cs typeface="Tahoma" panose="020B0604030504040204" pitchFamily="34" charset="0"/>
                </a:rPr>
                <a:t>Nous avons plusieurs équipes Scrum qui travaillent sur des briques SI interconnectées</a:t>
              </a:r>
              <a:endParaRPr lang="fr-FR" sz="1050" dirty="0">
                <a:solidFill>
                  <a:schemeClr val="bg2"/>
                </a:solidFill>
                <a:latin typeface="Tahoma" panose="020B0604030504040204" pitchFamily="34" charset="0"/>
                <a:ea typeface="Tahoma" panose="020B0604030504040204" pitchFamily="34" charset="0"/>
                <a:cs typeface="Tahoma" panose="020B0604030504040204" pitchFamily="34" charset="0"/>
              </a:endParaRPr>
            </a:p>
            <a:p>
              <a:pPr algn="r"/>
              <a:r>
                <a:rPr lang="it-IT" sz="1050" dirty="0">
                  <a:latin typeface="Tahoma" panose="020B0604030504040204" pitchFamily="34" charset="0"/>
                  <a:ea typeface="Tahoma" panose="020B0604030504040204" pitchFamily="34" charset="0"/>
                  <a:cs typeface="Tahoma" panose="020B0604030504040204" pitchFamily="34" charset="0"/>
                </a:rPr>
                <a:t>Sans </a:t>
              </a:r>
              <a:r>
                <a:rPr lang="it-IT" sz="1050" dirty="0" err="1">
                  <a:latin typeface="Tahoma" panose="020B0604030504040204" pitchFamily="34" charset="0"/>
                  <a:ea typeface="Tahoma" panose="020B0604030504040204" pitchFamily="34" charset="0"/>
                  <a:cs typeface="Tahoma" panose="020B0604030504040204" pitchFamily="34" charset="0"/>
                </a:rPr>
                <a:t>synchronisation</a:t>
              </a:r>
              <a:r>
                <a:rPr lang="it-IT" sz="1050" dirty="0">
                  <a:latin typeface="Tahoma" panose="020B0604030504040204" pitchFamily="34" charset="0"/>
                  <a:ea typeface="Tahoma" panose="020B0604030504040204" pitchFamily="34" charset="0"/>
                  <a:cs typeface="Tahoma" panose="020B0604030504040204" pitchFamily="34" charset="0"/>
                </a:rPr>
                <a:t> </a:t>
              </a:r>
              <a:r>
                <a:rPr lang="it-IT" sz="1050" dirty="0" err="1">
                  <a:latin typeface="Tahoma" panose="020B0604030504040204" pitchFamily="34" charset="0"/>
                  <a:ea typeface="Tahoma" panose="020B0604030504040204" pitchFamily="34" charset="0"/>
                  <a:cs typeface="Tahoma" panose="020B0604030504040204" pitchFamily="34" charset="0"/>
                </a:rPr>
                <a:t>entre</a:t>
              </a:r>
              <a:r>
                <a:rPr lang="it-IT" sz="1050" dirty="0">
                  <a:latin typeface="Tahoma" panose="020B0604030504040204" pitchFamily="34" charset="0"/>
                  <a:ea typeface="Tahoma" panose="020B0604030504040204" pitchFamily="34" charset="0"/>
                  <a:cs typeface="Tahoma" panose="020B0604030504040204" pitchFamily="34" charset="0"/>
                </a:rPr>
                <a:t> </a:t>
              </a:r>
              <a:r>
                <a:rPr lang="it-IT" sz="1050" dirty="0" err="1">
                  <a:latin typeface="Tahoma" panose="020B0604030504040204" pitchFamily="34" charset="0"/>
                  <a:ea typeface="Tahoma" panose="020B0604030504040204" pitchFamily="34" charset="0"/>
                  <a:cs typeface="Tahoma" panose="020B0604030504040204" pitchFamily="34" charset="0"/>
                </a:rPr>
                <a:t>les</a:t>
              </a:r>
              <a:r>
                <a:rPr lang="it-IT" sz="1050" dirty="0">
                  <a:latin typeface="Tahoma" panose="020B0604030504040204" pitchFamily="34" charset="0"/>
                  <a:ea typeface="Tahoma" panose="020B0604030504040204" pitchFamily="34" charset="0"/>
                  <a:cs typeface="Tahoma" panose="020B0604030504040204" pitchFamily="34" charset="0"/>
                </a:rPr>
                <a:t> équipes, </a:t>
              </a:r>
              <a:r>
                <a:rPr lang="it-IT" sz="1050" dirty="0" err="1">
                  <a:latin typeface="Tahoma" panose="020B0604030504040204" pitchFamily="34" charset="0"/>
                  <a:ea typeface="Tahoma" panose="020B0604030504040204" pitchFamily="34" charset="0"/>
                  <a:cs typeface="Tahoma" panose="020B0604030504040204" pitchFamily="34" charset="0"/>
                </a:rPr>
                <a:t>des</a:t>
              </a:r>
              <a:r>
                <a:rPr lang="it-IT" sz="1050" dirty="0">
                  <a:latin typeface="Tahoma" panose="020B0604030504040204" pitchFamily="34" charset="0"/>
                  <a:ea typeface="Tahoma" panose="020B0604030504040204" pitchFamily="34" charset="0"/>
                  <a:cs typeface="Tahoma" panose="020B0604030504040204" pitchFamily="34" charset="0"/>
                </a:rPr>
                <a:t> </a:t>
              </a:r>
              <a:r>
                <a:rPr lang="it-IT" sz="1050" dirty="0" err="1">
                  <a:latin typeface="Tahoma" panose="020B0604030504040204" pitchFamily="34" charset="0"/>
                  <a:ea typeface="Tahoma" panose="020B0604030504040204" pitchFamily="34" charset="0"/>
                  <a:cs typeface="Tahoma" panose="020B0604030504040204" pitchFamily="34" charset="0"/>
                </a:rPr>
                <a:t>difficultés</a:t>
              </a:r>
              <a:r>
                <a:rPr lang="it-IT" sz="1050" dirty="0">
                  <a:latin typeface="Tahoma" panose="020B0604030504040204" pitchFamily="34" charset="0"/>
                  <a:ea typeface="Tahoma" panose="020B0604030504040204" pitchFamily="34" charset="0"/>
                  <a:cs typeface="Tahoma" panose="020B0604030504040204" pitchFamily="34" charset="0"/>
                </a:rPr>
                <a:t> </a:t>
              </a:r>
              <a:r>
                <a:rPr lang="it-IT" sz="1050" dirty="0" err="1">
                  <a:latin typeface="Tahoma" panose="020B0604030504040204" pitchFamily="34" charset="0"/>
                  <a:ea typeface="Tahoma" panose="020B0604030504040204" pitchFamily="34" charset="0"/>
                  <a:cs typeface="Tahoma" panose="020B0604030504040204" pitchFamily="34" charset="0"/>
                </a:rPr>
                <a:t>opérationnelles</a:t>
              </a:r>
              <a:r>
                <a:rPr lang="it-IT" sz="1050" dirty="0">
                  <a:latin typeface="Tahoma" panose="020B0604030504040204" pitchFamily="34" charset="0"/>
                  <a:ea typeface="Tahoma" panose="020B0604030504040204" pitchFamily="34" charset="0"/>
                  <a:cs typeface="Tahoma" panose="020B0604030504040204" pitchFamily="34" charset="0"/>
                </a:rPr>
                <a:t> </a:t>
              </a:r>
              <a:r>
                <a:rPr lang="it-IT" sz="1050" dirty="0" err="1">
                  <a:latin typeface="Tahoma" panose="020B0604030504040204" pitchFamily="34" charset="0"/>
                  <a:ea typeface="Tahoma" panose="020B0604030504040204" pitchFamily="34" charset="0"/>
                  <a:cs typeface="Tahoma" panose="020B0604030504040204" pitchFamily="34" charset="0"/>
                </a:rPr>
                <a:t>apparaissent</a:t>
              </a:r>
              <a:endParaRPr lang="fr-FR" sz="1050" dirty="0">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28869765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7</a:t>
            </a:fld>
            <a:endParaRPr lang="fr-FR" dirty="0"/>
          </a:p>
        </p:txBody>
      </p:sp>
      <p:sp>
        <p:nvSpPr>
          <p:cNvPr id="5" name="Espace réservé du texte 4"/>
          <p:cNvSpPr>
            <a:spLocks noGrp="1"/>
          </p:cNvSpPr>
          <p:nvPr>
            <p:ph type="body" idx="1"/>
          </p:nvPr>
        </p:nvSpPr>
        <p:spPr/>
        <p:txBody>
          <a:bodyPr/>
          <a:lstStyle/>
          <a:p>
            <a:r>
              <a:rPr lang="fr-FR" dirty="0"/>
              <a:t>L’état des lieux</a:t>
            </a:r>
          </a:p>
        </p:txBody>
      </p:sp>
      <p:sp>
        <p:nvSpPr>
          <p:cNvPr id="6" name="Titre 5"/>
          <p:cNvSpPr>
            <a:spLocks noGrp="1"/>
          </p:cNvSpPr>
          <p:nvPr>
            <p:ph type="title"/>
          </p:nvPr>
        </p:nvSpPr>
        <p:spPr/>
        <p:txBody>
          <a:bodyPr/>
          <a:lstStyle/>
          <a:p>
            <a:r>
              <a:rPr lang="fr-FR" dirty="0"/>
              <a:t>Pourquoi l’agilité à l’échelle ?</a:t>
            </a:r>
          </a:p>
        </p:txBody>
      </p:sp>
      <p:sp>
        <p:nvSpPr>
          <p:cNvPr id="16" name="Rectangle à coins arrondis 29">
            <a:extLst>
              <a:ext uri="{FF2B5EF4-FFF2-40B4-BE49-F238E27FC236}">
                <a16:creationId xmlns:a16="http://schemas.microsoft.com/office/drawing/2014/main" id="{4AFE05D5-01FC-4DDD-9A1B-16B3962866DE}"/>
              </a:ext>
            </a:extLst>
          </p:cNvPr>
          <p:cNvSpPr/>
          <p:nvPr/>
        </p:nvSpPr>
        <p:spPr>
          <a:xfrm>
            <a:off x="6528048" y="1483581"/>
            <a:ext cx="4320480" cy="2932877"/>
          </a:xfrm>
          <a:prstGeom prst="roundRect">
            <a:avLst/>
          </a:prstGeom>
          <a:solidFill>
            <a:schemeClr val="accent6">
              <a:alpha val="70000"/>
            </a:schemeClr>
          </a:solidFill>
          <a:ln>
            <a:solidFill>
              <a:schemeClr val="accent5">
                <a:shade val="95000"/>
                <a:satMod val="105000"/>
                <a:alpha val="0"/>
              </a:schemeClr>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fr-FR" dirty="0" err="1"/>
              <a:t>SAFe</a:t>
            </a:r>
            <a:endParaRPr lang="fr-FR" dirty="0"/>
          </a:p>
        </p:txBody>
      </p:sp>
      <p:cxnSp>
        <p:nvCxnSpPr>
          <p:cNvPr id="17" name="Connecteur droit avec flèche 16">
            <a:extLst>
              <a:ext uri="{FF2B5EF4-FFF2-40B4-BE49-F238E27FC236}">
                <a16:creationId xmlns:a16="http://schemas.microsoft.com/office/drawing/2014/main" id="{2A4E2E8B-8C36-4D8D-9550-9CE59076A1A7}"/>
              </a:ext>
            </a:extLst>
          </p:cNvPr>
          <p:cNvCxnSpPr/>
          <p:nvPr/>
        </p:nvCxnSpPr>
        <p:spPr>
          <a:xfrm flipH="1" flipV="1">
            <a:off x="1625374" y="1412776"/>
            <a:ext cx="6130" cy="432048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8" name="Connecteur droit avec flèche 17">
            <a:extLst>
              <a:ext uri="{FF2B5EF4-FFF2-40B4-BE49-F238E27FC236}">
                <a16:creationId xmlns:a16="http://schemas.microsoft.com/office/drawing/2014/main" id="{D1C30B45-6A78-490D-9BEE-55D800BAA704}"/>
              </a:ext>
            </a:extLst>
          </p:cNvPr>
          <p:cNvCxnSpPr/>
          <p:nvPr/>
        </p:nvCxnSpPr>
        <p:spPr>
          <a:xfrm flipV="1">
            <a:off x="1625374" y="5733256"/>
            <a:ext cx="9439178" cy="8384"/>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19" name="ZoneTexte 18">
            <a:extLst>
              <a:ext uri="{FF2B5EF4-FFF2-40B4-BE49-F238E27FC236}">
                <a16:creationId xmlns:a16="http://schemas.microsoft.com/office/drawing/2014/main" id="{48ED75FC-8902-45F9-B201-307752614D94}"/>
              </a:ext>
            </a:extLst>
          </p:cNvPr>
          <p:cNvSpPr txBox="1"/>
          <p:nvPr/>
        </p:nvSpPr>
        <p:spPr>
          <a:xfrm>
            <a:off x="5807968" y="5748400"/>
            <a:ext cx="1459054" cy="369332"/>
          </a:xfrm>
          <a:prstGeom prst="rect">
            <a:avLst/>
          </a:prstGeom>
          <a:noFill/>
        </p:spPr>
        <p:txBody>
          <a:bodyPr wrap="none" rtlCol="0">
            <a:spAutoFit/>
          </a:bodyPr>
          <a:lstStyle/>
          <a:p>
            <a:r>
              <a:rPr lang="fr-FR" b="1" dirty="0"/>
              <a:t>Dépendances</a:t>
            </a:r>
          </a:p>
        </p:txBody>
      </p:sp>
      <p:sp>
        <p:nvSpPr>
          <p:cNvPr id="20" name="ZoneTexte 19">
            <a:extLst>
              <a:ext uri="{FF2B5EF4-FFF2-40B4-BE49-F238E27FC236}">
                <a16:creationId xmlns:a16="http://schemas.microsoft.com/office/drawing/2014/main" id="{1D142959-796A-491F-8B22-217E3F0CF93F}"/>
              </a:ext>
            </a:extLst>
          </p:cNvPr>
          <p:cNvSpPr txBox="1"/>
          <p:nvPr/>
        </p:nvSpPr>
        <p:spPr>
          <a:xfrm>
            <a:off x="698480" y="1385652"/>
            <a:ext cx="875624" cy="369332"/>
          </a:xfrm>
          <a:prstGeom prst="rect">
            <a:avLst/>
          </a:prstGeom>
          <a:noFill/>
        </p:spPr>
        <p:txBody>
          <a:bodyPr wrap="none" rtlCol="0">
            <a:spAutoFit/>
          </a:bodyPr>
          <a:lstStyle/>
          <a:p>
            <a:r>
              <a:rPr lang="fr-FR" i="1" dirty="0"/>
              <a:t>Grande</a:t>
            </a:r>
          </a:p>
        </p:txBody>
      </p:sp>
      <p:sp>
        <p:nvSpPr>
          <p:cNvPr id="21" name="ZoneTexte 20">
            <a:extLst>
              <a:ext uri="{FF2B5EF4-FFF2-40B4-BE49-F238E27FC236}">
                <a16:creationId xmlns:a16="http://schemas.microsoft.com/office/drawing/2014/main" id="{3F54BFB4-45D7-476F-BDF3-DE9590518289}"/>
              </a:ext>
            </a:extLst>
          </p:cNvPr>
          <p:cNvSpPr txBox="1"/>
          <p:nvPr/>
        </p:nvSpPr>
        <p:spPr>
          <a:xfrm>
            <a:off x="677046" y="5271771"/>
            <a:ext cx="722955" cy="369332"/>
          </a:xfrm>
          <a:prstGeom prst="rect">
            <a:avLst/>
          </a:prstGeom>
          <a:noFill/>
        </p:spPr>
        <p:txBody>
          <a:bodyPr wrap="none" rtlCol="0">
            <a:spAutoFit/>
          </a:bodyPr>
          <a:lstStyle/>
          <a:p>
            <a:r>
              <a:rPr lang="fr-FR" i="1" dirty="0"/>
              <a:t>Petite</a:t>
            </a:r>
          </a:p>
        </p:txBody>
      </p:sp>
      <p:sp>
        <p:nvSpPr>
          <p:cNvPr id="22" name="ZoneTexte 21">
            <a:extLst>
              <a:ext uri="{FF2B5EF4-FFF2-40B4-BE49-F238E27FC236}">
                <a16:creationId xmlns:a16="http://schemas.microsoft.com/office/drawing/2014/main" id="{DF958D82-5886-437A-AEC4-32CE02981A05}"/>
              </a:ext>
            </a:extLst>
          </p:cNvPr>
          <p:cNvSpPr txBox="1"/>
          <p:nvPr/>
        </p:nvSpPr>
        <p:spPr>
          <a:xfrm>
            <a:off x="1847528" y="5733256"/>
            <a:ext cx="740972" cy="369332"/>
          </a:xfrm>
          <a:prstGeom prst="rect">
            <a:avLst/>
          </a:prstGeom>
          <a:noFill/>
        </p:spPr>
        <p:txBody>
          <a:bodyPr wrap="none" rtlCol="0">
            <a:spAutoFit/>
          </a:bodyPr>
          <a:lstStyle/>
          <a:p>
            <a:r>
              <a:rPr lang="fr-FR" i="1" dirty="0"/>
              <a:t>Faible</a:t>
            </a:r>
          </a:p>
        </p:txBody>
      </p:sp>
      <p:sp>
        <p:nvSpPr>
          <p:cNvPr id="23" name="ZoneTexte 22">
            <a:extLst>
              <a:ext uri="{FF2B5EF4-FFF2-40B4-BE49-F238E27FC236}">
                <a16:creationId xmlns:a16="http://schemas.microsoft.com/office/drawing/2014/main" id="{0ED575FC-F43F-4909-843A-2074F5C11FF3}"/>
              </a:ext>
            </a:extLst>
          </p:cNvPr>
          <p:cNvSpPr txBox="1"/>
          <p:nvPr/>
        </p:nvSpPr>
        <p:spPr>
          <a:xfrm>
            <a:off x="10344472" y="5733256"/>
            <a:ext cx="669222" cy="369332"/>
          </a:xfrm>
          <a:prstGeom prst="rect">
            <a:avLst/>
          </a:prstGeom>
          <a:noFill/>
        </p:spPr>
        <p:txBody>
          <a:bodyPr wrap="none" rtlCol="0">
            <a:spAutoFit/>
          </a:bodyPr>
          <a:lstStyle/>
          <a:p>
            <a:r>
              <a:rPr lang="fr-FR" i="1" dirty="0"/>
              <a:t>Forte</a:t>
            </a:r>
          </a:p>
        </p:txBody>
      </p:sp>
      <p:sp>
        <p:nvSpPr>
          <p:cNvPr id="24" name="Rectangle à coins arrondis 25">
            <a:extLst>
              <a:ext uri="{FF2B5EF4-FFF2-40B4-BE49-F238E27FC236}">
                <a16:creationId xmlns:a16="http://schemas.microsoft.com/office/drawing/2014/main" id="{7FAB9D86-95E9-4244-A4C2-6579D7EB8861}"/>
              </a:ext>
            </a:extLst>
          </p:cNvPr>
          <p:cNvSpPr/>
          <p:nvPr/>
        </p:nvSpPr>
        <p:spPr>
          <a:xfrm>
            <a:off x="2110002" y="1476708"/>
            <a:ext cx="3265918" cy="773916"/>
          </a:xfrm>
          <a:prstGeom prst="roundRect">
            <a:avLst/>
          </a:prstGeom>
          <a:solidFill>
            <a:schemeClr val="accent5">
              <a:alpha val="70000"/>
            </a:schemeClr>
          </a:solidFill>
          <a:ln>
            <a:solidFill>
              <a:schemeClr val="accent5">
                <a:shade val="95000"/>
                <a:satMod val="105000"/>
              </a:schemeClr>
            </a:solid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fr-FR" dirty="0" err="1"/>
              <a:t>LeSS</a:t>
            </a:r>
            <a:r>
              <a:rPr lang="fr-FR" dirty="0"/>
              <a:t> </a:t>
            </a:r>
            <a:r>
              <a:rPr lang="fr-FR" dirty="0" err="1"/>
              <a:t>Huge</a:t>
            </a:r>
            <a:endParaRPr lang="fr-FR" dirty="0"/>
          </a:p>
        </p:txBody>
      </p:sp>
      <p:sp>
        <p:nvSpPr>
          <p:cNvPr id="25" name="ZoneTexte 24">
            <a:extLst>
              <a:ext uri="{FF2B5EF4-FFF2-40B4-BE49-F238E27FC236}">
                <a16:creationId xmlns:a16="http://schemas.microsoft.com/office/drawing/2014/main" id="{319DA54F-EE2E-4979-A310-76B37AEF3C50}"/>
              </a:ext>
            </a:extLst>
          </p:cNvPr>
          <p:cNvSpPr txBox="1"/>
          <p:nvPr/>
        </p:nvSpPr>
        <p:spPr>
          <a:xfrm rot="16200000">
            <a:off x="232887" y="3406627"/>
            <a:ext cx="3169522" cy="307777"/>
          </a:xfrm>
          <a:prstGeom prst="rect">
            <a:avLst/>
          </a:prstGeom>
          <a:noFill/>
        </p:spPr>
        <p:txBody>
          <a:bodyPr wrap="none" rtlCol="0">
            <a:spAutoFit/>
          </a:bodyPr>
          <a:lstStyle/>
          <a:p>
            <a:r>
              <a:rPr lang="fr-FR" sz="1400" i="1" dirty="0"/>
              <a:t>Nombre d’applications, produits, services</a:t>
            </a:r>
          </a:p>
        </p:txBody>
      </p:sp>
      <p:sp>
        <p:nvSpPr>
          <p:cNvPr id="26" name="ZoneTexte 25">
            <a:extLst>
              <a:ext uri="{FF2B5EF4-FFF2-40B4-BE49-F238E27FC236}">
                <a16:creationId xmlns:a16="http://schemas.microsoft.com/office/drawing/2014/main" id="{D1E6FD9D-F55B-4826-B4E1-EDF0447F70D3}"/>
              </a:ext>
            </a:extLst>
          </p:cNvPr>
          <p:cNvSpPr txBox="1"/>
          <p:nvPr/>
        </p:nvSpPr>
        <p:spPr>
          <a:xfrm>
            <a:off x="4693304" y="5203276"/>
            <a:ext cx="3688382" cy="523220"/>
          </a:xfrm>
          <a:prstGeom prst="rect">
            <a:avLst/>
          </a:prstGeom>
          <a:noFill/>
        </p:spPr>
        <p:txBody>
          <a:bodyPr wrap="none" rtlCol="0">
            <a:spAutoFit/>
          </a:bodyPr>
          <a:lstStyle/>
          <a:p>
            <a:r>
              <a:rPr lang="fr-FR" sz="1400" i="1" dirty="0"/>
              <a:t>Alignement architecture/UX, interdépendances, </a:t>
            </a:r>
          </a:p>
          <a:p>
            <a:r>
              <a:rPr lang="fr-FR" sz="1400" i="1" dirty="0"/>
              <a:t>plateformes partagées, forte collaboration</a:t>
            </a:r>
          </a:p>
        </p:txBody>
      </p:sp>
      <p:sp>
        <p:nvSpPr>
          <p:cNvPr id="27" name="Rectangle à coins arrondis 28">
            <a:extLst>
              <a:ext uri="{FF2B5EF4-FFF2-40B4-BE49-F238E27FC236}">
                <a16:creationId xmlns:a16="http://schemas.microsoft.com/office/drawing/2014/main" id="{F3E81779-4499-4087-AD0E-2C669FB0176E}"/>
              </a:ext>
            </a:extLst>
          </p:cNvPr>
          <p:cNvSpPr/>
          <p:nvPr/>
        </p:nvSpPr>
        <p:spPr>
          <a:xfrm>
            <a:off x="2076601" y="2337812"/>
            <a:ext cx="3299319" cy="2078647"/>
          </a:xfrm>
          <a:prstGeom prst="roundRect">
            <a:avLst/>
          </a:prstGeom>
          <a:ln>
            <a:solidFill>
              <a:schemeClr val="accent5">
                <a:shade val="95000"/>
                <a:satMod val="105000"/>
                <a:alpha val="40000"/>
              </a:schemeClr>
            </a:solidFill>
          </a:ln>
        </p:spPr>
        <p:style>
          <a:lnRef idx="1">
            <a:schemeClr val="accent4"/>
          </a:lnRef>
          <a:fillRef idx="3">
            <a:schemeClr val="accent4"/>
          </a:fillRef>
          <a:effectRef idx="2">
            <a:schemeClr val="accent4"/>
          </a:effectRef>
          <a:fontRef idx="minor">
            <a:schemeClr val="lt1"/>
          </a:fontRef>
        </p:style>
        <p:txBody>
          <a:bodyPr rtlCol="0" anchor="ctr"/>
          <a:lstStyle/>
          <a:p>
            <a:pPr algn="ctr"/>
            <a:r>
              <a:rPr lang="fr-FR" dirty="0" err="1"/>
              <a:t>LeSS</a:t>
            </a:r>
            <a:r>
              <a:rPr lang="fr-FR" dirty="0"/>
              <a:t> / Nexus / </a:t>
            </a:r>
            <a:r>
              <a:rPr lang="fr-FR" dirty="0" err="1"/>
              <a:t>Spotify</a:t>
            </a:r>
            <a:r>
              <a:rPr lang="fr-FR" dirty="0"/>
              <a:t> </a:t>
            </a:r>
          </a:p>
        </p:txBody>
      </p:sp>
      <p:sp>
        <p:nvSpPr>
          <p:cNvPr id="28" name="Rectangle à coins arrondis 30">
            <a:extLst>
              <a:ext uri="{FF2B5EF4-FFF2-40B4-BE49-F238E27FC236}">
                <a16:creationId xmlns:a16="http://schemas.microsoft.com/office/drawing/2014/main" id="{DC598D46-49B4-4E8E-A72E-C3FBCA57AE2F}"/>
              </a:ext>
            </a:extLst>
          </p:cNvPr>
          <p:cNvSpPr/>
          <p:nvPr/>
        </p:nvSpPr>
        <p:spPr>
          <a:xfrm>
            <a:off x="4871864" y="1463117"/>
            <a:ext cx="2088232" cy="2234425"/>
          </a:xfrm>
          <a:prstGeom prst="roundRect">
            <a:avLst/>
          </a:prstGeom>
          <a:solidFill>
            <a:schemeClr val="accent1">
              <a:alpha val="70000"/>
            </a:schemeClr>
          </a:solidFill>
          <a:ln>
            <a:solidFill>
              <a:schemeClr val="accent5">
                <a:shade val="95000"/>
                <a:satMod val="105000"/>
                <a:alpha val="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dirty="0"/>
              <a:t>DAD</a:t>
            </a:r>
          </a:p>
        </p:txBody>
      </p:sp>
      <p:sp>
        <p:nvSpPr>
          <p:cNvPr id="32" name="Rectangle à coins arrondis 31">
            <a:extLst>
              <a:ext uri="{FF2B5EF4-FFF2-40B4-BE49-F238E27FC236}">
                <a16:creationId xmlns:a16="http://schemas.microsoft.com/office/drawing/2014/main" id="{2C3AAA7A-0F7C-4940-9F02-2EC1C6163FAB}"/>
              </a:ext>
            </a:extLst>
          </p:cNvPr>
          <p:cNvSpPr/>
          <p:nvPr/>
        </p:nvSpPr>
        <p:spPr>
          <a:xfrm>
            <a:off x="2110002" y="3714432"/>
            <a:ext cx="8738526" cy="735035"/>
          </a:xfrm>
          <a:prstGeom prst="roundRect">
            <a:avLst/>
          </a:prstGeom>
          <a:solidFill>
            <a:schemeClr val="tx2">
              <a:lumMod val="75000"/>
              <a:lumOff val="25000"/>
              <a:alpha val="70000"/>
            </a:schemeClr>
          </a:solidFill>
          <a:ln>
            <a:solidFill>
              <a:schemeClr val="accent5">
                <a:shade val="95000"/>
                <a:satMod val="105000"/>
                <a:alpha val="40000"/>
              </a:schemeClr>
            </a:solidFill>
          </a:ln>
        </p:spPr>
        <p:style>
          <a:lnRef idx="1">
            <a:schemeClr val="dk1"/>
          </a:lnRef>
          <a:fillRef idx="3">
            <a:schemeClr val="dk1"/>
          </a:fillRef>
          <a:effectRef idx="2">
            <a:schemeClr val="dk1"/>
          </a:effectRef>
          <a:fontRef idx="minor">
            <a:schemeClr val="lt1"/>
          </a:fontRef>
        </p:style>
        <p:txBody>
          <a:bodyPr rtlCol="0" anchor="ctr"/>
          <a:lstStyle/>
          <a:p>
            <a:pPr algn="ctr"/>
            <a:r>
              <a:rPr lang="fr-FR" sz="1600" dirty="0" err="1"/>
              <a:t>Scrum</a:t>
            </a:r>
            <a:r>
              <a:rPr lang="fr-FR" sz="1600" dirty="0"/>
              <a:t> of </a:t>
            </a:r>
            <a:r>
              <a:rPr lang="fr-FR" sz="1600" dirty="0" err="1"/>
              <a:t>Scrum</a:t>
            </a:r>
            <a:endParaRPr lang="fr-FR" sz="1600" dirty="0"/>
          </a:p>
        </p:txBody>
      </p:sp>
      <p:sp>
        <p:nvSpPr>
          <p:cNvPr id="40" name="Rectangle à coins arrondis 32">
            <a:extLst>
              <a:ext uri="{FF2B5EF4-FFF2-40B4-BE49-F238E27FC236}">
                <a16:creationId xmlns:a16="http://schemas.microsoft.com/office/drawing/2014/main" id="{2C6BA390-565C-4658-9F94-E4FB09BABDB8}"/>
              </a:ext>
            </a:extLst>
          </p:cNvPr>
          <p:cNvSpPr/>
          <p:nvPr/>
        </p:nvSpPr>
        <p:spPr>
          <a:xfrm>
            <a:off x="2076600" y="4473116"/>
            <a:ext cx="8771927" cy="601046"/>
          </a:xfrm>
          <a:prstGeom prst="roundRect">
            <a:avLst/>
          </a:prstGeom>
          <a:solidFill>
            <a:schemeClr val="accent3">
              <a:alpha val="70000"/>
            </a:schemeClr>
          </a:solidFill>
          <a:ln>
            <a:solidFill>
              <a:schemeClr val="accent5">
                <a:shade val="95000"/>
                <a:satMod val="105000"/>
                <a:alpha val="40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fr-FR" dirty="0"/>
              <a:t>Kanban / </a:t>
            </a:r>
            <a:r>
              <a:rPr lang="fr-FR" dirty="0" err="1"/>
              <a:t>Scrum</a:t>
            </a:r>
            <a:r>
              <a:rPr lang="fr-FR" dirty="0"/>
              <a:t> / </a:t>
            </a:r>
            <a:r>
              <a:rPr lang="fr-FR" dirty="0" err="1"/>
              <a:t>Scrumban</a:t>
            </a:r>
            <a:endParaRPr lang="fr-FR" dirty="0"/>
          </a:p>
        </p:txBody>
      </p:sp>
    </p:spTree>
    <p:extLst>
      <p:ext uri="{BB962C8B-B14F-4D97-AF65-F5344CB8AC3E}">
        <p14:creationId xmlns:p14="http://schemas.microsoft.com/office/powerpoint/2010/main" val="37515898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8</a:t>
            </a:fld>
            <a:endParaRPr lang="fr-FR" dirty="0"/>
          </a:p>
        </p:txBody>
      </p:sp>
      <p:sp>
        <p:nvSpPr>
          <p:cNvPr id="5" name="Espace réservé du texte 4"/>
          <p:cNvSpPr>
            <a:spLocks noGrp="1"/>
          </p:cNvSpPr>
          <p:nvPr>
            <p:ph type="body" idx="1"/>
          </p:nvPr>
        </p:nvSpPr>
        <p:spPr/>
        <p:txBody>
          <a:bodyPr/>
          <a:lstStyle/>
          <a:p>
            <a:r>
              <a:rPr lang="fr-FR" dirty="0"/>
              <a:t>Combien d’entreprises utilisent </a:t>
            </a:r>
            <a:r>
              <a:rPr lang="fr-FR" dirty="0" err="1"/>
              <a:t>SAFe</a:t>
            </a:r>
            <a:r>
              <a:rPr lang="fr-FR" dirty="0"/>
              <a:t> en France ?</a:t>
            </a:r>
          </a:p>
        </p:txBody>
      </p:sp>
      <p:sp>
        <p:nvSpPr>
          <p:cNvPr id="6" name="Titre 5"/>
          <p:cNvSpPr>
            <a:spLocks noGrp="1"/>
          </p:cNvSpPr>
          <p:nvPr>
            <p:ph type="title"/>
          </p:nvPr>
        </p:nvSpPr>
        <p:spPr/>
        <p:txBody>
          <a:bodyPr/>
          <a:lstStyle/>
          <a:p>
            <a:r>
              <a:rPr lang="fr-FR" dirty="0"/>
              <a:t>Pourquoi l’agilité à l’échelle ?</a:t>
            </a:r>
          </a:p>
        </p:txBody>
      </p:sp>
      <p:pic>
        <p:nvPicPr>
          <p:cNvPr id="7" name="Image 6">
            <a:extLst>
              <a:ext uri="{FF2B5EF4-FFF2-40B4-BE49-F238E27FC236}">
                <a16:creationId xmlns:a16="http://schemas.microsoft.com/office/drawing/2014/main" id="{D72C0054-B680-4D60-A9EF-7D53C053B1DE}"/>
              </a:ext>
            </a:extLst>
          </p:cNvPr>
          <p:cNvPicPr>
            <a:picLocks noChangeAspect="1"/>
          </p:cNvPicPr>
          <p:nvPr/>
        </p:nvPicPr>
        <p:blipFill>
          <a:blip r:embed="rId2"/>
          <a:stretch>
            <a:fillRect/>
          </a:stretch>
        </p:blipFill>
        <p:spPr>
          <a:xfrm>
            <a:off x="719138" y="1355761"/>
            <a:ext cx="5569036" cy="2313293"/>
          </a:xfrm>
          <a:prstGeom prst="rect">
            <a:avLst/>
          </a:prstGeom>
        </p:spPr>
      </p:pic>
      <p:sp>
        <p:nvSpPr>
          <p:cNvPr id="10" name="ZoneTexte 9">
            <a:extLst>
              <a:ext uri="{FF2B5EF4-FFF2-40B4-BE49-F238E27FC236}">
                <a16:creationId xmlns:a16="http://schemas.microsoft.com/office/drawing/2014/main" id="{92711382-0DB5-4B04-ABBA-99B9A160FD23}"/>
              </a:ext>
            </a:extLst>
          </p:cNvPr>
          <p:cNvSpPr txBox="1"/>
          <p:nvPr/>
        </p:nvSpPr>
        <p:spPr>
          <a:xfrm>
            <a:off x="446534" y="3910571"/>
            <a:ext cx="7110137" cy="2185214"/>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fr-FR" dirty="0"/>
              <a:t>La crise sanitaire n’a pas freiné l’adoption de la méthode </a:t>
            </a:r>
            <a:r>
              <a:rPr lang="fr-FR" dirty="0" err="1"/>
              <a:t>SAFe</a:t>
            </a:r>
            <a:r>
              <a:rPr lang="fr-FR" dirty="0"/>
              <a:t> dans les entreprises françaises</a:t>
            </a:r>
          </a:p>
          <a:p>
            <a:pPr marL="285750" indent="-285750">
              <a:spcBef>
                <a:spcPts val="600"/>
              </a:spcBef>
              <a:buFont typeface="Arial" panose="020B0604020202020204" pitchFamily="34" charset="0"/>
              <a:buChar char="•"/>
            </a:pPr>
            <a:r>
              <a:rPr lang="fr-FR" dirty="0"/>
              <a:t>Les 85 entreprises comptent 296 trains. 41 entreprises n’en ont qu’un tandis que 10 en ont plus de 6.</a:t>
            </a:r>
          </a:p>
          <a:p>
            <a:pPr marL="285750" indent="-285750">
              <a:spcBef>
                <a:spcPts val="600"/>
              </a:spcBef>
              <a:buFont typeface="Arial" panose="020B0604020202020204" pitchFamily="34" charset="0"/>
              <a:buChar char="•"/>
            </a:pPr>
            <a:r>
              <a:rPr lang="fr-FR" dirty="0"/>
              <a:t>62% des trains comptent entre 50 et 125 collaborateurs, 11% des trains comptent plus de 125 collaborateurs et 27% des trains comptent moins de 50 collaborateurs.</a:t>
            </a:r>
          </a:p>
        </p:txBody>
      </p:sp>
      <p:pic>
        <p:nvPicPr>
          <p:cNvPr id="12" name="Image 11">
            <a:extLst>
              <a:ext uri="{FF2B5EF4-FFF2-40B4-BE49-F238E27FC236}">
                <a16:creationId xmlns:a16="http://schemas.microsoft.com/office/drawing/2014/main" id="{6B01F841-FFFD-4664-8AF2-244575906E2A}"/>
              </a:ext>
            </a:extLst>
          </p:cNvPr>
          <p:cNvPicPr>
            <a:picLocks noChangeAspect="1"/>
          </p:cNvPicPr>
          <p:nvPr/>
        </p:nvPicPr>
        <p:blipFill>
          <a:blip r:embed="rId3"/>
          <a:stretch>
            <a:fillRect/>
          </a:stretch>
        </p:blipFill>
        <p:spPr>
          <a:xfrm>
            <a:off x="7637140" y="991940"/>
            <a:ext cx="4554860" cy="5103845"/>
          </a:xfrm>
          <a:prstGeom prst="rect">
            <a:avLst/>
          </a:prstGeom>
        </p:spPr>
      </p:pic>
    </p:spTree>
    <p:extLst>
      <p:ext uri="{BB962C8B-B14F-4D97-AF65-F5344CB8AC3E}">
        <p14:creationId xmlns:p14="http://schemas.microsoft.com/office/powerpoint/2010/main" val="33917577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a:lstStyle/>
          <a:p>
            <a:r>
              <a:rPr lang="fr-FR"/>
              <a:t>Initiation à la méthode SAFe</a:t>
            </a:r>
            <a:endParaRPr lang="fr-FR" dirty="0"/>
          </a:p>
        </p:txBody>
      </p:sp>
      <p:sp>
        <p:nvSpPr>
          <p:cNvPr id="4" name="Espace réservé du numéro de diapositive 3"/>
          <p:cNvSpPr>
            <a:spLocks noGrp="1"/>
          </p:cNvSpPr>
          <p:nvPr>
            <p:ph type="sldNum" sz="quarter" idx="12"/>
          </p:nvPr>
        </p:nvSpPr>
        <p:spPr/>
        <p:txBody>
          <a:bodyPr/>
          <a:lstStyle/>
          <a:p>
            <a:fld id="{975A587B-5814-4D9B-9598-FE9CB954CB01}" type="slidenum">
              <a:rPr lang="fr-FR" smtClean="0"/>
              <a:t>9</a:t>
            </a:fld>
            <a:endParaRPr lang="fr-FR" dirty="0"/>
          </a:p>
        </p:txBody>
      </p:sp>
      <p:sp>
        <p:nvSpPr>
          <p:cNvPr id="5" name="Espace réservé du texte 4"/>
          <p:cNvSpPr>
            <a:spLocks noGrp="1"/>
          </p:cNvSpPr>
          <p:nvPr>
            <p:ph type="body" idx="1"/>
          </p:nvPr>
        </p:nvSpPr>
        <p:spPr/>
        <p:txBody>
          <a:bodyPr/>
          <a:lstStyle/>
          <a:p>
            <a:r>
              <a:rPr lang="fr-FR" dirty="0"/>
              <a:t>Quelles grandes entreprises utilisent </a:t>
            </a:r>
            <a:r>
              <a:rPr lang="fr-FR" dirty="0" err="1"/>
              <a:t>SAFe</a:t>
            </a:r>
            <a:r>
              <a:rPr lang="fr-FR" dirty="0"/>
              <a:t> en France ?</a:t>
            </a:r>
          </a:p>
        </p:txBody>
      </p:sp>
      <p:sp>
        <p:nvSpPr>
          <p:cNvPr id="6" name="Titre 5"/>
          <p:cNvSpPr>
            <a:spLocks noGrp="1"/>
          </p:cNvSpPr>
          <p:nvPr>
            <p:ph type="title"/>
          </p:nvPr>
        </p:nvSpPr>
        <p:spPr/>
        <p:txBody>
          <a:bodyPr/>
          <a:lstStyle/>
          <a:p>
            <a:r>
              <a:rPr lang="fr-FR" dirty="0"/>
              <a:t>Pourquoi l’agilité à l’échelle ?</a:t>
            </a:r>
          </a:p>
        </p:txBody>
      </p:sp>
      <p:grpSp>
        <p:nvGrpSpPr>
          <p:cNvPr id="2" name="Groupe 1">
            <a:extLst>
              <a:ext uri="{FF2B5EF4-FFF2-40B4-BE49-F238E27FC236}">
                <a16:creationId xmlns:a16="http://schemas.microsoft.com/office/drawing/2014/main" id="{F45FFDAC-1A97-4C01-8E6C-A8FA5C68D9A3}"/>
              </a:ext>
            </a:extLst>
          </p:cNvPr>
          <p:cNvGrpSpPr/>
          <p:nvPr/>
        </p:nvGrpSpPr>
        <p:grpSpPr>
          <a:xfrm>
            <a:off x="408892" y="1416123"/>
            <a:ext cx="11371992" cy="5418667"/>
            <a:chOff x="726241" y="1522884"/>
            <a:chExt cx="11371992" cy="5418667"/>
          </a:xfrm>
        </p:grpSpPr>
        <p:pic>
          <p:nvPicPr>
            <p:cNvPr id="9" name="Picture 14" descr="Résultat de recherche d'images pour &quot;logo education nationale png&quot;">
              <a:extLst>
                <a:ext uri="{FF2B5EF4-FFF2-40B4-BE49-F238E27FC236}">
                  <a16:creationId xmlns:a16="http://schemas.microsoft.com/office/drawing/2014/main" id="{21E9367E-CF4B-4441-BF64-0A3EE3176AD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3062" t="10348" r="15540" b="20168"/>
            <a:stretch/>
          </p:blipFill>
          <p:spPr bwMode="auto">
            <a:xfrm>
              <a:off x="8832304" y="2236736"/>
              <a:ext cx="1800200" cy="88245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descr="Résultat de recherche d'images pour &quot;logo michelin 2017&quot;">
              <a:extLst>
                <a:ext uri="{FF2B5EF4-FFF2-40B4-BE49-F238E27FC236}">
                  <a16:creationId xmlns:a16="http://schemas.microsoft.com/office/drawing/2014/main" id="{96A834FF-D02F-4082-A1AC-CDA854B1B0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02296" y="5372657"/>
              <a:ext cx="2181910" cy="79264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 name="Diagramme 14">
              <a:extLst>
                <a:ext uri="{FF2B5EF4-FFF2-40B4-BE49-F238E27FC236}">
                  <a16:creationId xmlns:a16="http://schemas.microsoft.com/office/drawing/2014/main" id="{6F68634D-8CB0-49F0-879C-F0D79916DED8}"/>
                </a:ext>
              </a:extLst>
            </p:cNvPr>
            <p:cNvGraphicFramePr/>
            <p:nvPr>
              <p:extLst>
                <p:ext uri="{D42A27DB-BD31-4B8C-83A1-F6EECF244321}">
                  <p14:modId xmlns:p14="http://schemas.microsoft.com/office/powerpoint/2010/main" val="2554834762"/>
                </p:ext>
              </p:extLst>
            </p:nvPr>
          </p:nvGraphicFramePr>
          <p:xfrm>
            <a:off x="726241" y="1522884"/>
            <a:ext cx="9968656"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16" name="Connecteur droit 15">
              <a:extLst>
                <a:ext uri="{FF2B5EF4-FFF2-40B4-BE49-F238E27FC236}">
                  <a16:creationId xmlns:a16="http://schemas.microsoft.com/office/drawing/2014/main" id="{48F0437B-F2C6-49DA-B314-5BEDD367A097}"/>
                </a:ext>
              </a:extLst>
            </p:cNvPr>
            <p:cNvCxnSpPr/>
            <p:nvPr/>
          </p:nvCxnSpPr>
          <p:spPr>
            <a:xfrm flipV="1">
              <a:off x="2567608" y="3402992"/>
              <a:ext cx="19105" cy="541176"/>
            </a:xfrm>
            <a:prstGeom prst="line">
              <a:avLst/>
            </a:prstGeom>
            <a:ln/>
          </p:spPr>
          <p:style>
            <a:lnRef idx="3">
              <a:schemeClr val="accent4"/>
            </a:lnRef>
            <a:fillRef idx="0">
              <a:schemeClr val="accent4"/>
            </a:fillRef>
            <a:effectRef idx="2">
              <a:schemeClr val="accent4"/>
            </a:effectRef>
            <a:fontRef idx="minor">
              <a:schemeClr val="tx1"/>
            </a:fontRef>
          </p:style>
        </p:cxnSp>
        <p:pic>
          <p:nvPicPr>
            <p:cNvPr id="17" name="Picture 6" descr="http://logok.org/wp-content/uploads/2014/09/AXA_logo-880x660.png">
              <a:extLst>
                <a:ext uri="{FF2B5EF4-FFF2-40B4-BE49-F238E27FC236}">
                  <a16:creationId xmlns:a16="http://schemas.microsoft.com/office/drawing/2014/main" id="{57D4E8A6-8FAE-4F44-BAB0-9BB099DF473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8776" t="21224" r="28270" b="21504"/>
            <a:stretch/>
          </p:blipFill>
          <p:spPr bwMode="auto">
            <a:xfrm>
              <a:off x="2226673" y="2673784"/>
              <a:ext cx="720080" cy="720080"/>
            </a:xfrm>
            <a:prstGeom prst="rect">
              <a:avLst/>
            </a:prstGeom>
            <a:noFill/>
            <a:extLst>
              <a:ext uri="{909E8E84-426E-40DD-AFC4-6F175D3DCCD1}">
                <a14:hiddenFill xmlns:a14="http://schemas.microsoft.com/office/drawing/2010/main">
                  <a:solidFill>
                    <a:srgbClr val="FFFFFF"/>
                  </a:solidFill>
                </a14:hiddenFill>
              </a:ext>
            </a:extLst>
          </p:spPr>
        </p:pic>
        <p:cxnSp>
          <p:nvCxnSpPr>
            <p:cNvPr id="18" name="Connecteur droit 17">
              <a:extLst>
                <a:ext uri="{FF2B5EF4-FFF2-40B4-BE49-F238E27FC236}">
                  <a16:creationId xmlns:a16="http://schemas.microsoft.com/office/drawing/2014/main" id="{82D82A61-0596-45AC-B5B2-280BFEDDC0CC}"/>
                </a:ext>
              </a:extLst>
            </p:cNvPr>
            <p:cNvCxnSpPr/>
            <p:nvPr/>
          </p:nvCxnSpPr>
          <p:spPr>
            <a:xfrm flipV="1">
              <a:off x="4655840" y="4520232"/>
              <a:ext cx="0" cy="1080120"/>
            </a:xfrm>
            <a:prstGeom prst="line">
              <a:avLst/>
            </a:prstGeom>
            <a:ln/>
          </p:spPr>
          <p:style>
            <a:lnRef idx="3">
              <a:schemeClr val="accent5"/>
            </a:lnRef>
            <a:fillRef idx="0">
              <a:schemeClr val="accent5"/>
            </a:fillRef>
            <a:effectRef idx="2">
              <a:schemeClr val="accent5"/>
            </a:effectRef>
            <a:fontRef idx="minor">
              <a:schemeClr val="tx1"/>
            </a:fontRef>
          </p:style>
        </p:cxnSp>
        <p:pic>
          <p:nvPicPr>
            <p:cNvPr id="19" name="Picture 10" descr="Résultat de recherche d'images pour &quot;logo pole emploi 2016&quot;">
              <a:extLst>
                <a:ext uri="{FF2B5EF4-FFF2-40B4-BE49-F238E27FC236}">
                  <a16:creationId xmlns:a16="http://schemas.microsoft.com/office/drawing/2014/main" id="{15C49CBA-6810-4049-B42A-554992F7A62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675362" y="2726606"/>
              <a:ext cx="942603" cy="785162"/>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Connecteur droit 19">
              <a:extLst>
                <a:ext uri="{FF2B5EF4-FFF2-40B4-BE49-F238E27FC236}">
                  <a16:creationId xmlns:a16="http://schemas.microsoft.com/office/drawing/2014/main" id="{20AF1217-6DAA-442C-8139-1416369A38F7}"/>
                </a:ext>
              </a:extLst>
            </p:cNvPr>
            <p:cNvCxnSpPr/>
            <p:nvPr/>
          </p:nvCxnSpPr>
          <p:spPr>
            <a:xfrm flipV="1">
              <a:off x="5663952" y="2853804"/>
              <a:ext cx="0" cy="1080120"/>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21" name="Connecteur droit 20">
              <a:extLst>
                <a:ext uri="{FF2B5EF4-FFF2-40B4-BE49-F238E27FC236}">
                  <a16:creationId xmlns:a16="http://schemas.microsoft.com/office/drawing/2014/main" id="{FD6E099C-FA95-48D9-9D91-D9C89FCAA8CF}"/>
                </a:ext>
              </a:extLst>
            </p:cNvPr>
            <p:cNvCxnSpPr/>
            <p:nvPr/>
          </p:nvCxnSpPr>
          <p:spPr>
            <a:xfrm flipV="1">
              <a:off x="8760296" y="2862932"/>
              <a:ext cx="0" cy="1080120"/>
            </a:xfrm>
            <a:prstGeom prst="line">
              <a:avLst/>
            </a:prstGeom>
            <a:ln/>
          </p:spPr>
          <p:style>
            <a:lnRef idx="3">
              <a:schemeClr val="accent4"/>
            </a:lnRef>
            <a:fillRef idx="0">
              <a:schemeClr val="accent4"/>
            </a:fillRef>
            <a:effectRef idx="2">
              <a:schemeClr val="accent4"/>
            </a:effectRef>
            <a:fontRef idx="minor">
              <a:schemeClr val="tx1"/>
            </a:fontRef>
          </p:style>
        </p:cxnSp>
        <p:pic>
          <p:nvPicPr>
            <p:cNvPr id="22" name="Picture 12" descr="https://upload.wikimedia.org/wikipedia/fr/7/77/Logo_enedis_header.png">
              <a:extLst>
                <a:ext uri="{FF2B5EF4-FFF2-40B4-BE49-F238E27FC236}">
                  <a16:creationId xmlns:a16="http://schemas.microsoft.com/office/drawing/2014/main" id="{BA638A99-F8A2-4690-81C3-F27298C053C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627408" y="2311046"/>
              <a:ext cx="1403921" cy="526471"/>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Connecteur droit 22">
              <a:extLst>
                <a:ext uri="{FF2B5EF4-FFF2-40B4-BE49-F238E27FC236}">
                  <a16:creationId xmlns:a16="http://schemas.microsoft.com/office/drawing/2014/main" id="{E0267E91-80DF-4F69-A7CA-2BF2CC893CAB}"/>
                </a:ext>
              </a:extLst>
            </p:cNvPr>
            <p:cNvCxnSpPr/>
            <p:nvPr/>
          </p:nvCxnSpPr>
          <p:spPr>
            <a:xfrm flipV="1">
              <a:off x="7824192" y="4520232"/>
              <a:ext cx="0" cy="1080120"/>
            </a:xfrm>
            <a:prstGeom prst="line">
              <a:avLst/>
            </a:prstGeom>
            <a:ln/>
          </p:spPr>
          <p:style>
            <a:lnRef idx="3">
              <a:schemeClr val="accent4"/>
            </a:lnRef>
            <a:fillRef idx="0">
              <a:schemeClr val="accent4"/>
            </a:fillRef>
            <a:effectRef idx="2">
              <a:schemeClr val="accent4"/>
            </a:effectRef>
            <a:fontRef idx="minor">
              <a:schemeClr val="tx1"/>
            </a:fontRef>
          </p:style>
        </p:cxnSp>
        <p:pic>
          <p:nvPicPr>
            <p:cNvPr id="24" name="Picture 18" descr="Résultat de recherche d'images pour &quot;société générale logo&quot;">
              <a:extLst>
                <a:ext uri="{FF2B5EF4-FFF2-40B4-BE49-F238E27FC236}">
                  <a16:creationId xmlns:a16="http://schemas.microsoft.com/office/drawing/2014/main" id="{49375DCF-9B70-4DA0-A20A-6E6CE99E090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883353" y="5300650"/>
              <a:ext cx="811382" cy="81138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0" descr="Résultat de recherche d'images pour &quot;logo orange&quot;">
              <a:extLst>
                <a:ext uri="{FF2B5EF4-FFF2-40B4-BE49-F238E27FC236}">
                  <a16:creationId xmlns:a16="http://schemas.microsoft.com/office/drawing/2014/main" id="{E5AC734A-0E3A-468D-98FB-2366C94A6F2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548260" y="2992074"/>
              <a:ext cx="744279" cy="74427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2" descr="Résultat de recherche d'images pour &quot;yves rocher logo&quot;">
              <a:extLst>
                <a:ext uri="{FF2B5EF4-FFF2-40B4-BE49-F238E27FC236}">
                  <a16:creationId xmlns:a16="http://schemas.microsoft.com/office/drawing/2014/main" id="{22B86F79-1076-4CE9-9122-5DEB0DDE79E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963596" y="3074598"/>
              <a:ext cx="1475929" cy="65678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6" descr="Résultat de recherche d'images pour &quot;airbus logo 2016&quot;">
              <a:extLst>
                <a:ext uri="{FF2B5EF4-FFF2-40B4-BE49-F238E27FC236}">
                  <a16:creationId xmlns:a16="http://schemas.microsoft.com/office/drawing/2014/main" id="{F48BF2DB-285B-409E-AC33-7329BFC4D186}"/>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29512" b="34702"/>
            <a:stretch/>
          </p:blipFill>
          <p:spPr bwMode="auto">
            <a:xfrm>
              <a:off x="8518726" y="1693979"/>
              <a:ext cx="2197544" cy="47807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Résultat de recherche d'images pour &quot;logo AG2R&quot;">
              <a:extLst>
                <a:ext uri="{FF2B5EF4-FFF2-40B4-BE49-F238E27FC236}">
                  <a16:creationId xmlns:a16="http://schemas.microsoft.com/office/drawing/2014/main" id="{8F0D72A4-09B9-4F1D-B58E-DB7B5AC6B0B7}"/>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392135" y="4965081"/>
              <a:ext cx="1706098" cy="73532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Résultat de recherche d'images pour &quot;FDJ&quot;">
              <a:extLst>
                <a:ext uri="{FF2B5EF4-FFF2-40B4-BE49-F238E27FC236}">
                  <a16:creationId xmlns:a16="http://schemas.microsoft.com/office/drawing/2014/main" id="{4DCCE3EC-8193-4987-AF17-537238B59776}"/>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26430" b="27711"/>
            <a:stretch/>
          </p:blipFill>
          <p:spPr bwMode="auto">
            <a:xfrm>
              <a:off x="10245691" y="4502573"/>
              <a:ext cx="1083677" cy="496969"/>
            </a:xfrm>
            <a:prstGeom prst="rect">
              <a:avLst/>
            </a:prstGeom>
            <a:noFill/>
            <a:extLst>
              <a:ext uri="{909E8E84-426E-40DD-AFC4-6F175D3DCCD1}">
                <a14:hiddenFill xmlns:a14="http://schemas.microsoft.com/office/drawing/2010/main">
                  <a:solidFill>
                    <a:srgbClr val="FFFFFF"/>
                  </a:solidFill>
                </a14:hiddenFill>
              </a:ext>
            </a:extLst>
          </p:spPr>
        </p:pic>
        <p:cxnSp>
          <p:nvCxnSpPr>
            <p:cNvPr id="31" name="Connecteur droit 30">
              <a:extLst>
                <a:ext uri="{FF2B5EF4-FFF2-40B4-BE49-F238E27FC236}">
                  <a16:creationId xmlns:a16="http://schemas.microsoft.com/office/drawing/2014/main" id="{FDAC2473-8B54-480E-B0C1-82EBE1340133}"/>
                </a:ext>
              </a:extLst>
            </p:cNvPr>
            <p:cNvCxnSpPr/>
            <p:nvPr/>
          </p:nvCxnSpPr>
          <p:spPr>
            <a:xfrm flipV="1">
              <a:off x="10128448" y="4520232"/>
              <a:ext cx="0" cy="1080120"/>
            </a:xfrm>
            <a:prstGeom prst="line">
              <a:avLst/>
            </a:prstGeom>
            <a:ln/>
          </p:spPr>
          <p:style>
            <a:lnRef idx="3">
              <a:schemeClr val="accent5"/>
            </a:lnRef>
            <a:fillRef idx="0">
              <a:schemeClr val="accent5"/>
            </a:fillRef>
            <a:effectRef idx="2">
              <a:schemeClr val="accent5"/>
            </a:effectRef>
            <a:fontRef idx="minor">
              <a:schemeClr val="tx1"/>
            </a:fontRef>
          </p:style>
        </p:cxnSp>
      </p:grpSp>
    </p:spTree>
    <p:extLst>
      <p:ext uri="{BB962C8B-B14F-4D97-AF65-F5344CB8AC3E}">
        <p14:creationId xmlns:p14="http://schemas.microsoft.com/office/powerpoint/2010/main" val="23961929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4C9S0w2a0mjeGt1TpZ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YkvwxUaE0moQO2a.PTQ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YkvwxUaE0moQO2a.PTQ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YkvwxUaE0moQO2a.PTQ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YkvwxUaE0moQO2a.PTQ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auXEsqel0.TlxGJFQ00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D.m08n49UmVAoSSrOyTnQ"/>
</p:tagLst>
</file>

<file path=ppt/theme/theme1.xml><?xml version="1.0" encoding="utf-8"?>
<a:theme xmlns:a="http://schemas.openxmlformats.org/drawingml/2006/main" name="Sopra Steria Group">
  <a:themeElements>
    <a:clrScheme name="Personnalisé 96">
      <a:dk1>
        <a:srgbClr val="4A4A4A"/>
      </a:dk1>
      <a:lt1>
        <a:srgbClr val="FFFFFF"/>
      </a:lt1>
      <a:dk2>
        <a:srgbClr val="CF022B"/>
      </a:dk2>
      <a:lt2>
        <a:srgbClr val="F07D00"/>
      </a:lt2>
      <a:accent1>
        <a:srgbClr val="CF022B"/>
      </a:accent1>
      <a:accent2>
        <a:srgbClr val="F07D00"/>
      </a:accent2>
      <a:accent3>
        <a:srgbClr val="8C1D82"/>
      </a:accent3>
      <a:accent4>
        <a:srgbClr val="007AC2"/>
      </a:accent4>
      <a:accent5>
        <a:srgbClr val="00A188"/>
      </a:accent5>
      <a:accent6>
        <a:srgbClr val="4A4A4A"/>
      </a:accent6>
      <a:hlink>
        <a:srgbClr val="1A0DAB"/>
      </a:hlink>
      <a:folHlink>
        <a:srgbClr val="660099"/>
      </a:folHlink>
    </a:clrScheme>
    <a:fontScheme name="Soprasteria">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317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Bef>
            <a:spcPts val="600"/>
          </a:spcBef>
          <a:defRPr dirty="0" smtClean="0"/>
        </a:defPPr>
      </a:lstStyle>
    </a:txDef>
  </a:objectDefaults>
  <a:extraClrSchemeLst/>
  <a:extLst>
    <a:ext uri="{05A4C25C-085E-4340-85A3-A5531E510DB2}">
      <thm15:themeFamily xmlns:thm15="http://schemas.microsoft.com/office/thememl/2012/main" name="Présentation1" id="{3E372219-1E86-439A-93A8-55BAA73EF289}" vid="{1CB676AD-686A-4337-9015-292442AE908B}"/>
    </a:ext>
  </a:extLst>
</a:theme>
</file>

<file path=ppt/theme/theme2.xml><?xml version="1.0" encoding="utf-8"?>
<a:theme xmlns:a="http://schemas.openxmlformats.org/drawingml/2006/main" name="Thème Office">
  <a:themeElements>
    <a:clrScheme name="Sopra Steria">
      <a:dk1>
        <a:srgbClr val="4A4A4A"/>
      </a:dk1>
      <a:lt1>
        <a:srgbClr val="FFFFFF"/>
      </a:lt1>
      <a:dk2>
        <a:srgbClr val="CF022B"/>
      </a:dk2>
      <a:lt2>
        <a:srgbClr val="F07D00"/>
      </a:lt2>
      <a:accent1>
        <a:srgbClr val="007AC2"/>
      </a:accent1>
      <a:accent2>
        <a:srgbClr val="32ABD0"/>
      </a:accent2>
      <a:accent3>
        <a:srgbClr val="00A188"/>
      </a:accent3>
      <a:accent4>
        <a:srgbClr val="95C11F"/>
      </a:accent4>
      <a:accent5>
        <a:srgbClr val="8C1D82"/>
      </a:accent5>
      <a:accent6>
        <a:srgbClr val="EA5599"/>
      </a:accent6>
      <a:hlink>
        <a:srgbClr val="A8A8A7"/>
      </a:hlink>
      <a:folHlink>
        <a:srgbClr val="EDEDED"/>
      </a:folHlink>
    </a:clrScheme>
    <a:fontScheme name="Sopra Steria">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Sopra Steria">
      <a:dk1>
        <a:srgbClr val="4A4A4A"/>
      </a:dk1>
      <a:lt1>
        <a:srgbClr val="FFFFFF"/>
      </a:lt1>
      <a:dk2>
        <a:srgbClr val="CF022B"/>
      </a:dk2>
      <a:lt2>
        <a:srgbClr val="F07D00"/>
      </a:lt2>
      <a:accent1>
        <a:srgbClr val="007AC2"/>
      </a:accent1>
      <a:accent2>
        <a:srgbClr val="32ABD0"/>
      </a:accent2>
      <a:accent3>
        <a:srgbClr val="00A188"/>
      </a:accent3>
      <a:accent4>
        <a:srgbClr val="95C11F"/>
      </a:accent4>
      <a:accent5>
        <a:srgbClr val="8C1D82"/>
      </a:accent5>
      <a:accent6>
        <a:srgbClr val="EA5599"/>
      </a:accent6>
      <a:hlink>
        <a:srgbClr val="A8A8A7"/>
      </a:hlink>
      <a:folHlink>
        <a:srgbClr val="EDEDED"/>
      </a:folHlink>
    </a:clrScheme>
    <a:fontScheme name="Soprasteria">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1f1b9a1-a14a-4bc7-a26e-d14c8d65680a"/>
    <Description_x0020__x0028_doc_x0029_ xmlns="21f1b9a1-a14a-4bc7-a26e-d14c8d65680a" xsi:nil="true"/>
    <jfd51d9e2b464e40b8a7b13280b9089c xmlns="21f1b9a1-a14a-4bc7-a26e-d14c8d65680a">
      <Terms xmlns="http://schemas.microsoft.com/office/infopath/2007/PartnerControls"/>
    </jfd51d9e2b464e40b8a7b13280b9089c>
    <Sensitivity_x0020_level xmlns="21f1b9a1-a14a-4bc7-a26e-d14c8d65680a" xsi:nil="true"/>
    <m7b91fbce3df4f5da115d1433180bceb xmlns="21f1b9a1-a14a-4bc7-a26e-d14c8d65680a">
      <Terms xmlns="http://schemas.microsoft.com/office/infopath/2007/PartnerControls"/>
    </m7b91fbce3df4f5da115d1433180bceb>
    <e16ca6858a6d4e1eb1b2576b3483cc38 xmlns="21f1b9a1-a14a-4bc7-a26e-d14c8d65680a">
      <Terms xmlns="http://schemas.microsoft.com/office/infopath/2007/PartnerControls"/>
    </e16ca6858a6d4e1eb1b2576b3483cc38>
    <cb7384e601db497bbb88b8939feae4db xmlns="21f1b9a1-a14a-4bc7-a26e-d14c8d65680a">
      <Terms xmlns="http://schemas.microsoft.com/office/infopath/2007/PartnerControls"/>
    </cb7384e601db497bbb88b8939feae4db>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3170A50B61EAB48BD09ACE2E211C920" ma:contentTypeVersion="16" ma:contentTypeDescription="Create a new document." ma:contentTypeScope="" ma:versionID="f2470c4f4099cf8e16241027db8c1a81">
  <xsd:schema xmlns:xsd="http://www.w3.org/2001/XMLSchema" xmlns:xs="http://www.w3.org/2001/XMLSchema" xmlns:p="http://schemas.microsoft.com/office/2006/metadata/properties" xmlns:ns3="21f1b9a1-a14a-4bc7-a26e-d14c8d65680a" xmlns:ns4="9ba8829a-5ba4-483f-9a9e-7d0606061dfd" targetNamespace="http://schemas.microsoft.com/office/2006/metadata/properties" ma:root="true" ma:fieldsID="23facd338d5c137cbf8ec7118679898d" ns3:_="" ns4:_="">
    <xsd:import namespace="21f1b9a1-a14a-4bc7-a26e-d14c8d65680a"/>
    <xsd:import namespace="9ba8829a-5ba4-483f-9a9e-7d0606061dfd"/>
    <xsd:element name="properties">
      <xsd:complexType>
        <xsd:sequence>
          <xsd:element name="documentManagement">
            <xsd:complexType>
              <xsd:all>
                <xsd:element ref="ns3:Description_x0020__x0028_doc_x0029_" minOccurs="0"/>
                <xsd:element ref="ns3:m7b91fbce3df4f5da115d1433180bceb" minOccurs="0"/>
                <xsd:element ref="ns3:TaxCatchAll" minOccurs="0"/>
                <xsd:element ref="ns3:TaxCatchAllLabel" minOccurs="0"/>
                <xsd:element ref="ns3:jfd51d9e2b464e40b8a7b13280b9089c" minOccurs="0"/>
                <xsd:element ref="ns3:e16ca6858a6d4e1eb1b2576b3483cc38" minOccurs="0"/>
                <xsd:element ref="ns3:cb7384e601db497bbb88b8939feae4db" minOccurs="0"/>
                <xsd:element ref="ns3:Sensitivity_x0020_level"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f1b9a1-a14a-4bc7-a26e-d14c8d65680a" elementFormDefault="qualified">
    <xsd:import namespace="http://schemas.microsoft.com/office/2006/documentManagement/types"/>
    <xsd:import namespace="http://schemas.microsoft.com/office/infopath/2007/PartnerControls"/>
    <xsd:element name="Description_x0020__x0028_doc_x0029_" ma:index="8" nillable="true" ma:displayName="Description (doc)" ma:description="Describes the content of this document." ma:internalName="Description_x0020__x0028_doc_x0029_">
      <xsd:simpleType>
        <xsd:restriction base="dms:Note">
          <xsd:maxLength value="255"/>
        </xsd:restriction>
      </xsd:simpleType>
    </xsd:element>
    <xsd:element name="m7b91fbce3df4f5da115d1433180bceb" ma:index="9" nillable="true" ma:taxonomy="true" ma:internalName="m7b91fbce3df4f5da115d1433180bceb" ma:taxonomyFieldName="Document_x0020_type" ma:displayName="Document type" ma:readOnly="false" ma:default="" ma:fieldId="{67b91fbc-e3df-4f5d-a115-d1433180bceb}" ma:taxonomyMulti="true" ma:sspId="000e2059-5ee7-47e9-8d7c-e5c5b9f97e02" ma:termSetId="b41fe23d-2ab6-46db-841a-cbc15ff164f4" ma:anchorId="00000000-0000-0000-0000-000000000000" ma:open="false" ma:isKeyword="false">
      <xsd:complexType>
        <xsd:sequence>
          <xsd:element ref="pc:Terms" minOccurs="0" maxOccurs="1"/>
        </xsd:sequence>
      </xsd:complexType>
    </xsd:element>
    <xsd:element name="TaxCatchAll" ma:index="10" nillable="true" ma:displayName="Taxonomy Catch All Column" ma:hidden="true" ma:list="{f77cd80c-7f50-4a91-be9b-a5393e6326bb}" ma:internalName="TaxCatchAll" ma:showField="CatchAllData" ma:web="2d821674-5ecb-4dba-91f0-cfa7f3b54844">
      <xsd:complexType>
        <xsd:complexContent>
          <xsd:extension base="dms:MultiChoiceLookup">
            <xsd:sequence>
              <xsd:element name="Value" type="dms:Lookup" maxOccurs="unbounded" minOccurs="0" nillable="true"/>
            </xsd:sequence>
          </xsd:extension>
        </xsd:complexContent>
      </xsd:complexType>
    </xsd:element>
    <xsd:element name="TaxCatchAllLabel" ma:index="11" nillable="true" ma:displayName="Taxonomy Catch All Column1" ma:hidden="true" ma:list="{f77cd80c-7f50-4a91-be9b-a5393e6326bb}" ma:internalName="TaxCatchAllLabel" ma:readOnly="true" ma:showField="CatchAllDataLabel" ma:web="2d821674-5ecb-4dba-91f0-cfa7f3b54844">
      <xsd:complexType>
        <xsd:complexContent>
          <xsd:extension base="dms:MultiChoiceLookup">
            <xsd:sequence>
              <xsd:element name="Value" type="dms:Lookup" maxOccurs="unbounded" minOccurs="0" nillable="true"/>
            </xsd:sequence>
          </xsd:extension>
        </xsd:complexContent>
      </xsd:complexType>
    </xsd:element>
    <xsd:element name="jfd51d9e2b464e40b8a7b13280b9089c" ma:index="13" nillable="true" ma:taxonomy="true" ma:internalName="jfd51d9e2b464e40b8a7b13280b9089c" ma:taxonomyFieldName="Community" ma:displayName="Community" ma:readOnly="false" ma:default="" ma:fieldId="{3fd51d9e-2b46-4e40-b8a7-b13280b9089c}" ma:taxonomyMulti="true" ma:sspId="000e2059-5ee7-47e9-8d7c-e5c5b9f97e02" ma:termSetId="cbff4a31-9767-48d3-9f7e-7d5fae8965aa" ma:anchorId="00000000-0000-0000-0000-000000000000" ma:open="false" ma:isKeyword="false">
      <xsd:complexType>
        <xsd:sequence>
          <xsd:element ref="pc:Terms" minOccurs="0" maxOccurs="1"/>
        </xsd:sequence>
      </xsd:complexType>
    </xsd:element>
    <xsd:element name="e16ca6858a6d4e1eb1b2576b3483cc38" ma:index="15" nillable="true" ma:taxonomy="true" ma:internalName="e16ca6858a6d4e1eb1b2576b3483cc38" ma:taxonomyFieldName="Steria_x0020_location" ma:displayName="Steria location" ma:readOnly="false" ma:default="" ma:fieldId="{e16ca685-8a6d-4e1e-b1b2-576b3483cc38}" ma:taxonomyMulti="true" ma:sspId="000e2059-5ee7-47e9-8d7c-e5c5b9f97e02" ma:termSetId="06fb51a1-70d9-4608-80ae-c46ce699b39a" ma:anchorId="00000000-0000-0000-0000-000000000000" ma:open="false" ma:isKeyword="false">
      <xsd:complexType>
        <xsd:sequence>
          <xsd:element ref="pc:Terms" minOccurs="0" maxOccurs="1"/>
        </xsd:sequence>
      </xsd:complexType>
    </xsd:element>
    <xsd:element name="cb7384e601db497bbb88b8939feae4db" ma:index="17" nillable="true" ma:taxonomy="true" ma:internalName="cb7384e601db497bbb88b8939feae4db" ma:taxonomyFieldName="Languages" ma:displayName="Languages" ma:readOnly="false" ma:default="" ma:fieldId="{cb7384e6-01db-497b-bb88-b8939feae4db}" ma:taxonomyMulti="true" ma:sspId="000e2059-5ee7-47e9-8d7c-e5c5b9f97e02" ma:termSetId="5d5e187e-ca10-44f3-ac34-13e5ac42fd40" ma:anchorId="00000000-0000-0000-0000-000000000000" ma:open="false" ma:isKeyword="false">
      <xsd:complexType>
        <xsd:sequence>
          <xsd:element ref="pc:Terms" minOccurs="0" maxOccurs="1"/>
        </xsd:sequence>
      </xsd:complexType>
    </xsd:element>
    <xsd:element name="Sensitivity_x0020_level" ma:index="19" nillable="true" ma:displayName="Sensitivity level" ma:description="Choose the sensitivity level of your document." ma:format="Dropdown" ma:hidden="true" ma:internalName="Sensitivity_x0020_level" ma:readOnly="false">
      <xsd:simpleType>
        <xsd:restriction base="dms:Choice">
          <xsd:enumeration value="Open - None or Public"/>
          <xsd:enumeration value="Level 1 - For internal use only"/>
          <xsd:enumeration value="Level 2 - In confidence"/>
          <xsd:enumeration value="Level 3 - In strictest confidence"/>
        </xsd:restriction>
      </xsd:simpleType>
    </xsd:element>
  </xsd:schema>
  <xsd:schema xmlns:xsd="http://www.w3.org/2001/XMLSchema" xmlns:xs="http://www.w3.org/2001/XMLSchema" xmlns:dms="http://schemas.microsoft.com/office/2006/documentManagement/types" xmlns:pc="http://schemas.microsoft.com/office/infopath/2007/PartnerControls" targetNamespace="9ba8829a-5ba4-483f-9a9e-7d0606061dfd" elementFormDefault="qualified">
    <xsd:import namespace="http://schemas.microsoft.com/office/2006/documentManagement/types"/>
    <xsd:import namespace="http://schemas.microsoft.com/office/infopath/2007/PartnerControls"/>
    <xsd:element name="MediaServiceMetadata" ma:index="20" nillable="true" ma:displayName="MediaServiceMetadata" ma:hidden="true" ma:internalName="MediaServiceMetadata" ma:readOnly="true">
      <xsd:simpleType>
        <xsd:restriction base="dms:Note"/>
      </xsd:simpleType>
    </xsd:element>
    <xsd:element name="MediaServiceFastMetadata" ma:index="21" nillable="true" ma:displayName="MediaServiceFastMetadata" ma:hidden="true" ma:internalName="MediaServiceFastMetadata" ma:readOnly="true">
      <xsd:simpleType>
        <xsd:restriction base="dms:Note"/>
      </xsd:simpleType>
    </xsd:element>
    <xsd:element name="MediaServiceAutoTags" ma:index="22" nillable="true" ma:displayName="Tags" ma:internalName="MediaServiceAutoTags"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element name="MediaServiceDateTaken" ma:index="24" nillable="true" ma:displayName="MediaServiceDateTaken" ma:hidden="true" ma:internalName="MediaServiceDateTaken" ma:readOnly="true">
      <xsd:simpleType>
        <xsd:restriction base="dms:Text"/>
      </xsd:simpleType>
    </xsd:element>
    <xsd:element name="MediaServiceLocation" ma:index="2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haredContentType xmlns="Microsoft.SharePoint.Taxonomy.ContentTypeSync" SourceId="000e2059-5ee7-47e9-8d7c-e5c5b9f97e02" ContentTypeId="0x0101" PreviousValue="false"/>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23CDE10-8C2E-4455-8DFD-39DE870FAAA8}">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9ba8829a-5ba4-483f-9a9e-7d0606061dfd"/>
    <ds:schemaRef ds:uri="21f1b9a1-a14a-4bc7-a26e-d14c8d65680a"/>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6E749C44-4B0C-4456-9CAC-A9994101E3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f1b9a1-a14a-4bc7-a26e-d14c8d65680a"/>
    <ds:schemaRef ds:uri="9ba8829a-5ba4-483f-9a9e-7d0606061df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AD7014E-66E8-4AEA-A0E8-09F341D16690}">
  <ds:schemaRefs>
    <ds:schemaRef ds:uri="Microsoft.SharePoint.Taxonomy.ContentTypeSync"/>
  </ds:schemaRefs>
</ds:datastoreItem>
</file>

<file path=customXml/itemProps4.xml><?xml version="1.0" encoding="utf-8"?>
<ds:datastoreItem xmlns:ds="http://schemas.openxmlformats.org/officeDocument/2006/customXml" ds:itemID="{872BA675-A16A-4084-BCEF-3D37880C598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011019_SOPRASTERIA_ModèlePowerPoint_FR_16-9 (1)</Template>
  <TotalTime>1060</TotalTime>
  <Words>3710</Words>
  <Application>Microsoft Office PowerPoint</Application>
  <PresentationFormat>Grand écran</PresentationFormat>
  <Paragraphs>621</Paragraphs>
  <Slides>50</Slides>
  <Notes>0</Notes>
  <HiddenSlides>0</HiddenSlides>
  <MMClips>0</MMClips>
  <ScaleCrop>false</ScaleCrop>
  <HeadingPairs>
    <vt:vector size="6" baseType="variant">
      <vt:variant>
        <vt:lpstr>Polices utilisées</vt:lpstr>
      </vt:variant>
      <vt:variant>
        <vt:i4>6</vt:i4>
      </vt:variant>
      <vt:variant>
        <vt:lpstr>Thème</vt:lpstr>
      </vt:variant>
      <vt:variant>
        <vt:i4>1</vt:i4>
      </vt:variant>
      <vt:variant>
        <vt:lpstr>Titres des diapositives</vt:lpstr>
      </vt:variant>
      <vt:variant>
        <vt:i4>50</vt:i4>
      </vt:variant>
    </vt:vector>
  </HeadingPairs>
  <TitlesOfParts>
    <vt:vector size="57" baseType="lpstr">
      <vt:lpstr>Arial</vt:lpstr>
      <vt:lpstr>Calibri</vt:lpstr>
      <vt:lpstr>Helvetica Neue</vt:lpstr>
      <vt:lpstr>Tahoma</vt:lpstr>
      <vt:lpstr>Webdings</vt:lpstr>
      <vt:lpstr>Wingdings</vt:lpstr>
      <vt:lpstr>Sopra Steria Group</vt:lpstr>
      <vt:lpstr>Initiation à la méthode SAFe</vt:lpstr>
      <vt:lpstr>Sommaire</vt:lpstr>
      <vt:lpstr>01</vt:lpstr>
      <vt:lpstr>Introduction</vt:lpstr>
      <vt:lpstr>02</vt:lpstr>
      <vt:lpstr>Pourquoi l’agilité à l’échelle ?</vt:lpstr>
      <vt:lpstr>Pourquoi l’agilité à l’échelle ?</vt:lpstr>
      <vt:lpstr>Pourquoi l’agilité à l’échelle ?</vt:lpstr>
      <vt:lpstr>Pourquoi l’agilité à l’échelle ?</vt:lpstr>
      <vt:lpstr>03</vt:lpstr>
      <vt:lpstr>Le framework SAFe au global</vt:lpstr>
      <vt:lpstr>Le framework SAFe au global</vt:lpstr>
      <vt:lpstr>Le framework SAFe au global</vt:lpstr>
      <vt:lpstr>Le framework SAFe au global</vt:lpstr>
      <vt:lpstr>Le framework SAFe au global</vt:lpstr>
      <vt:lpstr>Le framework SAFe au global</vt:lpstr>
      <vt:lpstr>Le framework SAFe au global</vt:lpstr>
      <vt:lpstr>Le framework SAFe au global</vt:lpstr>
      <vt:lpstr>Le framework SAFe au global</vt:lpstr>
      <vt:lpstr>Le framework SAFe au global</vt:lpstr>
      <vt:lpstr>Le framework SAFe au global</vt:lpstr>
      <vt:lpstr>04</vt:lpstr>
      <vt:lpstr>Le framework SAFe en détail</vt:lpstr>
      <vt:lpstr>Le framework SAFe en détail</vt:lpstr>
      <vt:lpstr>Le framework SAFe en détail</vt:lpstr>
      <vt:lpstr>Le framework SAFe en détail</vt:lpstr>
      <vt:lpstr>Le framework SAFe en détail</vt:lpstr>
      <vt:lpstr>Le framework SAFe en détail</vt:lpstr>
      <vt:lpstr>Le framework SAFe en détail</vt:lpstr>
      <vt:lpstr>Le framework SAFe en détail</vt:lpstr>
      <vt:lpstr>Le framework SAFe en détail</vt:lpstr>
      <vt:lpstr>Le framework SAFe en détail</vt:lpstr>
      <vt:lpstr>Le framework SAFe en détail</vt:lpstr>
      <vt:lpstr>Le framework SAFe en détail</vt:lpstr>
      <vt:lpstr>Le framework SAFe en détail</vt:lpstr>
      <vt:lpstr>Le framework SAFe en détail</vt:lpstr>
      <vt:lpstr>Le framework SAFe en détail</vt:lpstr>
      <vt:lpstr>Le framework SAFe en détail</vt:lpstr>
      <vt:lpstr>Le framework SAFe en détail</vt:lpstr>
      <vt:lpstr>Le framework SAFe en détail</vt:lpstr>
      <vt:lpstr>Le framework SAFe en détail</vt:lpstr>
      <vt:lpstr>Le framework SAFe en détail</vt:lpstr>
      <vt:lpstr>Le framework SAFe en détail</vt:lpstr>
      <vt:lpstr>Le framework SAFe en détail</vt:lpstr>
      <vt:lpstr>Le framework SAFe en détail</vt:lpstr>
      <vt:lpstr>Le framework SAFe en détail</vt:lpstr>
      <vt:lpstr>Le framework SAFe en détail</vt:lpstr>
      <vt:lpstr>Le framework SAFe en détail</vt:lpstr>
      <vt:lpstr>Le framework SAFe en détail</vt:lpstr>
      <vt:lpstr>Merci.</vt:lpstr>
    </vt:vector>
  </TitlesOfParts>
  <Company>SopraSteri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 de la présentation avec aplat dégradé [Tahoma Bold 40 pt]</dc:title>
  <dc:creator>BLOT Laurent</dc:creator>
  <cp:lastModifiedBy>MOUAMMAR Matthieu</cp:lastModifiedBy>
  <cp:revision>1</cp:revision>
  <cp:lastPrinted>2019-06-20T07:36:54Z</cp:lastPrinted>
  <dcterms:created xsi:type="dcterms:W3CDTF">2020-01-03T15:43:13Z</dcterms:created>
  <dcterms:modified xsi:type="dcterms:W3CDTF">2021-10-14T12:3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3170A50B61EAB48BD09ACE2E211C920</vt:lpwstr>
  </property>
  <property fmtid="{D5CDD505-2E9C-101B-9397-08002B2CF9AE}" pid="3" name="MSIP_Label_7bd1f144-26ac-4410-8fdb-05c7de218e82_Enabled">
    <vt:lpwstr>true</vt:lpwstr>
  </property>
  <property fmtid="{D5CDD505-2E9C-101B-9397-08002B2CF9AE}" pid="4" name="MSIP_Label_7bd1f144-26ac-4410-8fdb-05c7de218e82_SetDate">
    <vt:lpwstr>2021-10-06T07:33:19Z</vt:lpwstr>
  </property>
  <property fmtid="{D5CDD505-2E9C-101B-9397-08002B2CF9AE}" pid="5" name="MSIP_Label_7bd1f144-26ac-4410-8fdb-05c7de218e82_Method">
    <vt:lpwstr>Standard</vt:lpwstr>
  </property>
  <property fmtid="{D5CDD505-2E9C-101B-9397-08002B2CF9AE}" pid="6" name="MSIP_Label_7bd1f144-26ac-4410-8fdb-05c7de218e82_Name">
    <vt:lpwstr>FR Usage restreint</vt:lpwstr>
  </property>
  <property fmtid="{D5CDD505-2E9C-101B-9397-08002B2CF9AE}" pid="7" name="MSIP_Label_7bd1f144-26ac-4410-8fdb-05c7de218e82_SiteId">
    <vt:lpwstr>8b87af7d-8647-4dc7-8df4-5f69a2011bb5</vt:lpwstr>
  </property>
  <property fmtid="{D5CDD505-2E9C-101B-9397-08002B2CF9AE}" pid="8" name="MSIP_Label_7bd1f144-26ac-4410-8fdb-05c7de218e82_ActionId">
    <vt:lpwstr>797fcc87-7ea4-41c7-858d-25c1492ede10</vt:lpwstr>
  </property>
  <property fmtid="{D5CDD505-2E9C-101B-9397-08002B2CF9AE}" pid="9" name="MSIP_Label_7bd1f144-26ac-4410-8fdb-05c7de218e82_ContentBits">
    <vt:lpwstr>3</vt:lpwstr>
  </property>
</Properties>
</file>